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  <p:sldMasterId id="2147483678" r:id="rId5"/>
  </p:sldMasterIdLst>
  <p:notesMasterIdLst>
    <p:notesMasterId r:id="rId22"/>
  </p:notesMasterIdLst>
  <p:handoutMasterIdLst>
    <p:handoutMasterId r:id="rId23"/>
  </p:handoutMasterIdLst>
  <p:sldIdLst>
    <p:sldId id="712" r:id="rId6"/>
    <p:sldId id="713" r:id="rId7"/>
    <p:sldId id="714" r:id="rId8"/>
    <p:sldId id="729" r:id="rId9"/>
    <p:sldId id="731" r:id="rId10"/>
    <p:sldId id="730" r:id="rId11"/>
    <p:sldId id="715" r:id="rId12"/>
    <p:sldId id="720" r:id="rId13"/>
    <p:sldId id="721" r:id="rId14"/>
    <p:sldId id="722" r:id="rId15"/>
    <p:sldId id="723" r:id="rId16"/>
    <p:sldId id="724" r:id="rId17"/>
    <p:sldId id="725" r:id="rId18"/>
    <p:sldId id="728" r:id="rId19"/>
    <p:sldId id="719" r:id="rId20"/>
    <p:sldId id="727" r:id="rId21"/>
  </p:sldIdLst>
  <p:sldSz cx="12192000" cy="6858000"/>
  <p:notesSz cx="6797675" cy="9926638"/>
  <p:embeddedFontLst>
    <p:embeddedFont>
      <p:font typeface="TeleNeo Office" panose="020B0504040202090203" pitchFamily="34" charset="77"/>
      <p:regular r:id="rId24"/>
      <p:bold r:id="rId25"/>
      <p:italic r:id="rId26"/>
      <p:boldItalic r:id="rId27"/>
    </p:embeddedFont>
    <p:embeddedFont>
      <p:font typeface="TeleNeo Office ExtraBold" panose="020B0504040202090203" pitchFamily="34" charset="77"/>
      <p:bold r:id="rId28"/>
      <p:italic r:id="rId29"/>
      <p:boldItalic r:id="rId30"/>
    </p:embeddedFont>
  </p:embeddedFontLst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F80A27E-A66D-4588-A348-C8D1711EF1E4}">
          <p14:sldIdLst>
            <p14:sldId id="712"/>
            <p14:sldId id="713"/>
            <p14:sldId id="714"/>
            <p14:sldId id="729"/>
            <p14:sldId id="731"/>
            <p14:sldId id="730"/>
            <p14:sldId id="715"/>
            <p14:sldId id="720"/>
            <p14:sldId id="721"/>
            <p14:sldId id="722"/>
            <p14:sldId id="723"/>
            <p14:sldId id="724"/>
            <p14:sldId id="725"/>
            <p14:sldId id="728"/>
            <p14:sldId id="719"/>
            <p14:sldId id="727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3" pos="3931" userDrawn="1">
          <p15:clr>
            <a:srgbClr val="A4A3A4"/>
          </p15:clr>
        </p15:guide>
        <p15:guide id="4" pos="3749" userDrawn="1">
          <p15:clr>
            <a:srgbClr val="A4A3A4"/>
          </p15:clr>
        </p15:guide>
        <p15:guide id="5" pos="4929" userDrawn="1">
          <p15:clr>
            <a:srgbClr val="A4A3A4"/>
          </p15:clr>
        </p15:guide>
        <p15:guide id="6" pos="5110" userDrawn="1">
          <p15:clr>
            <a:srgbClr val="A4A3A4"/>
          </p15:clr>
        </p15:guide>
        <p15:guide id="8" pos="5518" userDrawn="1">
          <p15:clr>
            <a:srgbClr val="A4A3A4"/>
          </p15:clr>
        </p15:guide>
        <p15:guide id="10" pos="2570" userDrawn="1">
          <p15:clr>
            <a:srgbClr val="A4A3A4"/>
          </p15:clr>
        </p15:guide>
        <p15:guide id="11" pos="1980" userDrawn="1">
          <p15:clr>
            <a:srgbClr val="A4A3A4"/>
          </p15:clr>
        </p15:guide>
        <p15:guide id="12" pos="2162" userDrawn="1">
          <p15:clr>
            <a:srgbClr val="A4A3A4"/>
          </p15:clr>
        </p15:guide>
        <p15:guide id="14" pos="7287" userDrawn="1">
          <p15:clr>
            <a:srgbClr val="A4A3A4"/>
          </p15:clr>
        </p15:guide>
        <p15:guide id="15" pos="393" userDrawn="1">
          <p15:clr>
            <a:srgbClr val="A4A3A4"/>
          </p15:clr>
        </p15:guide>
        <p15:guide id="17" pos="5700" userDrawn="1">
          <p15:clr>
            <a:srgbClr val="A4A3A4"/>
          </p15:clr>
        </p15:guide>
        <p15:guide id="18" pos="2751" userDrawn="1">
          <p15:clr>
            <a:srgbClr val="A4A3A4"/>
          </p15:clr>
        </p15:guide>
        <p15:guide id="19" orient="horz" pos="935" userDrawn="1">
          <p15:clr>
            <a:srgbClr val="A4A3A4"/>
          </p15:clr>
        </p15:guide>
        <p15:guide id="20" orient="horz" pos="4204" userDrawn="1">
          <p15:clr>
            <a:srgbClr val="A4A3A4"/>
          </p15:clr>
        </p15:guide>
        <p15:guide id="23" orient="horz" pos="4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C512"/>
    <a:srgbClr val="00565C"/>
    <a:srgbClr val="CFD89B"/>
    <a:srgbClr val="889130"/>
    <a:srgbClr val="D48936"/>
    <a:srgbClr val="FFB356"/>
    <a:srgbClr val="235482"/>
    <a:srgbClr val="529AD6"/>
    <a:srgbClr val="FFAD39"/>
    <a:srgbClr val="DBAD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057" autoAdjust="0"/>
    <p:restoredTop sz="96357" autoAdjust="0"/>
  </p:normalViewPr>
  <p:slideViewPr>
    <p:cSldViewPr snapToObjects="1">
      <p:cViewPr varScale="1">
        <p:scale>
          <a:sx n="136" d="100"/>
          <a:sy n="136" d="100"/>
        </p:scale>
        <p:origin x="248" y="648"/>
      </p:cViewPr>
      <p:guideLst>
        <p:guide pos="3840"/>
        <p:guide pos="3931"/>
        <p:guide pos="3749"/>
        <p:guide pos="4929"/>
        <p:guide pos="5110"/>
        <p:guide pos="5518"/>
        <p:guide pos="2570"/>
        <p:guide pos="1980"/>
        <p:guide pos="2162"/>
        <p:guide pos="7287"/>
        <p:guide pos="393"/>
        <p:guide pos="5700"/>
        <p:guide pos="2751"/>
        <p:guide orient="horz" pos="935"/>
        <p:guide orient="horz" pos="4204"/>
        <p:guide orient="horz" pos="4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" d="1"/>
        <a:sy n="1" d="1"/>
      </p:scale>
      <p:origin x="0" y="-6960"/>
    </p:cViewPr>
  </p:sorterViewPr>
  <p:notesViewPr>
    <p:cSldViewPr snapToObjects="1"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2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D8B106-8E2F-514E-A90F-0A50247026C4}" type="doc">
      <dgm:prSet loTypeId="urn:microsoft.com/office/officeart/2005/8/layout/pyramid1" loCatId="" qsTypeId="urn:microsoft.com/office/officeart/2005/8/quickstyle/simple1" qsCatId="simple" csTypeId="urn:microsoft.com/office/officeart/2005/8/colors/accent0_3" csCatId="mainScheme" phldr="1"/>
      <dgm:spPr/>
    </dgm:pt>
    <dgm:pt modelId="{2E964385-0A12-A446-9345-F0657C08F3F5}">
      <dgm:prSet phldrT="[Text]"/>
      <dgm:spPr/>
      <dgm:t>
        <a:bodyPr/>
        <a:lstStyle/>
        <a:p>
          <a:r>
            <a:rPr lang="en-GB" dirty="0"/>
            <a:t>Infrastructure</a:t>
          </a:r>
        </a:p>
      </dgm:t>
    </dgm:pt>
    <dgm:pt modelId="{CF2DFFD8-A954-C646-A9F9-EDD853B3309F}" type="parTrans" cxnId="{029458EC-746F-3C43-BA0C-C7A808C7C9CE}">
      <dgm:prSet/>
      <dgm:spPr/>
      <dgm:t>
        <a:bodyPr/>
        <a:lstStyle/>
        <a:p>
          <a:endParaRPr lang="en-GB"/>
        </a:p>
      </dgm:t>
    </dgm:pt>
    <dgm:pt modelId="{1300DFBE-2482-FE43-9992-1B5B50320DB2}" type="sibTrans" cxnId="{029458EC-746F-3C43-BA0C-C7A808C7C9CE}">
      <dgm:prSet/>
      <dgm:spPr/>
      <dgm:t>
        <a:bodyPr/>
        <a:lstStyle/>
        <a:p>
          <a:endParaRPr lang="en-GB"/>
        </a:p>
      </dgm:t>
    </dgm:pt>
    <dgm:pt modelId="{61057FBB-3B4C-DC4A-A907-CDF71379DC18}">
      <dgm:prSet phldrT="[Text]" custT="1"/>
      <dgm:spPr/>
      <dgm:t>
        <a:bodyPr/>
        <a:lstStyle/>
        <a:p>
          <a:r>
            <a:rPr lang="en-GB" sz="2800" dirty="0"/>
            <a:t>Specification</a:t>
          </a:r>
        </a:p>
      </dgm:t>
    </dgm:pt>
    <dgm:pt modelId="{D7D0E79D-41FA-724E-AF66-8C15E8E2CC78}" type="parTrans" cxnId="{98E3E39E-6638-E647-8DB7-9AFF53112F4D}">
      <dgm:prSet/>
      <dgm:spPr/>
      <dgm:t>
        <a:bodyPr/>
        <a:lstStyle/>
        <a:p>
          <a:endParaRPr lang="en-GB"/>
        </a:p>
      </dgm:t>
    </dgm:pt>
    <dgm:pt modelId="{BDC39BC2-1D82-E742-9A84-08B3CD6D3C08}" type="sibTrans" cxnId="{98E3E39E-6638-E647-8DB7-9AFF53112F4D}">
      <dgm:prSet/>
      <dgm:spPr/>
      <dgm:t>
        <a:bodyPr/>
        <a:lstStyle/>
        <a:p>
          <a:endParaRPr lang="en-GB"/>
        </a:p>
      </dgm:t>
    </dgm:pt>
    <dgm:pt modelId="{50300DD3-8E04-0442-B155-EA728B3A9CAB}">
      <dgm:prSet phldrT="[Text]" custT="1"/>
      <dgm:spPr/>
      <dgm:t>
        <a:bodyPr/>
        <a:lstStyle/>
        <a:p>
          <a:br>
            <a:rPr lang="en-GB" sz="2000" dirty="0"/>
          </a:br>
          <a:r>
            <a:rPr lang="en-GB" sz="2000" dirty="0"/>
            <a:t>Third </a:t>
          </a:r>
          <a:br>
            <a:rPr lang="en-GB" sz="2000" dirty="0"/>
          </a:br>
          <a:r>
            <a:rPr lang="en-GB" sz="2000" dirty="0"/>
            <a:t>Party</a:t>
          </a:r>
        </a:p>
      </dgm:t>
    </dgm:pt>
    <dgm:pt modelId="{FFF81E60-4E80-F744-8A4E-B8163D55FB96}" type="parTrans" cxnId="{30433999-7B43-914F-8F59-1CD338D750DA}">
      <dgm:prSet/>
      <dgm:spPr/>
      <dgm:t>
        <a:bodyPr/>
        <a:lstStyle/>
        <a:p>
          <a:endParaRPr lang="en-GB"/>
        </a:p>
      </dgm:t>
    </dgm:pt>
    <dgm:pt modelId="{68ECE414-6BED-1041-A0BE-A73E8D24B758}" type="sibTrans" cxnId="{30433999-7B43-914F-8F59-1CD338D750DA}">
      <dgm:prSet/>
      <dgm:spPr/>
      <dgm:t>
        <a:bodyPr/>
        <a:lstStyle/>
        <a:p>
          <a:endParaRPr lang="en-GB"/>
        </a:p>
      </dgm:t>
    </dgm:pt>
    <dgm:pt modelId="{D1645111-7EE0-DF41-85A7-743B40ED489F}" type="pres">
      <dgm:prSet presAssocID="{ABD8B106-8E2F-514E-A90F-0A50247026C4}" presName="Name0" presStyleCnt="0">
        <dgm:presLayoutVars>
          <dgm:dir/>
          <dgm:animLvl val="lvl"/>
          <dgm:resizeHandles val="exact"/>
        </dgm:presLayoutVars>
      </dgm:prSet>
      <dgm:spPr/>
    </dgm:pt>
    <dgm:pt modelId="{88110086-DF25-A94E-AC31-7B4D66A9C55A}" type="pres">
      <dgm:prSet presAssocID="{50300DD3-8E04-0442-B155-EA728B3A9CAB}" presName="Name8" presStyleCnt="0"/>
      <dgm:spPr/>
    </dgm:pt>
    <dgm:pt modelId="{4800BB0F-271A-F34C-AF7F-7CB2FFEB510E}" type="pres">
      <dgm:prSet presAssocID="{50300DD3-8E04-0442-B155-EA728B3A9CAB}" presName="level" presStyleLbl="node1" presStyleIdx="0" presStyleCnt="3">
        <dgm:presLayoutVars>
          <dgm:chMax val="1"/>
          <dgm:bulletEnabled val="1"/>
        </dgm:presLayoutVars>
      </dgm:prSet>
      <dgm:spPr/>
    </dgm:pt>
    <dgm:pt modelId="{D7185867-EBAD-C544-8009-A6A4F6E035AB}" type="pres">
      <dgm:prSet presAssocID="{50300DD3-8E04-0442-B155-EA728B3A9C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A283E2A-0594-7940-B203-82556FCDA15F}" type="pres">
      <dgm:prSet presAssocID="{61057FBB-3B4C-DC4A-A907-CDF71379DC18}" presName="Name8" presStyleCnt="0"/>
      <dgm:spPr/>
    </dgm:pt>
    <dgm:pt modelId="{C7A02017-A1FB-FF41-97D5-265B7A818E68}" type="pres">
      <dgm:prSet presAssocID="{61057FBB-3B4C-DC4A-A907-CDF71379DC18}" presName="level" presStyleLbl="node1" presStyleIdx="1" presStyleCnt="3">
        <dgm:presLayoutVars>
          <dgm:chMax val="1"/>
          <dgm:bulletEnabled val="1"/>
        </dgm:presLayoutVars>
      </dgm:prSet>
      <dgm:spPr/>
    </dgm:pt>
    <dgm:pt modelId="{82FA3C5A-4684-DD4F-BAD2-C517DAB79699}" type="pres">
      <dgm:prSet presAssocID="{61057FBB-3B4C-DC4A-A907-CDF71379DC1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00414FB-E3FD-4546-ADB5-83C990DAF7AA}" type="pres">
      <dgm:prSet presAssocID="{2E964385-0A12-A446-9345-F0657C08F3F5}" presName="Name8" presStyleCnt="0"/>
      <dgm:spPr/>
    </dgm:pt>
    <dgm:pt modelId="{BAFE08CE-B190-8449-84F1-7D7F1A6EED2F}" type="pres">
      <dgm:prSet presAssocID="{2E964385-0A12-A446-9345-F0657C08F3F5}" presName="level" presStyleLbl="node1" presStyleIdx="2" presStyleCnt="3" custLinFactNeighborX="-5036" custLinFactNeighborY="16923">
        <dgm:presLayoutVars>
          <dgm:chMax val="1"/>
          <dgm:bulletEnabled val="1"/>
        </dgm:presLayoutVars>
      </dgm:prSet>
      <dgm:spPr/>
    </dgm:pt>
    <dgm:pt modelId="{3B8FD0D4-A649-6343-911F-6DE5A95B0D5E}" type="pres">
      <dgm:prSet presAssocID="{2E964385-0A12-A446-9345-F0657C08F3F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8287801-3876-D346-BFB0-4E36A7F64565}" type="presOf" srcId="{2E964385-0A12-A446-9345-F0657C08F3F5}" destId="{3B8FD0D4-A649-6343-911F-6DE5A95B0D5E}" srcOrd="1" destOrd="0" presId="urn:microsoft.com/office/officeart/2005/8/layout/pyramid1"/>
    <dgm:cxn modelId="{717AAF1E-D09D-454E-B37B-7D2A4767D5B3}" type="presOf" srcId="{50300DD3-8E04-0442-B155-EA728B3A9CAB}" destId="{D7185867-EBAD-C544-8009-A6A4F6E035AB}" srcOrd="1" destOrd="0" presId="urn:microsoft.com/office/officeart/2005/8/layout/pyramid1"/>
    <dgm:cxn modelId="{FAD7B77D-1798-0043-AB38-3D250B459403}" type="presOf" srcId="{2E964385-0A12-A446-9345-F0657C08F3F5}" destId="{BAFE08CE-B190-8449-84F1-7D7F1A6EED2F}" srcOrd="0" destOrd="0" presId="urn:microsoft.com/office/officeart/2005/8/layout/pyramid1"/>
    <dgm:cxn modelId="{30433999-7B43-914F-8F59-1CD338D750DA}" srcId="{ABD8B106-8E2F-514E-A90F-0A50247026C4}" destId="{50300DD3-8E04-0442-B155-EA728B3A9CAB}" srcOrd="0" destOrd="0" parTransId="{FFF81E60-4E80-F744-8A4E-B8163D55FB96}" sibTransId="{68ECE414-6BED-1041-A0BE-A73E8D24B758}"/>
    <dgm:cxn modelId="{98E3E39E-6638-E647-8DB7-9AFF53112F4D}" srcId="{ABD8B106-8E2F-514E-A90F-0A50247026C4}" destId="{61057FBB-3B4C-DC4A-A907-CDF71379DC18}" srcOrd="1" destOrd="0" parTransId="{D7D0E79D-41FA-724E-AF66-8C15E8E2CC78}" sibTransId="{BDC39BC2-1D82-E742-9A84-08B3CD6D3C08}"/>
    <dgm:cxn modelId="{41609CA9-EC33-384A-966E-BB7E3BE8E812}" type="presOf" srcId="{ABD8B106-8E2F-514E-A90F-0A50247026C4}" destId="{D1645111-7EE0-DF41-85A7-743B40ED489F}" srcOrd="0" destOrd="0" presId="urn:microsoft.com/office/officeart/2005/8/layout/pyramid1"/>
    <dgm:cxn modelId="{F1F4D3D3-55FB-3149-9CA5-DCEDADED3416}" type="presOf" srcId="{61057FBB-3B4C-DC4A-A907-CDF71379DC18}" destId="{82FA3C5A-4684-DD4F-BAD2-C517DAB79699}" srcOrd="1" destOrd="0" presId="urn:microsoft.com/office/officeart/2005/8/layout/pyramid1"/>
    <dgm:cxn modelId="{029458EC-746F-3C43-BA0C-C7A808C7C9CE}" srcId="{ABD8B106-8E2F-514E-A90F-0A50247026C4}" destId="{2E964385-0A12-A446-9345-F0657C08F3F5}" srcOrd="2" destOrd="0" parTransId="{CF2DFFD8-A954-C646-A9F9-EDD853B3309F}" sibTransId="{1300DFBE-2482-FE43-9992-1B5B50320DB2}"/>
    <dgm:cxn modelId="{CD3BB5F2-4D91-124F-999E-47FA16E9150D}" type="presOf" srcId="{50300DD3-8E04-0442-B155-EA728B3A9CAB}" destId="{4800BB0F-271A-F34C-AF7F-7CB2FFEB510E}" srcOrd="0" destOrd="0" presId="urn:microsoft.com/office/officeart/2005/8/layout/pyramid1"/>
    <dgm:cxn modelId="{29602CF9-84F9-F747-9421-B83727E36569}" type="presOf" srcId="{61057FBB-3B4C-DC4A-A907-CDF71379DC18}" destId="{C7A02017-A1FB-FF41-97D5-265B7A818E68}" srcOrd="0" destOrd="0" presId="urn:microsoft.com/office/officeart/2005/8/layout/pyramid1"/>
    <dgm:cxn modelId="{0FA79779-68F2-2C4A-834B-FC03DC9B83DC}" type="presParOf" srcId="{D1645111-7EE0-DF41-85A7-743B40ED489F}" destId="{88110086-DF25-A94E-AC31-7B4D66A9C55A}" srcOrd="0" destOrd="0" presId="urn:microsoft.com/office/officeart/2005/8/layout/pyramid1"/>
    <dgm:cxn modelId="{047B4BEB-855D-5749-9211-8FC91B1E5FD4}" type="presParOf" srcId="{88110086-DF25-A94E-AC31-7B4D66A9C55A}" destId="{4800BB0F-271A-F34C-AF7F-7CB2FFEB510E}" srcOrd="0" destOrd="0" presId="urn:microsoft.com/office/officeart/2005/8/layout/pyramid1"/>
    <dgm:cxn modelId="{61184E39-2AE1-954B-8640-063CD511701C}" type="presParOf" srcId="{88110086-DF25-A94E-AC31-7B4D66A9C55A}" destId="{D7185867-EBAD-C544-8009-A6A4F6E035AB}" srcOrd="1" destOrd="0" presId="urn:microsoft.com/office/officeart/2005/8/layout/pyramid1"/>
    <dgm:cxn modelId="{2B1CDF7E-406D-7D41-869B-D8E055F36EEB}" type="presParOf" srcId="{D1645111-7EE0-DF41-85A7-743B40ED489F}" destId="{8A283E2A-0594-7940-B203-82556FCDA15F}" srcOrd="1" destOrd="0" presId="urn:microsoft.com/office/officeart/2005/8/layout/pyramid1"/>
    <dgm:cxn modelId="{5B43C751-3DCE-A445-8153-1CC220E3A2E0}" type="presParOf" srcId="{8A283E2A-0594-7940-B203-82556FCDA15F}" destId="{C7A02017-A1FB-FF41-97D5-265B7A818E68}" srcOrd="0" destOrd="0" presId="urn:microsoft.com/office/officeart/2005/8/layout/pyramid1"/>
    <dgm:cxn modelId="{F165E09D-9999-4B43-B7A9-F3F98BCDC6AB}" type="presParOf" srcId="{8A283E2A-0594-7940-B203-82556FCDA15F}" destId="{82FA3C5A-4684-DD4F-BAD2-C517DAB79699}" srcOrd="1" destOrd="0" presId="urn:microsoft.com/office/officeart/2005/8/layout/pyramid1"/>
    <dgm:cxn modelId="{7EA77D9A-067E-244C-9475-056CB41E0B6B}" type="presParOf" srcId="{D1645111-7EE0-DF41-85A7-743B40ED489F}" destId="{A00414FB-E3FD-4546-ADB5-83C990DAF7AA}" srcOrd="2" destOrd="0" presId="urn:microsoft.com/office/officeart/2005/8/layout/pyramid1"/>
    <dgm:cxn modelId="{8C164892-F076-7444-AF7B-1D1842642993}" type="presParOf" srcId="{A00414FB-E3FD-4546-ADB5-83C990DAF7AA}" destId="{BAFE08CE-B190-8449-84F1-7D7F1A6EED2F}" srcOrd="0" destOrd="0" presId="urn:microsoft.com/office/officeart/2005/8/layout/pyramid1"/>
    <dgm:cxn modelId="{93685A35-A561-1246-8640-3E60FBF8BDC1}" type="presParOf" srcId="{A00414FB-E3FD-4546-ADB5-83C990DAF7AA}" destId="{3B8FD0D4-A649-6343-911F-6DE5A95B0D5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BD8B106-8E2F-514E-A90F-0A50247026C4}" type="doc">
      <dgm:prSet loTypeId="urn:microsoft.com/office/officeart/2005/8/layout/pyramid1" loCatId="" qsTypeId="urn:microsoft.com/office/officeart/2005/8/quickstyle/simple1" qsCatId="simple" csTypeId="urn:microsoft.com/office/officeart/2005/8/colors/accent0_3" csCatId="mainScheme" phldr="1"/>
      <dgm:spPr/>
    </dgm:pt>
    <dgm:pt modelId="{2E964385-0A12-A446-9345-F0657C08F3F5}">
      <dgm:prSet phldrT="[Text]"/>
      <dgm:spPr/>
      <dgm:t>
        <a:bodyPr/>
        <a:lstStyle/>
        <a:p>
          <a:r>
            <a:rPr lang="en-GB" dirty="0"/>
            <a:t>Infrastructure</a:t>
          </a:r>
        </a:p>
      </dgm:t>
    </dgm:pt>
    <dgm:pt modelId="{CF2DFFD8-A954-C646-A9F9-EDD853B3309F}" type="parTrans" cxnId="{029458EC-746F-3C43-BA0C-C7A808C7C9CE}">
      <dgm:prSet/>
      <dgm:spPr/>
      <dgm:t>
        <a:bodyPr/>
        <a:lstStyle/>
        <a:p>
          <a:endParaRPr lang="en-GB"/>
        </a:p>
      </dgm:t>
    </dgm:pt>
    <dgm:pt modelId="{1300DFBE-2482-FE43-9992-1B5B50320DB2}" type="sibTrans" cxnId="{029458EC-746F-3C43-BA0C-C7A808C7C9CE}">
      <dgm:prSet/>
      <dgm:spPr/>
      <dgm:t>
        <a:bodyPr/>
        <a:lstStyle/>
        <a:p>
          <a:endParaRPr lang="en-GB"/>
        </a:p>
      </dgm:t>
    </dgm:pt>
    <dgm:pt modelId="{61057FBB-3B4C-DC4A-A907-CDF71379DC18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en-GB" sz="1200" dirty="0"/>
            <a:t>Specification</a:t>
          </a:r>
          <a:endParaRPr lang="en-GB" sz="2800" dirty="0"/>
        </a:p>
      </dgm:t>
    </dgm:pt>
    <dgm:pt modelId="{D7D0E79D-41FA-724E-AF66-8C15E8E2CC78}" type="parTrans" cxnId="{98E3E39E-6638-E647-8DB7-9AFF53112F4D}">
      <dgm:prSet/>
      <dgm:spPr/>
      <dgm:t>
        <a:bodyPr/>
        <a:lstStyle/>
        <a:p>
          <a:endParaRPr lang="en-GB"/>
        </a:p>
      </dgm:t>
    </dgm:pt>
    <dgm:pt modelId="{BDC39BC2-1D82-E742-9A84-08B3CD6D3C08}" type="sibTrans" cxnId="{98E3E39E-6638-E647-8DB7-9AFF53112F4D}">
      <dgm:prSet/>
      <dgm:spPr/>
      <dgm:t>
        <a:bodyPr/>
        <a:lstStyle/>
        <a:p>
          <a:endParaRPr lang="en-GB"/>
        </a:p>
      </dgm:t>
    </dgm:pt>
    <dgm:pt modelId="{50300DD3-8E04-0442-B155-EA728B3A9CAB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br>
            <a:rPr lang="en-GB" sz="1050" dirty="0"/>
          </a:br>
          <a:r>
            <a:rPr lang="en-GB" sz="1050" dirty="0"/>
            <a:t>Third </a:t>
          </a:r>
          <a:br>
            <a:rPr lang="en-GB" sz="1050" dirty="0"/>
          </a:br>
          <a:r>
            <a:rPr lang="en-GB" sz="1050" dirty="0"/>
            <a:t>Party</a:t>
          </a:r>
        </a:p>
      </dgm:t>
    </dgm:pt>
    <dgm:pt modelId="{FFF81E60-4E80-F744-8A4E-B8163D55FB96}" type="parTrans" cxnId="{30433999-7B43-914F-8F59-1CD338D750DA}">
      <dgm:prSet/>
      <dgm:spPr/>
      <dgm:t>
        <a:bodyPr/>
        <a:lstStyle/>
        <a:p>
          <a:endParaRPr lang="en-GB"/>
        </a:p>
      </dgm:t>
    </dgm:pt>
    <dgm:pt modelId="{68ECE414-6BED-1041-A0BE-A73E8D24B758}" type="sibTrans" cxnId="{30433999-7B43-914F-8F59-1CD338D750DA}">
      <dgm:prSet/>
      <dgm:spPr/>
      <dgm:t>
        <a:bodyPr/>
        <a:lstStyle/>
        <a:p>
          <a:endParaRPr lang="en-GB"/>
        </a:p>
      </dgm:t>
    </dgm:pt>
    <dgm:pt modelId="{D1645111-7EE0-DF41-85A7-743B40ED489F}" type="pres">
      <dgm:prSet presAssocID="{ABD8B106-8E2F-514E-A90F-0A50247026C4}" presName="Name0" presStyleCnt="0">
        <dgm:presLayoutVars>
          <dgm:dir/>
          <dgm:animLvl val="lvl"/>
          <dgm:resizeHandles val="exact"/>
        </dgm:presLayoutVars>
      </dgm:prSet>
      <dgm:spPr/>
    </dgm:pt>
    <dgm:pt modelId="{88110086-DF25-A94E-AC31-7B4D66A9C55A}" type="pres">
      <dgm:prSet presAssocID="{50300DD3-8E04-0442-B155-EA728B3A9CAB}" presName="Name8" presStyleCnt="0"/>
      <dgm:spPr/>
    </dgm:pt>
    <dgm:pt modelId="{4800BB0F-271A-F34C-AF7F-7CB2FFEB510E}" type="pres">
      <dgm:prSet presAssocID="{50300DD3-8E04-0442-B155-EA728B3A9CAB}" presName="level" presStyleLbl="node1" presStyleIdx="0" presStyleCnt="3">
        <dgm:presLayoutVars>
          <dgm:chMax val="1"/>
          <dgm:bulletEnabled val="1"/>
        </dgm:presLayoutVars>
      </dgm:prSet>
      <dgm:spPr/>
    </dgm:pt>
    <dgm:pt modelId="{D7185867-EBAD-C544-8009-A6A4F6E035AB}" type="pres">
      <dgm:prSet presAssocID="{50300DD3-8E04-0442-B155-EA728B3A9C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A283E2A-0594-7940-B203-82556FCDA15F}" type="pres">
      <dgm:prSet presAssocID="{61057FBB-3B4C-DC4A-A907-CDF71379DC18}" presName="Name8" presStyleCnt="0"/>
      <dgm:spPr/>
    </dgm:pt>
    <dgm:pt modelId="{C7A02017-A1FB-FF41-97D5-265B7A818E68}" type="pres">
      <dgm:prSet presAssocID="{61057FBB-3B4C-DC4A-A907-CDF71379DC18}" presName="level" presStyleLbl="node1" presStyleIdx="1" presStyleCnt="3">
        <dgm:presLayoutVars>
          <dgm:chMax val="1"/>
          <dgm:bulletEnabled val="1"/>
        </dgm:presLayoutVars>
      </dgm:prSet>
      <dgm:spPr/>
    </dgm:pt>
    <dgm:pt modelId="{82FA3C5A-4684-DD4F-BAD2-C517DAB79699}" type="pres">
      <dgm:prSet presAssocID="{61057FBB-3B4C-DC4A-A907-CDF71379DC1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00414FB-E3FD-4546-ADB5-83C990DAF7AA}" type="pres">
      <dgm:prSet presAssocID="{2E964385-0A12-A446-9345-F0657C08F3F5}" presName="Name8" presStyleCnt="0"/>
      <dgm:spPr/>
    </dgm:pt>
    <dgm:pt modelId="{BAFE08CE-B190-8449-84F1-7D7F1A6EED2F}" type="pres">
      <dgm:prSet presAssocID="{2E964385-0A12-A446-9345-F0657C08F3F5}" presName="level" presStyleLbl="node1" presStyleIdx="2" presStyleCnt="3" custLinFactNeighborX="-5036" custLinFactNeighborY="16923">
        <dgm:presLayoutVars>
          <dgm:chMax val="1"/>
          <dgm:bulletEnabled val="1"/>
        </dgm:presLayoutVars>
      </dgm:prSet>
      <dgm:spPr/>
    </dgm:pt>
    <dgm:pt modelId="{3B8FD0D4-A649-6343-911F-6DE5A95B0D5E}" type="pres">
      <dgm:prSet presAssocID="{2E964385-0A12-A446-9345-F0657C08F3F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8287801-3876-D346-BFB0-4E36A7F64565}" type="presOf" srcId="{2E964385-0A12-A446-9345-F0657C08F3F5}" destId="{3B8FD0D4-A649-6343-911F-6DE5A95B0D5E}" srcOrd="1" destOrd="0" presId="urn:microsoft.com/office/officeart/2005/8/layout/pyramid1"/>
    <dgm:cxn modelId="{717AAF1E-D09D-454E-B37B-7D2A4767D5B3}" type="presOf" srcId="{50300DD3-8E04-0442-B155-EA728B3A9CAB}" destId="{D7185867-EBAD-C544-8009-A6A4F6E035AB}" srcOrd="1" destOrd="0" presId="urn:microsoft.com/office/officeart/2005/8/layout/pyramid1"/>
    <dgm:cxn modelId="{FAD7B77D-1798-0043-AB38-3D250B459403}" type="presOf" srcId="{2E964385-0A12-A446-9345-F0657C08F3F5}" destId="{BAFE08CE-B190-8449-84F1-7D7F1A6EED2F}" srcOrd="0" destOrd="0" presId="urn:microsoft.com/office/officeart/2005/8/layout/pyramid1"/>
    <dgm:cxn modelId="{30433999-7B43-914F-8F59-1CD338D750DA}" srcId="{ABD8B106-8E2F-514E-A90F-0A50247026C4}" destId="{50300DD3-8E04-0442-B155-EA728B3A9CAB}" srcOrd="0" destOrd="0" parTransId="{FFF81E60-4E80-F744-8A4E-B8163D55FB96}" sibTransId="{68ECE414-6BED-1041-A0BE-A73E8D24B758}"/>
    <dgm:cxn modelId="{98E3E39E-6638-E647-8DB7-9AFF53112F4D}" srcId="{ABD8B106-8E2F-514E-A90F-0A50247026C4}" destId="{61057FBB-3B4C-DC4A-A907-CDF71379DC18}" srcOrd="1" destOrd="0" parTransId="{D7D0E79D-41FA-724E-AF66-8C15E8E2CC78}" sibTransId="{BDC39BC2-1D82-E742-9A84-08B3CD6D3C08}"/>
    <dgm:cxn modelId="{41609CA9-EC33-384A-966E-BB7E3BE8E812}" type="presOf" srcId="{ABD8B106-8E2F-514E-A90F-0A50247026C4}" destId="{D1645111-7EE0-DF41-85A7-743B40ED489F}" srcOrd="0" destOrd="0" presId="urn:microsoft.com/office/officeart/2005/8/layout/pyramid1"/>
    <dgm:cxn modelId="{F1F4D3D3-55FB-3149-9CA5-DCEDADED3416}" type="presOf" srcId="{61057FBB-3B4C-DC4A-A907-CDF71379DC18}" destId="{82FA3C5A-4684-DD4F-BAD2-C517DAB79699}" srcOrd="1" destOrd="0" presId="urn:microsoft.com/office/officeart/2005/8/layout/pyramid1"/>
    <dgm:cxn modelId="{029458EC-746F-3C43-BA0C-C7A808C7C9CE}" srcId="{ABD8B106-8E2F-514E-A90F-0A50247026C4}" destId="{2E964385-0A12-A446-9345-F0657C08F3F5}" srcOrd="2" destOrd="0" parTransId="{CF2DFFD8-A954-C646-A9F9-EDD853B3309F}" sibTransId="{1300DFBE-2482-FE43-9992-1B5B50320DB2}"/>
    <dgm:cxn modelId="{CD3BB5F2-4D91-124F-999E-47FA16E9150D}" type="presOf" srcId="{50300DD3-8E04-0442-B155-EA728B3A9CAB}" destId="{4800BB0F-271A-F34C-AF7F-7CB2FFEB510E}" srcOrd="0" destOrd="0" presId="urn:microsoft.com/office/officeart/2005/8/layout/pyramid1"/>
    <dgm:cxn modelId="{29602CF9-84F9-F747-9421-B83727E36569}" type="presOf" srcId="{61057FBB-3B4C-DC4A-A907-CDF71379DC18}" destId="{C7A02017-A1FB-FF41-97D5-265B7A818E68}" srcOrd="0" destOrd="0" presId="urn:microsoft.com/office/officeart/2005/8/layout/pyramid1"/>
    <dgm:cxn modelId="{0FA79779-68F2-2C4A-834B-FC03DC9B83DC}" type="presParOf" srcId="{D1645111-7EE0-DF41-85A7-743B40ED489F}" destId="{88110086-DF25-A94E-AC31-7B4D66A9C55A}" srcOrd="0" destOrd="0" presId="urn:microsoft.com/office/officeart/2005/8/layout/pyramid1"/>
    <dgm:cxn modelId="{047B4BEB-855D-5749-9211-8FC91B1E5FD4}" type="presParOf" srcId="{88110086-DF25-A94E-AC31-7B4D66A9C55A}" destId="{4800BB0F-271A-F34C-AF7F-7CB2FFEB510E}" srcOrd="0" destOrd="0" presId="urn:microsoft.com/office/officeart/2005/8/layout/pyramid1"/>
    <dgm:cxn modelId="{61184E39-2AE1-954B-8640-063CD511701C}" type="presParOf" srcId="{88110086-DF25-A94E-AC31-7B4D66A9C55A}" destId="{D7185867-EBAD-C544-8009-A6A4F6E035AB}" srcOrd="1" destOrd="0" presId="urn:microsoft.com/office/officeart/2005/8/layout/pyramid1"/>
    <dgm:cxn modelId="{2B1CDF7E-406D-7D41-869B-D8E055F36EEB}" type="presParOf" srcId="{D1645111-7EE0-DF41-85A7-743B40ED489F}" destId="{8A283E2A-0594-7940-B203-82556FCDA15F}" srcOrd="1" destOrd="0" presId="urn:microsoft.com/office/officeart/2005/8/layout/pyramid1"/>
    <dgm:cxn modelId="{5B43C751-3DCE-A445-8153-1CC220E3A2E0}" type="presParOf" srcId="{8A283E2A-0594-7940-B203-82556FCDA15F}" destId="{C7A02017-A1FB-FF41-97D5-265B7A818E68}" srcOrd="0" destOrd="0" presId="urn:microsoft.com/office/officeart/2005/8/layout/pyramid1"/>
    <dgm:cxn modelId="{F165E09D-9999-4B43-B7A9-F3F98BCDC6AB}" type="presParOf" srcId="{8A283E2A-0594-7940-B203-82556FCDA15F}" destId="{82FA3C5A-4684-DD4F-BAD2-C517DAB79699}" srcOrd="1" destOrd="0" presId="urn:microsoft.com/office/officeart/2005/8/layout/pyramid1"/>
    <dgm:cxn modelId="{7EA77D9A-067E-244C-9475-056CB41E0B6B}" type="presParOf" srcId="{D1645111-7EE0-DF41-85A7-743B40ED489F}" destId="{A00414FB-E3FD-4546-ADB5-83C990DAF7AA}" srcOrd="2" destOrd="0" presId="urn:microsoft.com/office/officeart/2005/8/layout/pyramid1"/>
    <dgm:cxn modelId="{8C164892-F076-7444-AF7B-1D1842642993}" type="presParOf" srcId="{A00414FB-E3FD-4546-ADB5-83C990DAF7AA}" destId="{BAFE08CE-B190-8449-84F1-7D7F1A6EED2F}" srcOrd="0" destOrd="0" presId="urn:microsoft.com/office/officeart/2005/8/layout/pyramid1"/>
    <dgm:cxn modelId="{93685A35-A561-1246-8640-3E60FBF8BDC1}" type="presParOf" srcId="{A00414FB-E3FD-4546-ADB5-83C990DAF7AA}" destId="{3B8FD0D4-A649-6343-911F-6DE5A95B0D5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BD8B106-8E2F-514E-A90F-0A50247026C4}" type="doc">
      <dgm:prSet loTypeId="urn:microsoft.com/office/officeart/2005/8/layout/pyramid1" loCatId="" qsTypeId="urn:microsoft.com/office/officeart/2005/8/quickstyle/simple1" qsCatId="simple" csTypeId="urn:microsoft.com/office/officeart/2005/8/colors/accent0_3" csCatId="mainScheme" phldr="1"/>
      <dgm:spPr/>
    </dgm:pt>
    <dgm:pt modelId="{2E964385-0A12-A446-9345-F0657C08F3F5}">
      <dgm:prSet phldrT="[Text]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en-GB" dirty="0"/>
            <a:t>Infrastructure</a:t>
          </a:r>
        </a:p>
      </dgm:t>
    </dgm:pt>
    <dgm:pt modelId="{CF2DFFD8-A954-C646-A9F9-EDD853B3309F}" type="parTrans" cxnId="{029458EC-746F-3C43-BA0C-C7A808C7C9CE}">
      <dgm:prSet/>
      <dgm:spPr/>
      <dgm:t>
        <a:bodyPr/>
        <a:lstStyle/>
        <a:p>
          <a:endParaRPr lang="en-GB"/>
        </a:p>
      </dgm:t>
    </dgm:pt>
    <dgm:pt modelId="{1300DFBE-2482-FE43-9992-1B5B50320DB2}" type="sibTrans" cxnId="{029458EC-746F-3C43-BA0C-C7A808C7C9CE}">
      <dgm:prSet/>
      <dgm:spPr/>
      <dgm:t>
        <a:bodyPr/>
        <a:lstStyle/>
        <a:p>
          <a:endParaRPr lang="en-GB"/>
        </a:p>
      </dgm:t>
    </dgm:pt>
    <dgm:pt modelId="{61057FBB-3B4C-DC4A-A907-CDF71379DC18}">
      <dgm:prSet phldrT="[Text]" custT="1"/>
      <dgm:spPr>
        <a:solidFill>
          <a:schemeClr val="tx2"/>
        </a:solidFill>
      </dgm:spPr>
      <dgm:t>
        <a:bodyPr/>
        <a:lstStyle/>
        <a:p>
          <a:r>
            <a:rPr lang="en-GB" sz="1200" dirty="0"/>
            <a:t>Specification</a:t>
          </a:r>
          <a:endParaRPr lang="en-GB" sz="2800" dirty="0"/>
        </a:p>
      </dgm:t>
    </dgm:pt>
    <dgm:pt modelId="{D7D0E79D-41FA-724E-AF66-8C15E8E2CC78}" type="parTrans" cxnId="{98E3E39E-6638-E647-8DB7-9AFF53112F4D}">
      <dgm:prSet/>
      <dgm:spPr/>
      <dgm:t>
        <a:bodyPr/>
        <a:lstStyle/>
        <a:p>
          <a:endParaRPr lang="en-GB"/>
        </a:p>
      </dgm:t>
    </dgm:pt>
    <dgm:pt modelId="{BDC39BC2-1D82-E742-9A84-08B3CD6D3C08}" type="sibTrans" cxnId="{98E3E39E-6638-E647-8DB7-9AFF53112F4D}">
      <dgm:prSet/>
      <dgm:spPr/>
      <dgm:t>
        <a:bodyPr/>
        <a:lstStyle/>
        <a:p>
          <a:endParaRPr lang="en-GB"/>
        </a:p>
      </dgm:t>
    </dgm:pt>
    <dgm:pt modelId="{50300DD3-8E04-0442-B155-EA728B3A9CAB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br>
            <a:rPr lang="en-GB" sz="1050" dirty="0"/>
          </a:br>
          <a:r>
            <a:rPr lang="en-GB" sz="1050" dirty="0"/>
            <a:t>Third </a:t>
          </a:r>
          <a:br>
            <a:rPr lang="en-GB" sz="1050" dirty="0"/>
          </a:br>
          <a:r>
            <a:rPr lang="en-GB" sz="1050" dirty="0"/>
            <a:t>Party</a:t>
          </a:r>
        </a:p>
      </dgm:t>
    </dgm:pt>
    <dgm:pt modelId="{FFF81E60-4E80-F744-8A4E-B8163D55FB96}" type="parTrans" cxnId="{30433999-7B43-914F-8F59-1CD338D750DA}">
      <dgm:prSet/>
      <dgm:spPr/>
      <dgm:t>
        <a:bodyPr/>
        <a:lstStyle/>
        <a:p>
          <a:endParaRPr lang="en-GB"/>
        </a:p>
      </dgm:t>
    </dgm:pt>
    <dgm:pt modelId="{68ECE414-6BED-1041-A0BE-A73E8D24B758}" type="sibTrans" cxnId="{30433999-7B43-914F-8F59-1CD338D750DA}">
      <dgm:prSet/>
      <dgm:spPr/>
      <dgm:t>
        <a:bodyPr/>
        <a:lstStyle/>
        <a:p>
          <a:endParaRPr lang="en-GB"/>
        </a:p>
      </dgm:t>
    </dgm:pt>
    <dgm:pt modelId="{D1645111-7EE0-DF41-85A7-743B40ED489F}" type="pres">
      <dgm:prSet presAssocID="{ABD8B106-8E2F-514E-A90F-0A50247026C4}" presName="Name0" presStyleCnt="0">
        <dgm:presLayoutVars>
          <dgm:dir/>
          <dgm:animLvl val="lvl"/>
          <dgm:resizeHandles val="exact"/>
        </dgm:presLayoutVars>
      </dgm:prSet>
      <dgm:spPr/>
    </dgm:pt>
    <dgm:pt modelId="{88110086-DF25-A94E-AC31-7B4D66A9C55A}" type="pres">
      <dgm:prSet presAssocID="{50300DD3-8E04-0442-B155-EA728B3A9CAB}" presName="Name8" presStyleCnt="0"/>
      <dgm:spPr/>
    </dgm:pt>
    <dgm:pt modelId="{4800BB0F-271A-F34C-AF7F-7CB2FFEB510E}" type="pres">
      <dgm:prSet presAssocID="{50300DD3-8E04-0442-B155-EA728B3A9CAB}" presName="level" presStyleLbl="node1" presStyleIdx="0" presStyleCnt="3">
        <dgm:presLayoutVars>
          <dgm:chMax val="1"/>
          <dgm:bulletEnabled val="1"/>
        </dgm:presLayoutVars>
      </dgm:prSet>
      <dgm:spPr/>
    </dgm:pt>
    <dgm:pt modelId="{D7185867-EBAD-C544-8009-A6A4F6E035AB}" type="pres">
      <dgm:prSet presAssocID="{50300DD3-8E04-0442-B155-EA728B3A9C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A283E2A-0594-7940-B203-82556FCDA15F}" type="pres">
      <dgm:prSet presAssocID="{61057FBB-3B4C-DC4A-A907-CDF71379DC18}" presName="Name8" presStyleCnt="0"/>
      <dgm:spPr/>
    </dgm:pt>
    <dgm:pt modelId="{C7A02017-A1FB-FF41-97D5-265B7A818E68}" type="pres">
      <dgm:prSet presAssocID="{61057FBB-3B4C-DC4A-A907-CDF71379DC18}" presName="level" presStyleLbl="node1" presStyleIdx="1" presStyleCnt="3">
        <dgm:presLayoutVars>
          <dgm:chMax val="1"/>
          <dgm:bulletEnabled val="1"/>
        </dgm:presLayoutVars>
      </dgm:prSet>
      <dgm:spPr/>
    </dgm:pt>
    <dgm:pt modelId="{82FA3C5A-4684-DD4F-BAD2-C517DAB79699}" type="pres">
      <dgm:prSet presAssocID="{61057FBB-3B4C-DC4A-A907-CDF71379DC1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00414FB-E3FD-4546-ADB5-83C990DAF7AA}" type="pres">
      <dgm:prSet presAssocID="{2E964385-0A12-A446-9345-F0657C08F3F5}" presName="Name8" presStyleCnt="0"/>
      <dgm:spPr/>
    </dgm:pt>
    <dgm:pt modelId="{BAFE08CE-B190-8449-84F1-7D7F1A6EED2F}" type="pres">
      <dgm:prSet presAssocID="{2E964385-0A12-A446-9345-F0657C08F3F5}" presName="level" presStyleLbl="node1" presStyleIdx="2" presStyleCnt="3" custLinFactNeighborX="-3571" custLinFactNeighborY="6162">
        <dgm:presLayoutVars>
          <dgm:chMax val="1"/>
          <dgm:bulletEnabled val="1"/>
        </dgm:presLayoutVars>
      </dgm:prSet>
      <dgm:spPr/>
    </dgm:pt>
    <dgm:pt modelId="{3B8FD0D4-A649-6343-911F-6DE5A95B0D5E}" type="pres">
      <dgm:prSet presAssocID="{2E964385-0A12-A446-9345-F0657C08F3F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8287801-3876-D346-BFB0-4E36A7F64565}" type="presOf" srcId="{2E964385-0A12-A446-9345-F0657C08F3F5}" destId="{3B8FD0D4-A649-6343-911F-6DE5A95B0D5E}" srcOrd="1" destOrd="0" presId="urn:microsoft.com/office/officeart/2005/8/layout/pyramid1"/>
    <dgm:cxn modelId="{717AAF1E-D09D-454E-B37B-7D2A4767D5B3}" type="presOf" srcId="{50300DD3-8E04-0442-B155-EA728B3A9CAB}" destId="{D7185867-EBAD-C544-8009-A6A4F6E035AB}" srcOrd="1" destOrd="0" presId="urn:microsoft.com/office/officeart/2005/8/layout/pyramid1"/>
    <dgm:cxn modelId="{FAD7B77D-1798-0043-AB38-3D250B459403}" type="presOf" srcId="{2E964385-0A12-A446-9345-F0657C08F3F5}" destId="{BAFE08CE-B190-8449-84F1-7D7F1A6EED2F}" srcOrd="0" destOrd="0" presId="urn:microsoft.com/office/officeart/2005/8/layout/pyramid1"/>
    <dgm:cxn modelId="{30433999-7B43-914F-8F59-1CD338D750DA}" srcId="{ABD8B106-8E2F-514E-A90F-0A50247026C4}" destId="{50300DD3-8E04-0442-B155-EA728B3A9CAB}" srcOrd="0" destOrd="0" parTransId="{FFF81E60-4E80-F744-8A4E-B8163D55FB96}" sibTransId="{68ECE414-6BED-1041-A0BE-A73E8D24B758}"/>
    <dgm:cxn modelId="{98E3E39E-6638-E647-8DB7-9AFF53112F4D}" srcId="{ABD8B106-8E2F-514E-A90F-0A50247026C4}" destId="{61057FBB-3B4C-DC4A-A907-CDF71379DC18}" srcOrd="1" destOrd="0" parTransId="{D7D0E79D-41FA-724E-AF66-8C15E8E2CC78}" sibTransId="{BDC39BC2-1D82-E742-9A84-08B3CD6D3C08}"/>
    <dgm:cxn modelId="{41609CA9-EC33-384A-966E-BB7E3BE8E812}" type="presOf" srcId="{ABD8B106-8E2F-514E-A90F-0A50247026C4}" destId="{D1645111-7EE0-DF41-85A7-743B40ED489F}" srcOrd="0" destOrd="0" presId="urn:microsoft.com/office/officeart/2005/8/layout/pyramid1"/>
    <dgm:cxn modelId="{F1F4D3D3-55FB-3149-9CA5-DCEDADED3416}" type="presOf" srcId="{61057FBB-3B4C-DC4A-A907-CDF71379DC18}" destId="{82FA3C5A-4684-DD4F-BAD2-C517DAB79699}" srcOrd="1" destOrd="0" presId="urn:microsoft.com/office/officeart/2005/8/layout/pyramid1"/>
    <dgm:cxn modelId="{029458EC-746F-3C43-BA0C-C7A808C7C9CE}" srcId="{ABD8B106-8E2F-514E-A90F-0A50247026C4}" destId="{2E964385-0A12-A446-9345-F0657C08F3F5}" srcOrd="2" destOrd="0" parTransId="{CF2DFFD8-A954-C646-A9F9-EDD853B3309F}" sibTransId="{1300DFBE-2482-FE43-9992-1B5B50320DB2}"/>
    <dgm:cxn modelId="{CD3BB5F2-4D91-124F-999E-47FA16E9150D}" type="presOf" srcId="{50300DD3-8E04-0442-B155-EA728B3A9CAB}" destId="{4800BB0F-271A-F34C-AF7F-7CB2FFEB510E}" srcOrd="0" destOrd="0" presId="urn:microsoft.com/office/officeart/2005/8/layout/pyramid1"/>
    <dgm:cxn modelId="{29602CF9-84F9-F747-9421-B83727E36569}" type="presOf" srcId="{61057FBB-3B4C-DC4A-A907-CDF71379DC18}" destId="{C7A02017-A1FB-FF41-97D5-265B7A818E68}" srcOrd="0" destOrd="0" presId="urn:microsoft.com/office/officeart/2005/8/layout/pyramid1"/>
    <dgm:cxn modelId="{0FA79779-68F2-2C4A-834B-FC03DC9B83DC}" type="presParOf" srcId="{D1645111-7EE0-DF41-85A7-743B40ED489F}" destId="{88110086-DF25-A94E-AC31-7B4D66A9C55A}" srcOrd="0" destOrd="0" presId="urn:microsoft.com/office/officeart/2005/8/layout/pyramid1"/>
    <dgm:cxn modelId="{047B4BEB-855D-5749-9211-8FC91B1E5FD4}" type="presParOf" srcId="{88110086-DF25-A94E-AC31-7B4D66A9C55A}" destId="{4800BB0F-271A-F34C-AF7F-7CB2FFEB510E}" srcOrd="0" destOrd="0" presId="urn:microsoft.com/office/officeart/2005/8/layout/pyramid1"/>
    <dgm:cxn modelId="{61184E39-2AE1-954B-8640-063CD511701C}" type="presParOf" srcId="{88110086-DF25-A94E-AC31-7B4D66A9C55A}" destId="{D7185867-EBAD-C544-8009-A6A4F6E035AB}" srcOrd="1" destOrd="0" presId="urn:microsoft.com/office/officeart/2005/8/layout/pyramid1"/>
    <dgm:cxn modelId="{2B1CDF7E-406D-7D41-869B-D8E055F36EEB}" type="presParOf" srcId="{D1645111-7EE0-DF41-85A7-743B40ED489F}" destId="{8A283E2A-0594-7940-B203-82556FCDA15F}" srcOrd="1" destOrd="0" presId="urn:microsoft.com/office/officeart/2005/8/layout/pyramid1"/>
    <dgm:cxn modelId="{5B43C751-3DCE-A445-8153-1CC220E3A2E0}" type="presParOf" srcId="{8A283E2A-0594-7940-B203-82556FCDA15F}" destId="{C7A02017-A1FB-FF41-97D5-265B7A818E68}" srcOrd="0" destOrd="0" presId="urn:microsoft.com/office/officeart/2005/8/layout/pyramid1"/>
    <dgm:cxn modelId="{F165E09D-9999-4B43-B7A9-F3F98BCDC6AB}" type="presParOf" srcId="{8A283E2A-0594-7940-B203-82556FCDA15F}" destId="{82FA3C5A-4684-DD4F-BAD2-C517DAB79699}" srcOrd="1" destOrd="0" presId="urn:microsoft.com/office/officeart/2005/8/layout/pyramid1"/>
    <dgm:cxn modelId="{7EA77D9A-067E-244C-9475-056CB41E0B6B}" type="presParOf" srcId="{D1645111-7EE0-DF41-85A7-743B40ED489F}" destId="{A00414FB-E3FD-4546-ADB5-83C990DAF7AA}" srcOrd="2" destOrd="0" presId="urn:microsoft.com/office/officeart/2005/8/layout/pyramid1"/>
    <dgm:cxn modelId="{8C164892-F076-7444-AF7B-1D1842642993}" type="presParOf" srcId="{A00414FB-E3FD-4546-ADB5-83C990DAF7AA}" destId="{BAFE08CE-B190-8449-84F1-7D7F1A6EED2F}" srcOrd="0" destOrd="0" presId="urn:microsoft.com/office/officeart/2005/8/layout/pyramid1"/>
    <dgm:cxn modelId="{93685A35-A561-1246-8640-3E60FBF8BDC1}" type="presParOf" srcId="{A00414FB-E3FD-4546-ADB5-83C990DAF7AA}" destId="{3B8FD0D4-A649-6343-911F-6DE5A95B0D5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BD8B106-8E2F-514E-A90F-0A50247026C4}" type="doc">
      <dgm:prSet loTypeId="urn:microsoft.com/office/officeart/2005/8/layout/pyramid1" loCatId="" qsTypeId="urn:microsoft.com/office/officeart/2005/8/quickstyle/simple1" qsCatId="simple" csTypeId="urn:microsoft.com/office/officeart/2005/8/colors/accent0_3" csCatId="mainScheme" phldr="1"/>
      <dgm:spPr/>
    </dgm:pt>
    <dgm:pt modelId="{2E964385-0A12-A446-9345-F0657C08F3F5}">
      <dgm:prSet phldrT="[Text]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en-GB" dirty="0"/>
            <a:t>Infrastructure</a:t>
          </a:r>
        </a:p>
      </dgm:t>
    </dgm:pt>
    <dgm:pt modelId="{CF2DFFD8-A954-C646-A9F9-EDD853B3309F}" type="parTrans" cxnId="{029458EC-746F-3C43-BA0C-C7A808C7C9CE}">
      <dgm:prSet/>
      <dgm:spPr/>
      <dgm:t>
        <a:bodyPr/>
        <a:lstStyle/>
        <a:p>
          <a:endParaRPr lang="en-GB"/>
        </a:p>
      </dgm:t>
    </dgm:pt>
    <dgm:pt modelId="{1300DFBE-2482-FE43-9992-1B5B50320DB2}" type="sibTrans" cxnId="{029458EC-746F-3C43-BA0C-C7A808C7C9CE}">
      <dgm:prSet/>
      <dgm:spPr/>
      <dgm:t>
        <a:bodyPr/>
        <a:lstStyle/>
        <a:p>
          <a:endParaRPr lang="en-GB"/>
        </a:p>
      </dgm:t>
    </dgm:pt>
    <dgm:pt modelId="{61057FBB-3B4C-DC4A-A907-CDF71379DC18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en-GB" sz="1200" dirty="0"/>
            <a:t>Specification</a:t>
          </a:r>
          <a:endParaRPr lang="en-GB" sz="2800" dirty="0"/>
        </a:p>
      </dgm:t>
    </dgm:pt>
    <dgm:pt modelId="{D7D0E79D-41FA-724E-AF66-8C15E8E2CC78}" type="parTrans" cxnId="{98E3E39E-6638-E647-8DB7-9AFF53112F4D}">
      <dgm:prSet/>
      <dgm:spPr/>
      <dgm:t>
        <a:bodyPr/>
        <a:lstStyle/>
        <a:p>
          <a:endParaRPr lang="en-GB"/>
        </a:p>
      </dgm:t>
    </dgm:pt>
    <dgm:pt modelId="{BDC39BC2-1D82-E742-9A84-08B3CD6D3C08}" type="sibTrans" cxnId="{98E3E39E-6638-E647-8DB7-9AFF53112F4D}">
      <dgm:prSet/>
      <dgm:spPr/>
      <dgm:t>
        <a:bodyPr/>
        <a:lstStyle/>
        <a:p>
          <a:endParaRPr lang="en-GB"/>
        </a:p>
      </dgm:t>
    </dgm:pt>
    <dgm:pt modelId="{50300DD3-8E04-0442-B155-EA728B3A9CAB}">
      <dgm:prSet phldrT="[Text]" custT="1"/>
      <dgm:spPr>
        <a:solidFill>
          <a:schemeClr val="tx2"/>
        </a:solidFill>
      </dgm:spPr>
      <dgm:t>
        <a:bodyPr/>
        <a:lstStyle/>
        <a:p>
          <a:br>
            <a:rPr lang="en-GB" sz="1050" dirty="0"/>
          </a:br>
          <a:r>
            <a:rPr lang="en-GB" sz="1050" dirty="0"/>
            <a:t>Third </a:t>
          </a:r>
          <a:br>
            <a:rPr lang="en-GB" sz="1050" dirty="0"/>
          </a:br>
          <a:r>
            <a:rPr lang="en-GB" sz="1050" dirty="0"/>
            <a:t>Party</a:t>
          </a:r>
        </a:p>
      </dgm:t>
    </dgm:pt>
    <dgm:pt modelId="{FFF81E60-4E80-F744-8A4E-B8163D55FB96}" type="parTrans" cxnId="{30433999-7B43-914F-8F59-1CD338D750DA}">
      <dgm:prSet/>
      <dgm:spPr/>
      <dgm:t>
        <a:bodyPr/>
        <a:lstStyle/>
        <a:p>
          <a:endParaRPr lang="en-GB"/>
        </a:p>
      </dgm:t>
    </dgm:pt>
    <dgm:pt modelId="{68ECE414-6BED-1041-A0BE-A73E8D24B758}" type="sibTrans" cxnId="{30433999-7B43-914F-8F59-1CD338D750DA}">
      <dgm:prSet/>
      <dgm:spPr/>
      <dgm:t>
        <a:bodyPr/>
        <a:lstStyle/>
        <a:p>
          <a:endParaRPr lang="en-GB"/>
        </a:p>
      </dgm:t>
    </dgm:pt>
    <dgm:pt modelId="{D1645111-7EE0-DF41-85A7-743B40ED489F}" type="pres">
      <dgm:prSet presAssocID="{ABD8B106-8E2F-514E-A90F-0A50247026C4}" presName="Name0" presStyleCnt="0">
        <dgm:presLayoutVars>
          <dgm:dir/>
          <dgm:animLvl val="lvl"/>
          <dgm:resizeHandles val="exact"/>
        </dgm:presLayoutVars>
      </dgm:prSet>
      <dgm:spPr/>
    </dgm:pt>
    <dgm:pt modelId="{88110086-DF25-A94E-AC31-7B4D66A9C55A}" type="pres">
      <dgm:prSet presAssocID="{50300DD3-8E04-0442-B155-EA728B3A9CAB}" presName="Name8" presStyleCnt="0"/>
      <dgm:spPr/>
    </dgm:pt>
    <dgm:pt modelId="{4800BB0F-271A-F34C-AF7F-7CB2FFEB510E}" type="pres">
      <dgm:prSet presAssocID="{50300DD3-8E04-0442-B155-EA728B3A9CAB}" presName="level" presStyleLbl="node1" presStyleIdx="0" presStyleCnt="3">
        <dgm:presLayoutVars>
          <dgm:chMax val="1"/>
          <dgm:bulletEnabled val="1"/>
        </dgm:presLayoutVars>
      </dgm:prSet>
      <dgm:spPr/>
    </dgm:pt>
    <dgm:pt modelId="{D7185867-EBAD-C544-8009-A6A4F6E035AB}" type="pres">
      <dgm:prSet presAssocID="{50300DD3-8E04-0442-B155-EA728B3A9C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A283E2A-0594-7940-B203-82556FCDA15F}" type="pres">
      <dgm:prSet presAssocID="{61057FBB-3B4C-DC4A-A907-CDF71379DC18}" presName="Name8" presStyleCnt="0"/>
      <dgm:spPr/>
    </dgm:pt>
    <dgm:pt modelId="{C7A02017-A1FB-FF41-97D5-265B7A818E68}" type="pres">
      <dgm:prSet presAssocID="{61057FBB-3B4C-DC4A-A907-CDF71379DC18}" presName="level" presStyleLbl="node1" presStyleIdx="1" presStyleCnt="3">
        <dgm:presLayoutVars>
          <dgm:chMax val="1"/>
          <dgm:bulletEnabled val="1"/>
        </dgm:presLayoutVars>
      </dgm:prSet>
      <dgm:spPr/>
    </dgm:pt>
    <dgm:pt modelId="{82FA3C5A-4684-DD4F-BAD2-C517DAB79699}" type="pres">
      <dgm:prSet presAssocID="{61057FBB-3B4C-DC4A-A907-CDF71379DC1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00414FB-E3FD-4546-ADB5-83C990DAF7AA}" type="pres">
      <dgm:prSet presAssocID="{2E964385-0A12-A446-9345-F0657C08F3F5}" presName="Name8" presStyleCnt="0"/>
      <dgm:spPr/>
    </dgm:pt>
    <dgm:pt modelId="{BAFE08CE-B190-8449-84F1-7D7F1A6EED2F}" type="pres">
      <dgm:prSet presAssocID="{2E964385-0A12-A446-9345-F0657C08F3F5}" presName="level" presStyleLbl="node1" presStyleIdx="2" presStyleCnt="3" custLinFactNeighborX="-5036" custLinFactNeighborY="16923">
        <dgm:presLayoutVars>
          <dgm:chMax val="1"/>
          <dgm:bulletEnabled val="1"/>
        </dgm:presLayoutVars>
      </dgm:prSet>
      <dgm:spPr/>
    </dgm:pt>
    <dgm:pt modelId="{3B8FD0D4-A649-6343-911F-6DE5A95B0D5E}" type="pres">
      <dgm:prSet presAssocID="{2E964385-0A12-A446-9345-F0657C08F3F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8287801-3876-D346-BFB0-4E36A7F64565}" type="presOf" srcId="{2E964385-0A12-A446-9345-F0657C08F3F5}" destId="{3B8FD0D4-A649-6343-911F-6DE5A95B0D5E}" srcOrd="1" destOrd="0" presId="urn:microsoft.com/office/officeart/2005/8/layout/pyramid1"/>
    <dgm:cxn modelId="{717AAF1E-D09D-454E-B37B-7D2A4767D5B3}" type="presOf" srcId="{50300DD3-8E04-0442-B155-EA728B3A9CAB}" destId="{D7185867-EBAD-C544-8009-A6A4F6E035AB}" srcOrd="1" destOrd="0" presId="urn:microsoft.com/office/officeart/2005/8/layout/pyramid1"/>
    <dgm:cxn modelId="{FAD7B77D-1798-0043-AB38-3D250B459403}" type="presOf" srcId="{2E964385-0A12-A446-9345-F0657C08F3F5}" destId="{BAFE08CE-B190-8449-84F1-7D7F1A6EED2F}" srcOrd="0" destOrd="0" presId="urn:microsoft.com/office/officeart/2005/8/layout/pyramid1"/>
    <dgm:cxn modelId="{30433999-7B43-914F-8F59-1CD338D750DA}" srcId="{ABD8B106-8E2F-514E-A90F-0A50247026C4}" destId="{50300DD3-8E04-0442-B155-EA728B3A9CAB}" srcOrd="0" destOrd="0" parTransId="{FFF81E60-4E80-F744-8A4E-B8163D55FB96}" sibTransId="{68ECE414-6BED-1041-A0BE-A73E8D24B758}"/>
    <dgm:cxn modelId="{98E3E39E-6638-E647-8DB7-9AFF53112F4D}" srcId="{ABD8B106-8E2F-514E-A90F-0A50247026C4}" destId="{61057FBB-3B4C-DC4A-A907-CDF71379DC18}" srcOrd="1" destOrd="0" parTransId="{D7D0E79D-41FA-724E-AF66-8C15E8E2CC78}" sibTransId="{BDC39BC2-1D82-E742-9A84-08B3CD6D3C08}"/>
    <dgm:cxn modelId="{41609CA9-EC33-384A-966E-BB7E3BE8E812}" type="presOf" srcId="{ABD8B106-8E2F-514E-A90F-0A50247026C4}" destId="{D1645111-7EE0-DF41-85A7-743B40ED489F}" srcOrd="0" destOrd="0" presId="urn:microsoft.com/office/officeart/2005/8/layout/pyramid1"/>
    <dgm:cxn modelId="{F1F4D3D3-55FB-3149-9CA5-DCEDADED3416}" type="presOf" srcId="{61057FBB-3B4C-DC4A-A907-CDF71379DC18}" destId="{82FA3C5A-4684-DD4F-BAD2-C517DAB79699}" srcOrd="1" destOrd="0" presId="urn:microsoft.com/office/officeart/2005/8/layout/pyramid1"/>
    <dgm:cxn modelId="{029458EC-746F-3C43-BA0C-C7A808C7C9CE}" srcId="{ABD8B106-8E2F-514E-A90F-0A50247026C4}" destId="{2E964385-0A12-A446-9345-F0657C08F3F5}" srcOrd="2" destOrd="0" parTransId="{CF2DFFD8-A954-C646-A9F9-EDD853B3309F}" sibTransId="{1300DFBE-2482-FE43-9992-1B5B50320DB2}"/>
    <dgm:cxn modelId="{CD3BB5F2-4D91-124F-999E-47FA16E9150D}" type="presOf" srcId="{50300DD3-8E04-0442-B155-EA728B3A9CAB}" destId="{4800BB0F-271A-F34C-AF7F-7CB2FFEB510E}" srcOrd="0" destOrd="0" presId="urn:microsoft.com/office/officeart/2005/8/layout/pyramid1"/>
    <dgm:cxn modelId="{29602CF9-84F9-F747-9421-B83727E36569}" type="presOf" srcId="{61057FBB-3B4C-DC4A-A907-CDF71379DC18}" destId="{C7A02017-A1FB-FF41-97D5-265B7A818E68}" srcOrd="0" destOrd="0" presId="urn:microsoft.com/office/officeart/2005/8/layout/pyramid1"/>
    <dgm:cxn modelId="{0FA79779-68F2-2C4A-834B-FC03DC9B83DC}" type="presParOf" srcId="{D1645111-7EE0-DF41-85A7-743B40ED489F}" destId="{88110086-DF25-A94E-AC31-7B4D66A9C55A}" srcOrd="0" destOrd="0" presId="urn:microsoft.com/office/officeart/2005/8/layout/pyramid1"/>
    <dgm:cxn modelId="{047B4BEB-855D-5749-9211-8FC91B1E5FD4}" type="presParOf" srcId="{88110086-DF25-A94E-AC31-7B4D66A9C55A}" destId="{4800BB0F-271A-F34C-AF7F-7CB2FFEB510E}" srcOrd="0" destOrd="0" presId="urn:microsoft.com/office/officeart/2005/8/layout/pyramid1"/>
    <dgm:cxn modelId="{61184E39-2AE1-954B-8640-063CD511701C}" type="presParOf" srcId="{88110086-DF25-A94E-AC31-7B4D66A9C55A}" destId="{D7185867-EBAD-C544-8009-A6A4F6E035AB}" srcOrd="1" destOrd="0" presId="urn:microsoft.com/office/officeart/2005/8/layout/pyramid1"/>
    <dgm:cxn modelId="{2B1CDF7E-406D-7D41-869B-D8E055F36EEB}" type="presParOf" srcId="{D1645111-7EE0-DF41-85A7-743B40ED489F}" destId="{8A283E2A-0594-7940-B203-82556FCDA15F}" srcOrd="1" destOrd="0" presId="urn:microsoft.com/office/officeart/2005/8/layout/pyramid1"/>
    <dgm:cxn modelId="{5B43C751-3DCE-A445-8153-1CC220E3A2E0}" type="presParOf" srcId="{8A283E2A-0594-7940-B203-82556FCDA15F}" destId="{C7A02017-A1FB-FF41-97D5-265B7A818E68}" srcOrd="0" destOrd="0" presId="urn:microsoft.com/office/officeart/2005/8/layout/pyramid1"/>
    <dgm:cxn modelId="{F165E09D-9999-4B43-B7A9-F3F98BCDC6AB}" type="presParOf" srcId="{8A283E2A-0594-7940-B203-82556FCDA15F}" destId="{82FA3C5A-4684-DD4F-BAD2-C517DAB79699}" srcOrd="1" destOrd="0" presId="urn:microsoft.com/office/officeart/2005/8/layout/pyramid1"/>
    <dgm:cxn modelId="{7EA77D9A-067E-244C-9475-056CB41E0B6B}" type="presParOf" srcId="{D1645111-7EE0-DF41-85A7-743B40ED489F}" destId="{A00414FB-E3FD-4546-ADB5-83C990DAF7AA}" srcOrd="2" destOrd="0" presId="urn:microsoft.com/office/officeart/2005/8/layout/pyramid1"/>
    <dgm:cxn modelId="{8C164892-F076-7444-AF7B-1D1842642993}" type="presParOf" srcId="{A00414FB-E3FD-4546-ADB5-83C990DAF7AA}" destId="{BAFE08CE-B190-8449-84F1-7D7F1A6EED2F}" srcOrd="0" destOrd="0" presId="urn:microsoft.com/office/officeart/2005/8/layout/pyramid1"/>
    <dgm:cxn modelId="{93685A35-A561-1246-8640-3E60FBF8BDC1}" type="presParOf" srcId="{A00414FB-E3FD-4546-ADB5-83C990DAF7AA}" destId="{3B8FD0D4-A649-6343-911F-6DE5A95B0D5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6E0FA23-64B2-D54E-B5F5-C6D0FF559DD7}" type="doc">
      <dgm:prSet loTypeId="urn:microsoft.com/office/officeart/2005/8/layout/vList5" loCatId="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CA899753-7EE6-4C42-8088-80637F293995}">
      <dgm:prSet phldrT="[Text]"/>
      <dgm:spPr/>
      <dgm:t>
        <a:bodyPr/>
        <a:lstStyle/>
        <a:p>
          <a:r>
            <a:rPr lang="en-GB" dirty="0"/>
            <a:t>JWT Token Usage CR</a:t>
          </a:r>
        </a:p>
      </dgm:t>
    </dgm:pt>
    <dgm:pt modelId="{03D111D1-43DB-0D4B-AB10-56B427C5A981}" type="parTrans" cxnId="{77CD0CBB-8819-E24A-8376-CC109E746E0B}">
      <dgm:prSet/>
      <dgm:spPr/>
      <dgm:t>
        <a:bodyPr/>
        <a:lstStyle/>
        <a:p>
          <a:endParaRPr lang="en-GB"/>
        </a:p>
      </dgm:t>
    </dgm:pt>
    <dgm:pt modelId="{3BE715B1-0038-1041-8ECE-FAB2F14D6265}" type="sibTrans" cxnId="{77CD0CBB-8819-E24A-8376-CC109E746E0B}">
      <dgm:prSet/>
      <dgm:spPr/>
      <dgm:t>
        <a:bodyPr/>
        <a:lstStyle/>
        <a:p>
          <a:endParaRPr lang="en-GB"/>
        </a:p>
      </dgm:t>
    </dgm:pt>
    <dgm:pt modelId="{5E717921-D344-FD4F-AF0F-FAF8622B66B2}">
      <dgm:prSet phldrT="[Text]"/>
      <dgm:spPr/>
      <dgm:t>
        <a:bodyPr/>
        <a:lstStyle/>
        <a:p>
          <a:r>
            <a:rPr lang="en-GB" dirty="0"/>
            <a:t>Move from </a:t>
          </a:r>
          <a:r>
            <a:rPr lang="en-GB" dirty="0" err="1"/>
            <a:t>APIKey</a:t>
          </a:r>
          <a:r>
            <a:rPr lang="en-GB" dirty="0"/>
            <a:t> to JWT based Auth</a:t>
          </a:r>
        </a:p>
      </dgm:t>
    </dgm:pt>
    <dgm:pt modelId="{D88A64C3-03CF-F245-B4F5-9EB5BB59CF14}" type="parTrans" cxnId="{AF1F4591-55D0-A544-836F-D806BBD4D374}">
      <dgm:prSet/>
      <dgm:spPr/>
      <dgm:t>
        <a:bodyPr/>
        <a:lstStyle/>
        <a:p>
          <a:endParaRPr lang="en-GB"/>
        </a:p>
      </dgm:t>
    </dgm:pt>
    <dgm:pt modelId="{4A1E2081-D9BC-4644-AECF-CCC921FAFECE}" type="sibTrans" cxnId="{AF1F4591-55D0-A544-836F-D806BBD4D374}">
      <dgm:prSet/>
      <dgm:spPr/>
      <dgm:t>
        <a:bodyPr/>
        <a:lstStyle/>
        <a:p>
          <a:endParaRPr lang="en-GB"/>
        </a:p>
      </dgm:t>
    </dgm:pt>
    <dgm:pt modelId="{55ED48E7-8CF2-BD42-B201-34C3FED24FDD}">
      <dgm:prSet phldrT="[Text]"/>
      <dgm:spPr/>
      <dgm:t>
        <a:bodyPr/>
        <a:lstStyle/>
        <a:p>
          <a:r>
            <a:rPr lang="en-GB" dirty="0"/>
            <a:t>Allow generic OIDC Issuer</a:t>
          </a:r>
        </a:p>
      </dgm:t>
    </dgm:pt>
    <dgm:pt modelId="{0E19A6F0-F45B-F24E-A434-4F17BFBA5E6C}" type="parTrans" cxnId="{532A9E3D-4459-7242-821F-BF708AAA8F6F}">
      <dgm:prSet/>
      <dgm:spPr/>
      <dgm:t>
        <a:bodyPr/>
        <a:lstStyle/>
        <a:p>
          <a:endParaRPr lang="en-GB"/>
        </a:p>
      </dgm:t>
    </dgm:pt>
    <dgm:pt modelId="{43991DC1-30A7-C840-804C-51757FAF873A}" type="sibTrans" cxnId="{532A9E3D-4459-7242-821F-BF708AAA8F6F}">
      <dgm:prSet/>
      <dgm:spPr/>
      <dgm:t>
        <a:bodyPr/>
        <a:lstStyle/>
        <a:p>
          <a:endParaRPr lang="en-GB"/>
        </a:p>
      </dgm:t>
    </dgm:pt>
    <dgm:pt modelId="{7CCA98D8-2252-3448-A5A2-C604F4CDCA54}">
      <dgm:prSet phldrT="[Text]"/>
      <dgm:spPr/>
      <dgm:t>
        <a:bodyPr/>
        <a:lstStyle/>
        <a:p>
          <a:r>
            <a:rPr lang="en-GB" dirty="0"/>
            <a:t>TSA Signer Usage CR</a:t>
          </a:r>
        </a:p>
      </dgm:t>
    </dgm:pt>
    <dgm:pt modelId="{3B980601-9D10-6B41-A721-4E6DEE6E4DFB}" type="parTrans" cxnId="{1F9E329E-4D3C-3242-97C3-53B408D94BFD}">
      <dgm:prSet/>
      <dgm:spPr/>
      <dgm:t>
        <a:bodyPr/>
        <a:lstStyle/>
        <a:p>
          <a:endParaRPr lang="en-GB"/>
        </a:p>
      </dgm:t>
    </dgm:pt>
    <dgm:pt modelId="{E59AC42D-5861-0444-85D3-EC7F11A743B2}" type="sibTrans" cxnId="{1F9E329E-4D3C-3242-97C3-53B408D94BFD}">
      <dgm:prSet/>
      <dgm:spPr/>
      <dgm:t>
        <a:bodyPr/>
        <a:lstStyle/>
        <a:p>
          <a:endParaRPr lang="en-GB"/>
        </a:p>
      </dgm:t>
    </dgm:pt>
    <dgm:pt modelId="{0427516F-4E56-F744-A659-A234F25FD78C}">
      <dgm:prSet phldrT="[Text]"/>
      <dgm:spPr/>
      <dgm:t>
        <a:bodyPr/>
        <a:lstStyle/>
        <a:p>
          <a:r>
            <a:rPr lang="en-GB" dirty="0"/>
            <a:t>Enable usage of the TSA Signer Component</a:t>
          </a:r>
        </a:p>
      </dgm:t>
    </dgm:pt>
    <dgm:pt modelId="{13DD8FFD-FF5B-1E4B-8E39-5F8E00742749}" type="parTrans" cxnId="{DF463253-B39E-674E-8096-099246755399}">
      <dgm:prSet/>
      <dgm:spPr/>
      <dgm:t>
        <a:bodyPr/>
        <a:lstStyle/>
        <a:p>
          <a:endParaRPr lang="en-GB"/>
        </a:p>
      </dgm:t>
    </dgm:pt>
    <dgm:pt modelId="{0C1F12F8-40B1-664E-8C45-4F2F169117C3}" type="sibTrans" cxnId="{DF463253-B39E-674E-8096-099246755399}">
      <dgm:prSet/>
      <dgm:spPr/>
      <dgm:t>
        <a:bodyPr/>
        <a:lstStyle/>
        <a:p>
          <a:endParaRPr lang="en-GB"/>
        </a:p>
      </dgm:t>
    </dgm:pt>
    <dgm:pt modelId="{23564F03-B444-0642-B276-148C4066F285}">
      <dgm:prSet phldrT="[Text]"/>
      <dgm:spPr/>
      <dgm:t>
        <a:bodyPr/>
        <a:lstStyle/>
        <a:p>
          <a:r>
            <a:rPr lang="en-GB" dirty="0"/>
            <a:t>Make the usage configurable</a:t>
          </a:r>
        </a:p>
      </dgm:t>
    </dgm:pt>
    <dgm:pt modelId="{B6738AE9-D288-9E4C-A019-2477997FA232}" type="parTrans" cxnId="{0042B796-C1EA-9643-A09C-52081C3939D6}">
      <dgm:prSet/>
      <dgm:spPr/>
      <dgm:t>
        <a:bodyPr/>
        <a:lstStyle/>
        <a:p>
          <a:endParaRPr lang="en-GB"/>
        </a:p>
      </dgm:t>
    </dgm:pt>
    <dgm:pt modelId="{2959A5CB-5A07-8F44-B14E-A5EE54241283}" type="sibTrans" cxnId="{0042B796-C1EA-9643-A09C-52081C3939D6}">
      <dgm:prSet/>
      <dgm:spPr/>
      <dgm:t>
        <a:bodyPr/>
        <a:lstStyle/>
        <a:p>
          <a:endParaRPr lang="en-GB"/>
        </a:p>
      </dgm:t>
    </dgm:pt>
    <dgm:pt modelId="{6C41759A-E683-154F-BE91-01331048D1A4}" type="pres">
      <dgm:prSet presAssocID="{56E0FA23-64B2-D54E-B5F5-C6D0FF559DD7}" presName="Name0" presStyleCnt="0">
        <dgm:presLayoutVars>
          <dgm:dir/>
          <dgm:animLvl val="lvl"/>
          <dgm:resizeHandles val="exact"/>
        </dgm:presLayoutVars>
      </dgm:prSet>
      <dgm:spPr/>
    </dgm:pt>
    <dgm:pt modelId="{45118AF8-BEBA-AF4C-9697-C7531F0D60F8}" type="pres">
      <dgm:prSet presAssocID="{CA899753-7EE6-4C42-8088-80637F293995}" presName="linNode" presStyleCnt="0"/>
      <dgm:spPr/>
    </dgm:pt>
    <dgm:pt modelId="{2F7B61F9-1685-F14B-9C74-322629E582CA}" type="pres">
      <dgm:prSet presAssocID="{CA899753-7EE6-4C42-8088-80637F293995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82728237-D222-7845-943E-60F6C8F688CC}" type="pres">
      <dgm:prSet presAssocID="{CA899753-7EE6-4C42-8088-80637F293995}" presName="descendantText" presStyleLbl="alignAccFollowNode1" presStyleIdx="0" presStyleCnt="2">
        <dgm:presLayoutVars>
          <dgm:bulletEnabled val="1"/>
        </dgm:presLayoutVars>
      </dgm:prSet>
      <dgm:spPr/>
    </dgm:pt>
    <dgm:pt modelId="{91DF896C-EBBB-7D44-8EAF-4DBF4CC2FA4E}" type="pres">
      <dgm:prSet presAssocID="{3BE715B1-0038-1041-8ECE-FAB2F14D6265}" presName="sp" presStyleCnt="0"/>
      <dgm:spPr/>
    </dgm:pt>
    <dgm:pt modelId="{83A61224-E367-2A4F-B304-4735A7643A33}" type="pres">
      <dgm:prSet presAssocID="{7CCA98D8-2252-3448-A5A2-C604F4CDCA54}" presName="linNode" presStyleCnt="0"/>
      <dgm:spPr/>
    </dgm:pt>
    <dgm:pt modelId="{A132E4F2-E1A3-E843-80F7-D6782D1BB0E6}" type="pres">
      <dgm:prSet presAssocID="{7CCA98D8-2252-3448-A5A2-C604F4CDCA54}" presName="parentText" presStyleLbl="node1" presStyleIdx="1" presStyleCnt="2">
        <dgm:presLayoutVars>
          <dgm:chMax val="1"/>
          <dgm:bulletEnabled val="1"/>
        </dgm:presLayoutVars>
      </dgm:prSet>
      <dgm:spPr/>
    </dgm:pt>
    <dgm:pt modelId="{145A07D0-DC24-7847-84CC-9077A50E5E61}" type="pres">
      <dgm:prSet presAssocID="{7CCA98D8-2252-3448-A5A2-C604F4CDCA54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8F119219-0E64-0F40-AC42-68EC033124A8}" type="presOf" srcId="{CA899753-7EE6-4C42-8088-80637F293995}" destId="{2F7B61F9-1685-F14B-9C74-322629E582CA}" srcOrd="0" destOrd="0" presId="urn:microsoft.com/office/officeart/2005/8/layout/vList5"/>
    <dgm:cxn modelId="{88ED381B-960E-764E-87FA-02C16CAC4B6F}" type="presOf" srcId="{5E717921-D344-FD4F-AF0F-FAF8622B66B2}" destId="{82728237-D222-7845-943E-60F6C8F688CC}" srcOrd="0" destOrd="0" presId="urn:microsoft.com/office/officeart/2005/8/layout/vList5"/>
    <dgm:cxn modelId="{7C9EE62F-5FB9-4F46-A2C2-C063626164E6}" type="presOf" srcId="{56E0FA23-64B2-D54E-B5F5-C6D0FF559DD7}" destId="{6C41759A-E683-154F-BE91-01331048D1A4}" srcOrd="0" destOrd="0" presId="urn:microsoft.com/office/officeart/2005/8/layout/vList5"/>
    <dgm:cxn modelId="{FBBE1739-C9C3-AE40-A953-E37DCF993FAF}" type="presOf" srcId="{0427516F-4E56-F744-A659-A234F25FD78C}" destId="{145A07D0-DC24-7847-84CC-9077A50E5E61}" srcOrd="0" destOrd="0" presId="urn:microsoft.com/office/officeart/2005/8/layout/vList5"/>
    <dgm:cxn modelId="{532A9E3D-4459-7242-821F-BF708AAA8F6F}" srcId="{CA899753-7EE6-4C42-8088-80637F293995}" destId="{55ED48E7-8CF2-BD42-B201-34C3FED24FDD}" srcOrd="1" destOrd="0" parTransId="{0E19A6F0-F45B-F24E-A434-4F17BFBA5E6C}" sibTransId="{43991DC1-30A7-C840-804C-51757FAF873A}"/>
    <dgm:cxn modelId="{DF463253-B39E-674E-8096-099246755399}" srcId="{7CCA98D8-2252-3448-A5A2-C604F4CDCA54}" destId="{0427516F-4E56-F744-A659-A234F25FD78C}" srcOrd="0" destOrd="0" parTransId="{13DD8FFD-FF5B-1E4B-8E39-5F8E00742749}" sibTransId="{0C1F12F8-40B1-664E-8C45-4F2F169117C3}"/>
    <dgm:cxn modelId="{D9A34F69-EF8A-6F4A-B2A5-FF50CDE30967}" type="presOf" srcId="{55ED48E7-8CF2-BD42-B201-34C3FED24FDD}" destId="{82728237-D222-7845-943E-60F6C8F688CC}" srcOrd="0" destOrd="1" presId="urn:microsoft.com/office/officeart/2005/8/layout/vList5"/>
    <dgm:cxn modelId="{C756B174-8182-6747-A7CF-94383B2F2E1E}" type="presOf" srcId="{7CCA98D8-2252-3448-A5A2-C604F4CDCA54}" destId="{A132E4F2-E1A3-E843-80F7-D6782D1BB0E6}" srcOrd="0" destOrd="0" presId="urn:microsoft.com/office/officeart/2005/8/layout/vList5"/>
    <dgm:cxn modelId="{AF1F4591-55D0-A544-836F-D806BBD4D374}" srcId="{CA899753-7EE6-4C42-8088-80637F293995}" destId="{5E717921-D344-FD4F-AF0F-FAF8622B66B2}" srcOrd="0" destOrd="0" parTransId="{D88A64C3-03CF-F245-B4F5-9EB5BB59CF14}" sibTransId="{4A1E2081-D9BC-4644-AECF-CCC921FAFECE}"/>
    <dgm:cxn modelId="{0042B796-C1EA-9643-A09C-52081C3939D6}" srcId="{7CCA98D8-2252-3448-A5A2-C604F4CDCA54}" destId="{23564F03-B444-0642-B276-148C4066F285}" srcOrd="1" destOrd="0" parTransId="{B6738AE9-D288-9E4C-A019-2477997FA232}" sibTransId="{2959A5CB-5A07-8F44-B14E-A5EE54241283}"/>
    <dgm:cxn modelId="{1F9E329E-4D3C-3242-97C3-53B408D94BFD}" srcId="{56E0FA23-64B2-D54E-B5F5-C6D0FF559DD7}" destId="{7CCA98D8-2252-3448-A5A2-C604F4CDCA54}" srcOrd="1" destOrd="0" parTransId="{3B980601-9D10-6B41-A721-4E6DEE6E4DFB}" sibTransId="{E59AC42D-5861-0444-85D3-EC7F11A743B2}"/>
    <dgm:cxn modelId="{77CD0CBB-8819-E24A-8376-CC109E746E0B}" srcId="{56E0FA23-64B2-D54E-B5F5-C6D0FF559DD7}" destId="{CA899753-7EE6-4C42-8088-80637F293995}" srcOrd="0" destOrd="0" parTransId="{03D111D1-43DB-0D4B-AB10-56B427C5A981}" sibTransId="{3BE715B1-0038-1041-8ECE-FAB2F14D6265}"/>
    <dgm:cxn modelId="{374097BF-8CDE-3B41-93B6-0F003056C3F2}" type="presOf" srcId="{23564F03-B444-0642-B276-148C4066F285}" destId="{145A07D0-DC24-7847-84CC-9077A50E5E61}" srcOrd="0" destOrd="1" presId="urn:microsoft.com/office/officeart/2005/8/layout/vList5"/>
    <dgm:cxn modelId="{7DAA1E48-6F58-414B-9D11-6C0865223658}" type="presParOf" srcId="{6C41759A-E683-154F-BE91-01331048D1A4}" destId="{45118AF8-BEBA-AF4C-9697-C7531F0D60F8}" srcOrd="0" destOrd="0" presId="urn:microsoft.com/office/officeart/2005/8/layout/vList5"/>
    <dgm:cxn modelId="{A923490B-7AA8-9241-B82F-E133D4823C4B}" type="presParOf" srcId="{45118AF8-BEBA-AF4C-9697-C7531F0D60F8}" destId="{2F7B61F9-1685-F14B-9C74-322629E582CA}" srcOrd="0" destOrd="0" presId="urn:microsoft.com/office/officeart/2005/8/layout/vList5"/>
    <dgm:cxn modelId="{791D4E18-8E67-004D-9CAA-C767A3B9E57D}" type="presParOf" srcId="{45118AF8-BEBA-AF4C-9697-C7531F0D60F8}" destId="{82728237-D222-7845-943E-60F6C8F688CC}" srcOrd="1" destOrd="0" presId="urn:microsoft.com/office/officeart/2005/8/layout/vList5"/>
    <dgm:cxn modelId="{AD38D303-E956-C745-A165-C0696D48CB64}" type="presParOf" srcId="{6C41759A-E683-154F-BE91-01331048D1A4}" destId="{91DF896C-EBBB-7D44-8EAF-4DBF4CC2FA4E}" srcOrd="1" destOrd="0" presId="urn:microsoft.com/office/officeart/2005/8/layout/vList5"/>
    <dgm:cxn modelId="{A6F3D62C-D8AA-0544-9655-DDA031B3DB4F}" type="presParOf" srcId="{6C41759A-E683-154F-BE91-01331048D1A4}" destId="{83A61224-E367-2A4F-B304-4735A7643A33}" srcOrd="2" destOrd="0" presId="urn:microsoft.com/office/officeart/2005/8/layout/vList5"/>
    <dgm:cxn modelId="{AE5310EF-F2B9-E248-9B39-A2336556A528}" type="presParOf" srcId="{83A61224-E367-2A4F-B304-4735A7643A33}" destId="{A132E4F2-E1A3-E843-80F7-D6782D1BB0E6}" srcOrd="0" destOrd="0" presId="urn:microsoft.com/office/officeart/2005/8/layout/vList5"/>
    <dgm:cxn modelId="{D7819726-E685-5745-AE27-2887CEC0605C}" type="presParOf" srcId="{83A61224-E367-2A4F-B304-4735A7643A33}" destId="{145A07D0-DC24-7847-84CC-9077A50E5E6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30558D5-9B67-4145-9906-D2A67142236D}" type="doc">
      <dgm:prSet loTypeId="urn:microsoft.com/office/officeart/2008/layout/AlternatingHexagons" loCatId="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13F35595-43E5-0C48-B3FA-424B911632BB}">
      <dgm:prSet phldrT="[Text]"/>
      <dgm:spPr/>
      <dgm:t>
        <a:bodyPr/>
        <a:lstStyle/>
        <a:p>
          <a:r>
            <a:rPr lang="en-GB" dirty="0"/>
            <a:t>KNOT DNS</a:t>
          </a:r>
        </a:p>
      </dgm:t>
    </dgm:pt>
    <dgm:pt modelId="{FDB3EC01-70C3-2840-ACE9-9F109FF6285A}" type="parTrans" cxnId="{FDD2941F-51B9-9C4E-B168-133EE57ED8A7}">
      <dgm:prSet/>
      <dgm:spPr/>
      <dgm:t>
        <a:bodyPr/>
        <a:lstStyle/>
        <a:p>
          <a:endParaRPr lang="en-GB"/>
        </a:p>
      </dgm:t>
    </dgm:pt>
    <dgm:pt modelId="{0FC04E16-A2DA-FF40-808B-C73428DB36F2}" type="sibTrans" cxnId="{FDD2941F-51B9-9C4E-B168-133EE57ED8A7}">
      <dgm:prSet/>
      <dgm:spPr/>
      <dgm:t>
        <a:bodyPr/>
        <a:lstStyle/>
        <a:p>
          <a:endParaRPr lang="en-GB"/>
        </a:p>
      </dgm:t>
    </dgm:pt>
    <dgm:pt modelId="{5EB146E5-D2D9-4B45-8044-22C4B4A6AC2F}">
      <dgm:prSet phldrT="[Text]"/>
      <dgm:spPr/>
      <dgm:t>
        <a:bodyPr/>
        <a:lstStyle/>
        <a:p>
          <a:r>
            <a:rPr lang="en-GB" dirty="0"/>
            <a:t>Core DNS</a:t>
          </a:r>
        </a:p>
      </dgm:t>
    </dgm:pt>
    <dgm:pt modelId="{C9C4E7AE-B814-CD42-8D01-06FA84883A76}" type="parTrans" cxnId="{377A9A98-90CB-EC47-A22A-21A194355F1B}">
      <dgm:prSet/>
      <dgm:spPr/>
      <dgm:t>
        <a:bodyPr/>
        <a:lstStyle/>
        <a:p>
          <a:endParaRPr lang="en-GB"/>
        </a:p>
      </dgm:t>
    </dgm:pt>
    <dgm:pt modelId="{329107DA-9E98-8C49-B701-A6C263A67D83}" type="sibTrans" cxnId="{377A9A98-90CB-EC47-A22A-21A194355F1B}">
      <dgm:prSet/>
      <dgm:spPr/>
      <dgm:t>
        <a:bodyPr/>
        <a:lstStyle/>
        <a:p>
          <a:endParaRPr lang="en-GB"/>
        </a:p>
      </dgm:t>
    </dgm:pt>
    <dgm:pt modelId="{15708CB6-998A-434F-9628-8AF7DABFA96F}">
      <dgm:prSet phldrT="[Text]"/>
      <dgm:spPr/>
      <dgm:t>
        <a:bodyPr/>
        <a:lstStyle/>
        <a:p>
          <a:r>
            <a:rPr lang="en-GB" dirty="0"/>
            <a:t>Trusted Content Resolving</a:t>
          </a:r>
        </a:p>
      </dgm:t>
    </dgm:pt>
    <dgm:pt modelId="{631862DE-9758-D149-936B-528CE97804B6}" type="parTrans" cxnId="{01A029B6-6BDB-8F49-9D25-56024396ACE9}">
      <dgm:prSet/>
      <dgm:spPr/>
      <dgm:t>
        <a:bodyPr/>
        <a:lstStyle/>
        <a:p>
          <a:endParaRPr lang="en-GB"/>
        </a:p>
      </dgm:t>
    </dgm:pt>
    <dgm:pt modelId="{885210C5-2968-154E-A94D-C085F36CEA9C}" type="sibTrans" cxnId="{01A029B6-6BDB-8F49-9D25-56024396ACE9}">
      <dgm:prSet/>
      <dgm:spPr/>
      <dgm:t>
        <a:bodyPr/>
        <a:lstStyle/>
        <a:p>
          <a:endParaRPr lang="en-GB"/>
        </a:p>
      </dgm:t>
    </dgm:pt>
    <dgm:pt modelId="{A344066E-C1AF-DA4F-A6A1-F78328F5EB42}">
      <dgm:prSet phldrT="[Text]"/>
      <dgm:spPr/>
      <dgm:t>
        <a:bodyPr/>
        <a:lstStyle/>
        <a:p>
          <a:r>
            <a:rPr lang="en-GB" dirty="0"/>
            <a:t>No Istio</a:t>
          </a:r>
        </a:p>
      </dgm:t>
    </dgm:pt>
    <dgm:pt modelId="{4EBBE52D-BE13-3A40-8D5B-38B4960DF5B9}" type="parTrans" cxnId="{35658F86-4A10-C348-8A99-1B4D452365D9}">
      <dgm:prSet/>
      <dgm:spPr/>
      <dgm:t>
        <a:bodyPr/>
        <a:lstStyle/>
        <a:p>
          <a:endParaRPr lang="en-GB"/>
        </a:p>
      </dgm:t>
    </dgm:pt>
    <dgm:pt modelId="{552183B2-471E-E94A-A333-8A6D1129949E}" type="sibTrans" cxnId="{35658F86-4A10-C348-8A99-1B4D452365D9}">
      <dgm:prSet/>
      <dgm:spPr/>
      <dgm:t>
        <a:bodyPr/>
        <a:lstStyle/>
        <a:p>
          <a:endParaRPr lang="en-GB"/>
        </a:p>
      </dgm:t>
    </dgm:pt>
    <dgm:pt modelId="{BD6D3255-CF5C-1D4C-9233-98835959585A}" type="pres">
      <dgm:prSet presAssocID="{D30558D5-9B67-4145-9906-D2A67142236D}" presName="Name0" presStyleCnt="0">
        <dgm:presLayoutVars>
          <dgm:chMax/>
          <dgm:chPref/>
          <dgm:dir/>
          <dgm:animLvl val="lvl"/>
        </dgm:presLayoutVars>
      </dgm:prSet>
      <dgm:spPr/>
    </dgm:pt>
    <dgm:pt modelId="{6D8FC92A-B519-184A-89E1-DFB44F1D590F}" type="pres">
      <dgm:prSet presAssocID="{13F35595-43E5-0C48-B3FA-424B911632BB}" presName="composite" presStyleCnt="0"/>
      <dgm:spPr/>
    </dgm:pt>
    <dgm:pt modelId="{F9D0DADD-BDF7-1144-8274-70A30288DF69}" type="pres">
      <dgm:prSet presAssocID="{13F35595-43E5-0C48-B3FA-424B911632BB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</dgm:pt>
    <dgm:pt modelId="{6E008F4D-65C7-2845-BD32-8F7508178665}" type="pres">
      <dgm:prSet presAssocID="{13F35595-43E5-0C48-B3FA-424B911632BB}" presName="Childtext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055332F0-343A-8F46-84F3-41C269236DF9}" type="pres">
      <dgm:prSet presAssocID="{13F35595-43E5-0C48-B3FA-424B911632BB}" presName="BalanceSpacing" presStyleCnt="0"/>
      <dgm:spPr/>
    </dgm:pt>
    <dgm:pt modelId="{6D678F4D-14D8-904C-9B1C-AC744FB85766}" type="pres">
      <dgm:prSet presAssocID="{13F35595-43E5-0C48-B3FA-424B911632BB}" presName="BalanceSpacing1" presStyleCnt="0"/>
      <dgm:spPr/>
    </dgm:pt>
    <dgm:pt modelId="{F5C0ADE2-6D6B-284D-8504-EEAADB69AC79}" type="pres">
      <dgm:prSet presAssocID="{0FC04E16-A2DA-FF40-808B-C73428DB36F2}" presName="Accent1Text" presStyleLbl="node1" presStyleIdx="1" presStyleCnt="8"/>
      <dgm:spPr/>
    </dgm:pt>
    <dgm:pt modelId="{49263D76-7E31-314D-B2BD-31D4B2EFE99F}" type="pres">
      <dgm:prSet presAssocID="{0FC04E16-A2DA-FF40-808B-C73428DB36F2}" presName="spaceBetweenRectangles" presStyleCnt="0"/>
      <dgm:spPr/>
    </dgm:pt>
    <dgm:pt modelId="{0F867225-2766-1147-896B-FFE63E5CFE7A}" type="pres">
      <dgm:prSet presAssocID="{5EB146E5-D2D9-4B45-8044-22C4B4A6AC2F}" presName="composite" presStyleCnt="0"/>
      <dgm:spPr/>
    </dgm:pt>
    <dgm:pt modelId="{BA9B9A42-9503-C543-9949-7EE6FE172F93}" type="pres">
      <dgm:prSet presAssocID="{5EB146E5-D2D9-4B45-8044-22C4B4A6AC2F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</dgm:pt>
    <dgm:pt modelId="{C2E5F64C-1F7C-164E-844D-A0CA8CD132CD}" type="pres">
      <dgm:prSet presAssocID="{5EB146E5-D2D9-4B45-8044-22C4B4A6AC2F}" presName="Childtext1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86E9A782-31BC-D546-8D7F-F9D03EE25C19}" type="pres">
      <dgm:prSet presAssocID="{5EB146E5-D2D9-4B45-8044-22C4B4A6AC2F}" presName="BalanceSpacing" presStyleCnt="0"/>
      <dgm:spPr/>
    </dgm:pt>
    <dgm:pt modelId="{9141CEE6-1F1F-7F46-8B34-0DA6DEB4F732}" type="pres">
      <dgm:prSet presAssocID="{5EB146E5-D2D9-4B45-8044-22C4B4A6AC2F}" presName="BalanceSpacing1" presStyleCnt="0"/>
      <dgm:spPr/>
    </dgm:pt>
    <dgm:pt modelId="{89E54A06-8B2A-A440-8AEC-2615E2253092}" type="pres">
      <dgm:prSet presAssocID="{329107DA-9E98-8C49-B701-A6C263A67D83}" presName="Accent1Text" presStyleLbl="node1" presStyleIdx="3" presStyleCnt="8"/>
      <dgm:spPr/>
    </dgm:pt>
    <dgm:pt modelId="{5B02E3AE-4EF2-A348-AB38-99434F2D9B89}" type="pres">
      <dgm:prSet presAssocID="{329107DA-9E98-8C49-B701-A6C263A67D83}" presName="spaceBetweenRectangles" presStyleCnt="0"/>
      <dgm:spPr/>
    </dgm:pt>
    <dgm:pt modelId="{B3730C8D-7B5C-7D47-97DB-243021FB875C}" type="pres">
      <dgm:prSet presAssocID="{15708CB6-998A-434F-9628-8AF7DABFA96F}" presName="composite" presStyleCnt="0"/>
      <dgm:spPr/>
    </dgm:pt>
    <dgm:pt modelId="{28821F29-65AB-4E4D-8DB7-5CE4F7AB5A39}" type="pres">
      <dgm:prSet presAssocID="{15708CB6-998A-434F-9628-8AF7DABFA96F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</dgm:pt>
    <dgm:pt modelId="{BF56B2C1-2748-7F47-A9A5-2E048490E707}" type="pres">
      <dgm:prSet presAssocID="{15708CB6-998A-434F-9628-8AF7DABFA96F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B1875C1D-79D6-204E-B38C-E30EFD1CFEF6}" type="pres">
      <dgm:prSet presAssocID="{15708CB6-998A-434F-9628-8AF7DABFA96F}" presName="BalanceSpacing" presStyleCnt="0"/>
      <dgm:spPr/>
    </dgm:pt>
    <dgm:pt modelId="{B18DDB1F-9805-E54C-9538-96C23E1D79A6}" type="pres">
      <dgm:prSet presAssocID="{15708CB6-998A-434F-9628-8AF7DABFA96F}" presName="BalanceSpacing1" presStyleCnt="0"/>
      <dgm:spPr/>
    </dgm:pt>
    <dgm:pt modelId="{DF7FE050-DF53-9B46-9C52-25220E3C8155}" type="pres">
      <dgm:prSet presAssocID="{885210C5-2968-154E-A94D-C085F36CEA9C}" presName="Accent1Text" presStyleLbl="node1" presStyleIdx="5" presStyleCnt="8"/>
      <dgm:spPr/>
    </dgm:pt>
    <dgm:pt modelId="{408199F7-931E-C342-8441-57E68B3DE167}" type="pres">
      <dgm:prSet presAssocID="{885210C5-2968-154E-A94D-C085F36CEA9C}" presName="spaceBetweenRectangles" presStyleCnt="0"/>
      <dgm:spPr/>
    </dgm:pt>
    <dgm:pt modelId="{0B661453-0597-A441-B4CB-5F43DE514D46}" type="pres">
      <dgm:prSet presAssocID="{A344066E-C1AF-DA4F-A6A1-F78328F5EB42}" presName="composite" presStyleCnt="0"/>
      <dgm:spPr/>
    </dgm:pt>
    <dgm:pt modelId="{EE702A68-8DA6-964B-B0CF-52971460E99D}" type="pres">
      <dgm:prSet presAssocID="{A344066E-C1AF-DA4F-A6A1-F78328F5EB42}" presName="Parent1" presStyleLbl="node1" presStyleIdx="6" presStyleCnt="8">
        <dgm:presLayoutVars>
          <dgm:chMax val="1"/>
          <dgm:chPref val="1"/>
          <dgm:bulletEnabled val="1"/>
        </dgm:presLayoutVars>
      </dgm:prSet>
      <dgm:spPr/>
    </dgm:pt>
    <dgm:pt modelId="{118B97C0-D61B-2146-B2F7-C815F7A5E4BA}" type="pres">
      <dgm:prSet presAssocID="{A344066E-C1AF-DA4F-A6A1-F78328F5EB42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1069E199-7028-A243-97D8-11078515DD93}" type="pres">
      <dgm:prSet presAssocID="{A344066E-C1AF-DA4F-A6A1-F78328F5EB42}" presName="BalanceSpacing" presStyleCnt="0"/>
      <dgm:spPr/>
    </dgm:pt>
    <dgm:pt modelId="{7DEBE129-6D52-5848-93FA-FA406AB83157}" type="pres">
      <dgm:prSet presAssocID="{A344066E-C1AF-DA4F-A6A1-F78328F5EB42}" presName="BalanceSpacing1" presStyleCnt="0"/>
      <dgm:spPr/>
    </dgm:pt>
    <dgm:pt modelId="{9DDB5A5B-667E-A74D-B8B7-39AFDE58336C}" type="pres">
      <dgm:prSet presAssocID="{552183B2-471E-E94A-A333-8A6D1129949E}" presName="Accent1Text" presStyleLbl="node1" presStyleIdx="7" presStyleCnt="8"/>
      <dgm:spPr/>
    </dgm:pt>
  </dgm:ptLst>
  <dgm:cxnLst>
    <dgm:cxn modelId="{8053C518-DC6C-2A4B-9CC5-96220BE58CA5}" type="presOf" srcId="{D30558D5-9B67-4145-9906-D2A67142236D}" destId="{BD6D3255-CF5C-1D4C-9233-98835959585A}" srcOrd="0" destOrd="0" presId="urn:microsoft.com/office/officeart/2008/layout/AlternatingHexagons"/>
    <dgm:cxn modelId="{FDD2941F-51B9-9C4E-B168-133EE57ED8A7}" srcId="{D30558D5-9B67-4145-9906-D2A67142236D}" destId="{13F35595-43E5-0C48-B3FA-424B911632BB}" srcOrd="0" destOrd="0" parTransId="{FDB3EC01-70C3-2840-ACE9-9F109FF6285A}" sibTransId="{0FC04E16-A2DA-FF40-808B-C73428DB36F2}"/>
    <dgm:cxn modelId="{7E848235-530F-B247-BAE2-9F5BA918427A}" type="presOf" srcId="{5EB146E5-D2D9-4B45-8044-22C4B4A6AC2F}" destId="{BA9B9A42-9503-C543-9949-7EE6FE172F93}" srcOrd="0" destOrd="0" presId="urn:microsoft.com/office/officeart/2008/layout/AlternatingHexagons"/>
    <dgm:cxn modelId="{108F5143-2C63-FD44-A7EE-64D4F7D39F88}" type="presOf" srcId="{A344066E-C1AF-DA4F-A6A1-F78328F5EB42}" destId="{EE702A68-8DA6-964B-B0CF-52971460E99D}" srcOrd="0" destOrd="0" presId="urn:microsoft.com/office/officeart/2008/layout/AlternatingHexagons"/>
    <dgm:cxn modelId="{D5316D51-08BA-A444-9701-75E62F70B8A6}" type="presOf" srcId="{0FC04E16-A2DA-FF40-808B-C73428DB36F2}" destId="{F5C0ADE2-6D6B-284D-8504-EEAADB69AC79}" srcOrd="0" destOrd="0" presId="urn:microsoft.com/office/officeart/2008/layout/AlternatingHexagons"/>
    <dgm:cxn modelId="{D4C7DE62-6589-FE42-86AE-B62CB49E2194}" type="presOf" srcId="{329107DA-9E98-8C49-B701-A6C263A67D83}" destId="{89E54A06-8B2A-A440-8AEC-2615E2253092}" srcOrd="0" destOrd="0" presId="urn:microsoft.com/office/officeart/2008/layout/AlternatingHexagons"/>
    <dgm:cxn modelId="{BB95F567-ABE6-2546-82C6-3D68FA9790ED}" type="presOf" srcId="{885210C5-2968-154E-A94D-C085F36CEA9C}" destId="{DF7FE050-DF53-9B46-9C52-25220E3C8155}" srcOrd="0" destOrd="0" presId="urn:microsoft.com/office/officeart/2008/layout/AlternatingHexagons"/>
    <dgm:cxn modelId="{7B16B47F-B000-6543-89F3-19EFCE7D8E7C}" type="presOf" srcId="{552183B2-471E-E94A-A333-8A6D1129949E}" destId="{9DDB5A5B-667E-A74D-B8B7-39AFDE58336C}" srcOrd="0" destOrd="0" presId="urn:microsoft.com/office/officeart/2008/layout/AlternatingHexagons"/>
    <dgm:cxn modelId="{35658F86-4A10-C348-8A99-1B4D452365D9}" srcId="{D30558D5-9B67-4145-9906-D2A67142236D}" destId="{A344066E-C1AF-DA4F-A6A1-F78328F5EB42}" srcOrd="3" destOrd="0" parTransId="{4EBBE52D-BE13-3A40-8D5B-38B4960DF5B9}" sibTransId="{552183B2-471E-E94A-A333-8A6D1129949E}"/>
    <dgm:cxn modelId="{377A9A98-90CB-EC47-A22A-21A194355F1B}" srcId="{D30558D5-9B67-4145-9906-D2A67142236D}" destId="{5EB146E5-D2D9-4B45-8044-22C4B4A6AC2F}" srcOrd="1" destOrd="0" parTransId="{C9C4E7AE-B814-CD42-8D01-06FA84883A76}" sibTransId="{329107DA-9E98-8C49-B701-A6C263A67D83}"/>
    <dgm:cxn modelId="{0C81989F-BE98-804E-BE8B-6E2927FF87B8}" type="presOf" srcId="{15708CB6-998A-434F-9628-8AF7DABFA96F}" destId="{28821F29-65AB-4E4D-8DB7-5CE4F7AB5A39}" srcOrd="0" destOrd="0" presId="urn:microsoft.com/office/officeart/2008/layout/AlternatingHexagons"/>
    <dgm:cxn modelId="{01A029B6-6BDB-8F49-9D25-56024396ACE9}" srcId="{D30558D5-9B67-4145-9906-D2A67142236D}" destId="{15708CB6-998A-434F-9628-8AF7DABFA96F}" srcOrd="2" destOrd="0" parTransId="{631862DE-9758-D149-936B-528CE97804B6}" sibTransId="{885210C5-2968-154E-A94D-C085F36CEA9C}"/>
    <dgm:cxn modelId="{6AAC8DD7-6D90-064E-8F8B-2F9EE9C91BEE}" type="presOf" srcId="{13F35595-43E5-0C48-B3FA-424B911632BB}" destId="{F9D0DADD-BDF7-1144-8274-70A30288DF69}" srcOrd="0" destOrd="0" presId="urn:microsoft.com/office/officeart/2008/layout/AlternatingHexagons"/>
    <dgm:cxn modelId="{AE1B4715-3942-2443-A229-03478B585693}" type="presParOf" srcId="{BD6D3255-CF5C-1D4C-9233-98835959585A}" destId="{6D8FC92A-B519-184A-89E1-DFB44F1D590F}" srcOrd="0" destOrd="0" presId="urn:microsoft.com/office/officeart/2008/layout/AlternatingHexagons"/>
    <dgm:cxn modelId="{C50646AF-9CC6-B243-8CE1-755AFA3018F4}" type="presParOf" srcId="{6D8FC92A-B519-184A-89E1-DFB44F1D590F}" destId="{F9D0DADD-BDF7-1144-8274-70A30288DF69}" srcOrd="0" destOrd="0" presId="urn:microsoft.com/office/officeart/2008/layout/AlternatingHexagons"/>
    <dgm:cxn modelId="{28035922-C4F8-814C-BCC0-1978369C8D40}" type="presParOf" srcId="{6D8FC92A-B519-184A-89E1-DFB44F1D590F}" destId="{6E008F4D-65C7-2845-BD32-8F7508178665}" srcOrd="1" destOrd="0" presId="urn:microsoft.com/office/officeart/2008/layout/AlternatingHexagons"/>
    <dgm:cxn modelId="{DAD8C6CE-6B95-1841-8130-4DF4ACD873A6}" type="presParOf" srcId="{6D8FC92A-B519-184A-89E1-DFB44F1D590F}" destId="{055332F0-343A-8F46-84F3-41C269236DF9}" srcOrd="2" destOrd="0" presId="urn:microsoft.com/office/officeart/2008/layout/AlternatingHexagons"/>
    <dgm:cxn modelId="{3B6C8029-59D7-D24C-B925-1938D55B327D}" type="presParOf" srcId="{6D8FC92A-B519-184A-89E1-DFB44F1D590F}" destId="{6D678F4D-14D8-904C-9B1C-AC744FB85766}" srcOrd="3" destOrd="0" presId="urn:microsoft.com/office/officeart/2008/layout/AlternatingHexagons"/>
    <dgm:cxn modelId="{7133DF41-E41E-9141-BB29-9A91D8553741}" type="presParOf" srcId="{6D8FC92A-B519-184A-89E1-DFB44F1D590F}" destId="{F5C0ADE2-6D6B-284D-8504-EEAADB69AC79}" srcOrd="4" destOrd="0" presId="urn:microsoft.com/office/officeart/2008/layout/AlternatingHexagons"/>
    <dgm:cxn modelId="{03CA5DDA-33C0-5A49-977E-F9BBEE5684DA}" type="presParOf" srcId="{BD6D3255-CF5C-1D4C-9233-98835959585A}" destId="{49263D76-7E31-314D-B2BD-31D4B2EFE99F}" srcOrd="1" destOrd="0" presId="urn:microsoft.com/office/officeart/2008/layout/AlternatingHexagons"/>
    <dgm:cxn modelId="{9AC73A7D-8ACD-984B-A414-A4C742B29FC1}" type="presParOf" srcId="{BD6D3255-CF5C-1D4C-9233-98835959585A}" destId="{0F867225-2766-1147-896B-FFE63E5CFE7A}" srcOrd="2" destOrd="0" presId="urn:microsoft.com/office/officeart/2008/layout/AlternatingHexagons"/>
    <dgm:cxn modelId="{15104BD2-570B-A64E-9811-71C75DAD9B53}" type="presParOf" srcId="{0F867225-2766-1147-896B-FFE63E5CFE7A}" destId="{BA9B9A42-9503-C543-9949-7EE6FE172F93}" srcOrd="0" destOrd="0" presId="urn:microsoft.com/office/officeart/2008/layout/AlternatingHexagons"/>
    <dgm:cxn modelId="{59F36CFE-6368-D64A-980B-FFD9F971EDE6}" type="presParOf" srcId="{0F867225-2766-1147-896B-FFE63E5CFE7A}" destId="{C2E5F64C-1F7C-164E-844D-A0CA8CD132CD}" srcOrd="1" destOrd="0" presId="urn:microsoft.com/office/officeart/2008/layout/AlternatingHexagons"/>
    <dgm:cxn modelId="{5F97A1A7-7006-0E4B-8105-957A62F455AD}" type="presParOf" srcId="{0F867225-2766-1147-896B-FFE63E5CFE7A}" destId="{86E9A782-31BC-D546-8D7F-F9D03EE25C19}" srcOrd="2" destOrd="0" presId="urn:microsoft.com/office/officeart/2008/layout/AlternatingHexagons"/>
    <dgm:cxn modelId="{92A4A967-CCC6-F04D-B571-D7ABCFFB3525}" type="presParOf" srcId="{0F867225-2766-1147-896B-FFE63E5CFE7A}" destId="{9141CEE6-1F1F-7F46-8B34-0DA6DEB4F732}" srcOrd="3" destOrd="0" presId="urn:microsoft.com/office/officeart/2008/layout/AlternatingHexagons"/>
    <dgm:cxn modelId="{E5BC75BF-1E17-CD4E-8AC8-7F2CEF5D9B2D}" type="presParOf" srcId="{0F867225-2766-1147-896B-FFE63E5CFE7A}" destId="{89E54A06-8B2A-A440-8AEC-2615E2253092}" srcOrd="4" destOrd="0" presId="urn:microsoft.com/office/officeart/2008/layout/AlternatingHexagons"/>
    <dgm:cxn modelId="{039324DB-BD19-054C-82AF-310A5AE7E5B2}" type="presParOf" srcId="{BD6D3255-CF5C-1D4C-9233-98835959585A}" destId="{5B02E3AE-4EF2-A348-AB38-99434F2D9B89}" srcOrd="3" destOrd="0" presId="urn:microsoft.com/office/officeart/2008/layout/AlternatingHexagons"/>
    <dgm:cxn modelId="{A86EEA79-9396-2347-ACC4-81501EA77AB6}" type="presParOf" srcId="{BD6D3255-CF5C-1D4C-9233-98835959585A}" destId="{B3730C8D-7B5C-7D47-97DB-243021FB875C}" srcOrd="4" destOrd="0" presId="urn:microsoft.com/office/officeart/2008/layout/AlternatingHexagons"/>
    <dgm:cxn modelId="{51A5FFB4-C4BB-814D-8FC2-47BFF6ED64AA}" type="presParOf" srcId="{B3730C8D-7B5C-7D47-97DB-243021FB875C}" destId="{28821F29-65AB-4E4D-8DB7-5CE4F7AB5A39}" srcOrd="0" destOrd="0" presId="urn:microsoft.com/office/officeart/2008/layout/AlternatingHexagons"/>
    <dgm:cxn modelId="{04F5A6C9-581C-CE4C-94E3-9E09BD537FF2}" type="presParOf" srcId="{B3730C8D-7B5C-7D47-97DB-243021FB875C}" destId="{BF56B2C1-2748-7F47-A9A5-2E048490E707}" srcOrd="1" destOrd="0" presId="urn:microsoft.com/office/officeart/2008/layout/AlternatingHexagons"/>
    <dgm:cxn modelId="{A10FCBE6-8693-5847-9861-FD0702B9D19A}" type="presParOf" srcId="{B3730C8D-7B5C-7D47-97DB-243021FB875C}" destId="{B1875C1D-79D6-204E-B38C-E30EFD1CFEF6}" srcOrd="2" destOrd="0" presId="urn:microsoft.com/office/officeart/2008/layout/AlternatingHexagons"/>
    <dgm:cxn modelId="{6806D1F2-C00D-2E40-960C-FC53ADD38C0D}" type="presParOf" srcId="{B3730C8D-7B5C-7D47-97DB-243021FB875C}" destId="{B18DDB1F-9805-E54C-9538-96C23E1D79A6}" srcOrd="3" destOrd="0" presId="urn:microsoft.com/office/officeart/2008/layout/AlternatingHexagons"/>
    <dgm:cxn modelId="{4B812FAB-014C-C541-965F-1E6603E0C8CD}" type="presParOf" srcId="{B3730C8D-7B5C-7D47-97DB-243021FB875C}" destId="{DF7FE050-DF53-9B46-9C52-25220E3C8155}" srcOrd="4" destOrd="0" presId="urn:microsoft.com/office/officeart/2008/layout/AlternatingHexagons"/>
    <dgm:cxn modelId="{2770F54C-6F37-9F49-BC69-C04C6D6B5D91}" type="presParOf" srcId="{BD6D3255-CF5C-1D4C-9233-98835959585A}" destId="{408199F7-931E-C342-8441-57E68B3DE167}" srcOrd="5" destOrd="0" presId="urn:microsoft.com/office/officeart/2008/layout/AlternatingHexagons"/>
    <dgm:cxn modelId="{C8F6D86C-C2AB-0446-845D-479834CD1A40}" type="presParOf" srcId="{BD6D3255-CF5C-1D4C-9233-98835959585A}" destId="{0B661453-0597-A441-B4CB-5F43DE514D46}" srcOrd="6" destOrd="0" presId="urn:microsoft.com/office/officeart/2008/layout/AlternatingHexagons"/>
    <dgm:cxn modelId="{80E77751-56DB-F242-9A0D-C4E7DEC2BE5A}" type="presParOf" srcId="{0B661453-0597-A441-B4CB-5F43DE514D46}" destId="{EE702A68-8DA6-964B-B0CF-52971460E99D}" srcOrd="0" destOrd="0" presId="urn:microsoft.com/office/officeart/2008/layout/AlternatingHexagons"/>
    <dgm:cxn modelId="{C9751F1E-FCCA-BC47-8303-A0B1718DDD59}" type="presParOf" srcId="{0B661453-0597-A441-B4CB-5F43DE514D46}" destId="{118B97C0-D61B-2146-B2F7-C815F7A5E4BA}" srcOrd="1" destOrd="0" presId="urn:microsoft.com/office/officeart/2008/layout/AlternatingHexagons"/>
    <dgm:cxn modelId="{696DF263-86CC-4443-9B89-AE126647DB46}" type="presParOf" srcId="{0B661453-0597-A441-B4CB-5F43DE514D46}" destId="{1069E199-7028-A243-97D8-11078515DD93}" srcOrd="2" destOrd="0" presId="urn:microsoft.com/office/officeart/2008/layout/AlternatingHexagons"/>
    <dgm:cxn modelId="{841CDCB1-1F10-A64E-BEB2-4016073C7F43}" type="presParOf" srcId="{0B661453-0597-A441-B4CB-5F43DE514D46}" destId="{7DEBE129-6D52-5848-93FA-FA406AB83157}" srcOrd="3" destOrd="0" presId="urn:microsoft.com/office/officeart/2008/layout/AlternatingHexagons"/>
    <dgm:cxn modelId="{EBABBFF8-08C6-AA4B-9AAE-84D93B19C102}" type="presParOf" srcId="{0B661453-0597-A441-B4CB-5F43DE514D46}" destId="{9DDB5A5B-667E-A74D-B8B7-39AFDE58336C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00BB0F-271A-F34C-AF7F-7CB2FFEB510E}">
      <dsp:nvSpPr>
        <dsp:cNvPr id="0" name=""/>
        <dsp:cNvSpPr/>
      </dsp:nvSpPr>
      <dsp:spPr>
        <a:xfrm>
          <a:off x="1668185" y="0"/>
          <a:ext cx="1668185" cy="1560173"/>
        </a:xfrm>
        <a:prstGeom prst="trapezoid">
          <a:avLst>
            <a:gd name="adj" fmla="val 53462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GB" sz="2000" kern="1200" dirty="0"/>
          </a:br>
          <a:r>
            <a:rPr lang="en-GB" sz="2000" kern="1200" dirty="0"/>
            <a:t>Third </a:t>
          </a:r>
          <a:br>
            <a:rPr lang="en-GB" sz="2000" kern="1200" dirty="0"/>
          </a:br>
          <a:r>
            <a:rPr lang="en-GB" sz="2000" kern="1200" dirty="0"/>
            <a:t>Party</a:t>
          </a:r>
        </a:p>
      </dsp:txBody>
      <dsp:txXfrm>
        <a:off x="1668185" y="0"/>
        <a:ext cx="1668185" cy="1560173"/>
      </dsp:txXfrm>
    </dsp:sp>
    <dsp:sp modelId="{C7A02017-A1FB-FF41-97D5-265B7A818E68}">
      <dsp:nvSpPr>
        <dsp:cNvPr id="0" name=""/>
        <dsp:cNvSpPr/>
      </dsp:nvSpPr>
      <dsp:spPr>
        <a:xfrm>
          <a:off x="834092" y="1560173"/>
          <a:ext cx="3336370" cy="1560173"/>
        </a:xfrm>
        <a:prstGeom prst="trapezoid">
          <a:avLst>
            <a:gd name="adj" fmla="val 53462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Specification</a:t>
          </a:r>
        </a:p>
      </dsp:txBody>
      <dsp:txXfrm>
        <a:off x="1417957" y="1560173"/>
        <a:ext cx="2168640" cy="1560173"/>
      </dsp:txXfrm>
    </dsp:sp>
    <dsp:sp modelId="{BAFE08CE-B190-8449-84F1-7D7F1A6EED2F}">
      <dsp:nvSpPr>
        <dsp:cNvPr id="0" name=""/>
        <dsp:cNvSpPr/>
      </dsp:nvSpPr>
      <dsp:spPr>
        <a:xfrm>
          <a:off x="0" y="3120346"/>
          <a:ext cx="5004556" cy="1560173"/>
        </a:xfrm>
        <a:prstGeom prst="trapezoid">
          <a:avLst>
            <a:gd name="adj" fmla="val 53462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500" kern="1200" dirty="0"/>
            <a:t>Infrastructure</a:t>
          </a:r>
        </a:p>
      </dsp:txBody>
      <dsp:txXfrm>
        <a:off x="875797" y="3120346"/>
        <a:ext cx="3252961" cy="15601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00BB0F-271A-F34C-AF7F-7CB2FFEB510E}">
      <dsp:nvSpPr>
        <dsp:cNvPr id="0" name=""/>
        <dsp:cNvSpPr/>
      </dsp:nvSpPr>
      <dsp:spPr>
        <a:xfrm>
          <a:off x="672074" y="0"/>
          <a:ext cx="672074" cy="628559"/>
        </a:xfrm>
        <a:prstGeom prst="trapezoid">
          <a:avLst>
            <a:gd name="adj" fmla="val 53462"/>
          </a:avLst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GB" sz="1050" kern="1200" dirty="0"/>
          </a:br>
          <a:r>
            <a:rPr lang="en-GB" sz="1050" kern="1200" dirty="0"/>
            <a:t>Third </a:t>
          </a:r>
          <a:br>
            <a:rPr lang="en-GB" sz="1050" kern="1200" dirty="0"/>
          </a:br>
          <a:r>
            <a:rPr lang="en-GB" sz="1050" kern="1200" dirty="0"/>
            <a:t>Party</a:t>
          </a:r>
        </a:p>
      </dsp:txBody>
      <dsp:txXfrm>
        <a:off x="672074" y="0"/>
        <a:ext cx="672074" cy="628559"/>
      </dsp:txXfrm>
    </dsp:sp>
    <dsp:sp modelId="{C7A02017-A1FB-FF41-97D5-265B7A818E68}">
      <dsp:nvSpPr>
        <dsp:cNvPr id="0" name=""/>
        <dsp:cNvSpPr/>
      </dsp:nvSpPr>
      <dsp:spPr>
        <a:xfrm>
          <a:off x="336037" y="628559"/>
          <a:ext cx="1344149" cy="628559"/>
        </a:xfrm>
        <a:prstGeom prst="trapezoid">
          <a:avLst>
            <a:gd name="adj" fmla="val 53462"/>
          </a:avLst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Specification</a:t>
          </a:r>
          <a:endParaRPr lang="en-GB" sz="2800" kern="1200" dirty="0"/>
        </a:p>
      </dsp:txBody>
      <dsp:txXfrm>
        <a:off x="571263" y="628559"/>
        <a:ext cx="873697" cy="628559"/>
      </dsp:txXfrm>
    </dsp:sp>
    <dsp:sp modelId="{BAFE08CE-B190-8449-84F1-7D7F1A6EED2F}">
      <dsp:nvSpPr>
        <dsp:cNvPr id="0" name=""/>
        <dsp:cNvSpPr/>
      </dsp:nvSpPr>
      <dsp:spPr>
        <a:xfrm>
          <a:off x="0" y="1257118"/>
          <a:ext cx="2016224" cy="628559"/>
        </a:xfrm>
        <a:prstGeom prst="trapezoid">
          <a:avLst>
            <a:gd name="adj" fmla="val 53462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Infrastructure</a:t>
          </a:r>
        </a:p>
      </dsp:txBody>
      <dsp:txXfrm>
        <a:off x="352839" y="1257118"/>
        <a:ext cx="1310545" cy="62855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00BB0F-271A-F34C-AF7F-7CB2FFEB510E}">
      <dsp:nvSpPr>
        <dsp:cNvPr id="0" name=""/>
        <dsp:cNvSpPr/>
      </dsp:nvSpPr>
      <dsp:spPr>
        <a:xfrm>
          <a:off x="672074" y="0"/>
          <a:ext cx="672074" cy="628559"/>
        </a:xfrm>
        <a:prstGeom prst="trapezoid">
          <a:avLst>
            <a:gd name="adj" fmla="val 53462"/>
          </a:avLst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GB" sz="1050" kern="1200" dirty="0"/>
          </a:br>
          <a:r>
            <a:rPr lang="en-GB" sz="1050" kern="1200" dirty="0"/>
            <a:t>Third </a:t>
          </a:r>
          <a:br>
            <a:rPr lang="en-GB" sz="1050" kern="1200" dirty="0"/>
          </a:br>
          <a:r>
            <a:rPr lang="en-GB" sz="1050" kern="1200" dirty="0"/>
            <a:t>Party</a:t>
          </a:r>
        </a:p>
      </dsp:txBody>
      <dsp:txXfrm>
        <a:off x="672074" y="0"/>
        <a:ext cx="672074" cy="628559"/>
      </dsp:txXfrm>
    </dsp:sp>
    <dsp:sp modelId="{C7A02017-A1FB-FF41-97D5-265B7A818E68}">
      <dsp:nvSpPr>
        <dsp:cNvPr id="0" name=""/>
        <dsp:cNvSpPr/>
      </dsp:nvSpPr>
      <dsp:spPr>
        <a:xfrm>
          <a:off x="336037" y="628559"/>
          <a:ext cx="1344149" cy="628559"/>
        </a:xfrm>
        <a:prstGeom prst="trapezoid">
          <a:avLst>
            <a:gd name="adj" fmla="val 53462"/>
          </a:avLst>
        </a:prstGeom>
        <a:solidFill>
          <a:schemeClr val="tx2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Specification</a:t>
          </a:r>
          <a:endParaRPr lang="en-GB" sz="2800" kern="1200" dirty="0"/>
        </a:p>
      </dsp:txBody>
      <dsp:txXfrm>
        <a:off x="571263" y="628559"/>
        <a:ext cx="873697" cy="628559"/>
      </dsp:txXfrm>
    </dsp:sp>
    <dsp:sp modelId="{BAFE08CE-B190-8449-84F1-7D7F1A6EED2F}">
      <dsp:nvSpPr>
        <dsp:cNvPr id="0" name=""/>
        <dsp:cNvSpPr/>
      </dsp:nvSpPr>
      <dsp:spPr>
        <a:xfrm>
          <a:off x="0" y="1257118"/>
          <a:ext cx="2016224" cy="628559"/>
        </a:xfrm>
        <a:prstGeom prst="trapezoid">
          <a:avLst>
            <a:gd name="adj" fmla="val 53462"/>
          </a:avLst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Infrastructure</a:t>
          </a:r>
        </a:p>
      </dsp:txBody>
      <dsp:txXfrm>
        <a:off x="352839" y="1257118"/>
        <a:ext cx="1310545" cy="6285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00BB0F-271A-F34C-AF7F-7CB2FFEB510E}">
      <dsp:nvSpPr>
        <dsp:cNvPr id="0" name=""/>
        <dsp:cNvSpPr/>
      </dsp:nvSpPr>
      <dsp:spPr>
        <a:xfrm>
          <a:off x="672074" y="0"/>
          <a:ext cx="672074" cy="628559"/>
        </a:xfrm>
        <a:prstGeom prst="trapezoid">
          <a:avLst>
            <a:gd name="adj" fmla="val 53462"/>
          </a:avLst>
        </a:prstGeom>
        <a:solidFill>
          <a:schemeClr val="tx2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GB" sz="1050" kern="1200" dirty="0"/>
          </a:br>
          <a:r>
            <a:rPr lang="en-GB" sz="1050" kern="1200" dirty="0"/>
            <a:t>Third </a:t>
          </a:r>
          <a:br>
            <a:rPr lang="en-GB" sz="1050" kern="1200" dirty="0"/>
          </a:br>
          <a:r>
            <a:rPr lang="en-GB" sz="1050" kern="1200" dirty="0"/>
            <a:t>Party</a:t>
          </a:r>
        </a:p>
      </dsp:txBody>
      <dsp:txXfrm>
        <a:off x="672074" y="0"/>
        <a:ext cx="672074" cy="628559"/>
      </dsp:txXfrm>
    </dsp:sp>
    <dsp:sp modelId="{C7A02017-A1FB-FF41-97D5-265B7A818E68}">
      <dsp:nvSpPr>
        <dsp:cNvPr id="0" name=""/>
        <dsp:cNvSpPr/>
      </dsp:nvSpPr>
      <dsp:spPr>
        <a:xfrm>
          <a:off x="336037" y="628559"/>
          <a:ext cx="1344149" cy="628559"/>
        </a:xfrm>
        <a:prstGeom prst="trapezoid">
          <a:avLst>
            <a:gd name="adj" fmla="val 53462"/>
          </a:avLst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Specification</a:t>
          </a:r>
          <a:endParaRPr lang="en-GB" sz="2800" kern="1200" dirty="0"/>
        </a:p>
      </dsp:txBody>
      <dsp:txXfrm>
        <a:off x="571263" y="628559"/>
        <a:ext cx="873697" cy="628559"/>
      </dsp:txXfrm>
    </dsp:sp>
    <dsp:sp modelId="{BAFE08CE-B190-8449-84F1-7D7F1A6EED2F}">
      <dsp:nvSpPr>
        <dsp:cNvPr id="0" name=""/>
        <dsp:cNvSpPr/>
      </dsp:nvSpPr>
      <dsp:spPr>
        <a:xfrm>
          <a:off x="0" y="1257118"/>
          <a:ext cx="2016224" cy="628559"/>
        </a:xfrm>
        <a:prstGeom prst="trapezoid">
          <a:avLst>
            <a:gd name="adj" fmla="val 53462"/>
          </a:avLst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Infrastructure</a:t>
          </a:r>
        </a:p>
      </dsp:txBody>
      <dsp:txXfrm>
        <a:off x="352839" y="1257118"/>
        <a:ext cx="1310545" cy="62855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728237-D222-7845-943E-60F6C8F688CC}">
      <dsp:nvSpPr>
        <dsp:cNvPr id="0" name=""/>
        <dsp:cNvSpPr/>
      </dsp:nvSpPr>
      <dsp:spPr>
        <a:xfrm rot="5400000">
          <a:off x="6230112" y="-2235016"/>
          <a:ext cx="1787874" cy="6704988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3500" kern="1200" dirty="0"/>
            <a:t>Move from </a:t>
          </a:r>
          <a:r>
            <a:rPr lang="en-GB" sz="3500" kern="1200" dirty="0" err="1"/>
            <a:t>APIKey</a:t>
          </a:r>
          <a:r>
            <a:rPr lang="en-GB" sz="3500" kern="1200" dirty="0"/>
            <a:t> to JWT based Auth</a:t>
          </a:r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3500" kern="1200" dirty="0"/>
            <a:t>Allow generic OIDC Issuer</a:t>
          </a:r>
        </a:p>
      </dsp:txBody>
      <dsp:txXfrm rot="-5400000">
        <a:off x="3771556" y="310817"/>
        <a:ext cx="6617711" cy="1613320"/>
      </dsp:txXfrm>
    </dsp:sp>
    <dsp:sp modelId="{2F7B61F9-1685-F14B-9C74-322629E582CA}">
      <dsp:nvSpPr>
        <dsp:cNvPr id="0" name=""/>
        <dsp:cNvSpPr/>
      </dsp:nvSpPr>
      <dsp:spPr>
        <a:xfrm>
          <a:off x="0" y="55"/>
          <a:ext cx="3771555" cy="223484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70" tIns="108585" rIns="217170" bIns="108585" numCol="1" spcCol="1270" anchor="ctr" anchorCtr="0">
          <a:noAutofit/>
        </a:bodyPr>
        <a:lstStyle/>
        <a:p>
          <a:pPr marL="0" lvl="0" indent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700" kern="1200" dirty="0"/>
            <a:t>JWT Token Usage CR</a:t>
          </a:r>
        </a:p>
      </dsp:txBody>
      <dsp:txXfrm>
        <a:off x="109096" y="109151"/>
        <a:ext cx="3553363" cy="2016651"/>
      </dsp:txXfrm>
    </dsp:sp>
    <dsp:sp modelId="{145A07D0-DC24-7847-84CC-9077A50E5E61}">
      <dsp:nvSpPr>
        <dsp:cNvPr id="0" name=""/>
        <dsp:cNvSpPr/>
      </dsp:nvSpPr>
      <dsp:spPr>
        <a:xfrm rot="5400000">
          <a:off x="6230112" y="111569"/>
          <a:ext cx="1787874" cy="6704988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3500" kern="1200" dirty="0"/>
            <a:t>Enable usage of the TSA Signer Component</a:t>
          </a:r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3500" kern="1200" dirty="0"/>
            <a:t>Make the usage configurable</a:t>
          </a:r>
        </a:p>
      </dsp:txBody>
      <dsp:txXfrm rot="-5400000">
        <a:off x="3771556" y="2657403"/>
        <a:ext cx="6617711" cy="1613320"/>
      </dsp:txXfrm>
    </dsp:sp>
    <dsp:sp modelId="{A132E4F2-E1A3-E843-80F7-D6782D1BB0E6}">
      <dsp:nvSpPr>
        <dsp:cNvPr id="0" name=""/>
        <dsp:cNvSpPr/>
      </dsp:nvSpPr>
      <dsp:spPr>
        <a:xfrm>
          <a:off x="0" y="2346641"/>
          <a:ext cx="3771555" cy="223484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70" tIns="108585" rIns="217170" bIns="108585" numCol="1" spcCol="1270" anchor="ctr" anchorCtr="0">
          <a:noAutofit/>
        </a:bodyPr>
        <a:lstStyle/>
        <a:p>
          <a:pPr marL="0" lvl="0" indent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700" kern="1200" dirty="0"/>
            <a:t>TSA Signer Usage CR</a:t>
          </a:r>
        </a:p>
      </dsp:txBody>
      <dsp:txXfrm>
        <a:off x="109096" y="2455737"/>
        <a:ext cx="3553363" cy="201665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D0DADD-BDF7-1144-8274-70A30288DF69}">
      <dsp:nvSpPr>
        <dsp:cNvPr id="0" name=""/>
        <dsp:cNvSpPr/>
      </dsp:nvSpPr>
      <dsp:spPr>
        <a:xfrm rot="5400000">
          <a:off x="1901578" y="575958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KNOT DNS</a:t>
          </a:r>
        </a:p>
      </dsp:txBody>
      <dsp:txXfrm rot="-5400000">
        <a:off x="2152077" y="689401"/>
        <a:ext cx="747904" cy="859661"/>
      </dsp:txXfrm>
    </dsp:sp>
    <dsp:sp modelId="{6E008F4D-65C7-2845-BD32-8F7508178665}">
      <dsp:nvSpPr>
        <dsp:cNvPr id="0" name=""/>
        <dsp:cNvSpPr/>
      </dsp:nvSpPr>
      <dsp:spPr>
        <a:xfrm>
          <a:off x="3102273" y="744560"/>
          <a:ext cx="1393774" cy="7493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C0ADE2-6D6B-284D-8504-EEAADB69AC79}">
      <dsp:nvSpPr>
        <dsp:cNvPr id="0" name=""/>
        <dsp:cNvSpPr/>
      </dsp:nvSpPr>
      <dsp:spPr>
        <a:xfrm rot="5400000">
          <a:off x="728109" y="575958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/>
        </a:p>
      </dsp:txBody>
      <dsp:txXfrm rot="-5400000">
        <a:off x="978608" y="689401"/>
        <a:ext cx="747904" cy="859661"/>
      </dsp:txXfrm>
    </dsp:sp>
    <dsp:sp modelId="{BA9B9A42-9503-C543-9949-7EE6FE172F93}">
      <dsp:nvSpPr>
        <dsp:cNvPr id="0" name=""/>
        <dsp:cNvSpPr/>
      </dsp:nvSpPr>
      <dsp:spPr>
        <a:xfrm rot="5400000">
          <a:off x="1312596" y="1636026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Core DNS</a:t>
          </a:r>
        </a:p>
      </dsp:txBody>
      <dsp:txXfrm rot="-5400000">
        <a:off x="1563095" y="1749469"/>
        <a:ext cx="747904" cy="859661"/>
      </dsp:txXfrm>
    </dsp:sp>
    <dsp:sp modelId="{C2E5F64C-1F7C-164E-844D-A0CA8CD132CD}">
      <dsp:nvSpPr>
        <dsp:cNvPr id="0" name=""/>
        <dsp:cNvSpPr/>
      </dsp:nvSpPr>
      <dsp:spPr>
        <a:xfrm>
          <a:off x="0" y="1804628"/>
          <a:ext cx="1348814" cy="7493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E54A06-8B2A-A440-8AEC-2615E2253092}">
      <dsp:nvSpPr>
        <dsp:cNvPr id="0" name=""/>
        <dsp:cNvSpPr/>
      </dsp:nvSpPr>
      <dsp:spPr>
        <a:xfrm rot="5400000">
          <a:off x="2486064" y="1636026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/>
        </a:p>
      </dsp:txBody>
      <dsp:txXfrm rot="-5400000">
        <a:off x="2736563" y="1749469"/>
        <a:ext cx="747904" cy="859661"/>
      </dsp:txXfrm>
    </dsp:sp>
    <dsp:sp modelId="{28821F29-65AB-4E4D-8DB7-5CE4F7AB5A39}">
      <dsp:nvSpPr>
        <dsp:cNvPr id="0" name=""/>
        <dsp:cNvSpPr/>
      </dsp:nvSpPr>
      <dsp:spPr>
        <a:xfrm rot="5400000">
          <a:off x="1901578" y="2696095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Trusted Content Resolving</a:t>
          </a:r>
        </a:p>
      </dsp:txBody>
      <dsp:txXfrm rot="-5400000">
        <a:off x="2152077" y="2809538"/>
        <a:ext cx="747904" cy="859661"/>
      </dsp:txXfrm>
    </dsp:sp>
    <dsp:sp modelId="{BF56B2C1-2748-7F47-A9A5-2E048490E707}">
      <dsp:nvSpPr>
        <dsp:cNvPr id="0" name=""/>
        <dsp:cNvSpPr/>
      </dsp:nvSpPr>
      <dsp:spPr>
        <a:xfrm>
          <a:off x="3102273" y="2864696"/>
          <a:ext cx="1393774" cy="7493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7FE050-DF53-9B46-9C52-25220E3C8155}">
      <dsp:nvSpPr>
        <dsp:cNvPr id="0" name=""/>
        <dsp:cNvSpPr/>
      </dsp:nvSpPr>
      <dsp:spPr>
        <a:xfrm rot="5400000">
          <a:off x="728109" y="2696095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/>
        </a:p>
      </dsp:txBody>
      <dsp:txXfrm rot="-5400000">
        <a:off x="978608" y="2809538"/>
        <a:ext cx="747904" cy="859661"/>
      </dsp:txXfrm>
    </dsp:sp>
    <dsp:sp modelId="{EE702A68-8DA6-964B-B0CF-52971460E99D}">
      <dsp:nvSpPr>
        <dsp:cNvPr id="0" name=""/>
        <dsp:cNvSpPr/>
      </dsp:nvSpPr>
      <dsp:spPr>
        <a:xfrm rot="5400000">
          <a:off x="1312596" y="3756163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No Istio</a:t>
          </a:r>
        </a:p>
      </dsp:txBody>
      <dsp:txXfrm rot="-5400000">
        <a:off x="1563095" y="3869606"/>
        <a:ext cx="747904" cy="859661"/>
      </dsp:txXfrm>
    </dsp:sp>
    <dsp:sp modelId="{118B97C0-D61B-2146-B2F7-C815F7A5E4BA}">
      <dsp:nvSpPr>
        <dsp:cNvPr id="0" name=""/>
        <dsp:cNvSpPr/>
      </dsp:nvSpPr>
      <dsp:spPr>
        <a:xfrm>
          <a:off x="0" y="3924765"/>
          <a:ext cx="1348814" cy="7493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DB5A5B-667E-A74D-B8B7-39AFDE58336C}">
      <dsp:nvSpPr>
        <dsp:cNvPr id="0" name=""/>
        <dsp:cNvSpPr/>
      </dsp:nvSpPr>
      <dsp:spPr>
        <a:xfrm rot="5400000">
          <a:off x="2486064" y="3756163"/>
          <a:ext cx="1248902" cy="108654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/>
        </a:p>
      </dsp:txBody>
      <dsp:txXfrm rot="-5400000">
        <a:off x="2736563" y="3869606"/>
        <a:ext cx="747904" cy="8596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E2879F-85E3-496B-8667-A4EA32411BE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black">
          <a:xfrm>
            <a:off x="1614671" y="9262661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endParaRPr lang="de-DE" sz="9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0349B1-E56A-42C1-B0A4-26B687F2FB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black">
          <a:xfrm>
            <a:off x="6039404" y="9262661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#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E2A2C4-9FAC-4DAF-8CF2-98D0ADF21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4272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306388" y="976313"/>
            <a:ext cx="3830637" cy="2155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black">
          <a:xfrm>
            <a:off x="472804" y="3556395"/>
            <a:ext cx="5846516" cy="512941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5981BBF-A3AF-4657-B40E-0C891992F7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black">
          <a:xfrm>
            <a:off x="1614671" y="9262256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endParaRPr lang="de-DE" sz="90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024CC59-CB8B-404F-82E2-4F59721F4C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black">
          <a:xfrm>
            <a:off x="6039404" y="9262256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#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EB4B23-29CF-4DD3-A96B-2B9F09F54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35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900"/>
      </a:spcAft>
      <a:buClr>
        <a:schemeClr val="tx2"/>
      </a:buClr>
      <a:buFont typeface="+mj-lt" panose="05020102010507070707" pitchFamily="18" charset="2"/>
      <a:buNone/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buClr>
        <a:schemeClr val="tx2"/>
      </a:buClr>
      <a:buFont typeface="+mj-lt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720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6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00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2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3761435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10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713005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13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2920132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14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3449424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699674 w 12192000"/>
              <a:gd name="connsiteY8" fmla="*/ 4509000 h 6858000"/>
              <a:gd name="connsiteX9" fmla="*/ 1861287 w 12192000"/>
              <a:gd name="connsiteY9" fmla="*/ 4509000 h 6858000"/>
              <a:gd name="connsiteX10" fmla="*/ 1869932 w 12192000"/>
              <a:gd name="connsiteY10" fmla="*/ 4509000 h 6858000"/>
              <a:gd name="connsiteX11" fmla="*/ 2227928 w 12192000"/>
              <a:gd name="connsiteY11" fmla="*/ 4509000 h 6858000"/>
              <a:gd name="connsiteX12" fmla="*/ 2238276 w 12192000"/>
              <a:gd name="connsiteY12" fmla="*/ 4509000 h 6858000"/>
              <a:gd name="connsiteX13" fmla="*/ 2594568 w 12192000"/>
              <a:gd name="connsiteY13" fmla="*/ 4509000 h 6858000"/>
              <a:gd name="connsiteX14" fmla="*/ 2606619 w 12192000"/>
              <a:gd name="connsiteY14" fmla="*/ 4509000 h 6858000"/>
              <a:gd name="connsiteX15" fmla="*/ 2764039 w 12192000"/>
              <a:gd name="connsiteY15" fmla="*/ 4509000 h 6858000"/>
              <a:gd name="connsiteX16" fmla="*/ 2776877 w 12192000"/>
              <a:gd name="connsiteY16" fmla="*/ 4509000 h 6858000"/>
              <a:gd name="connsiteX17" fmla="*/ 2916890 w 12192000"/>
              <a:gd name="connsiteY17" fmla="*/ 4509000 h 6858000"/>
              <a:gd name="connsiteX18" fmla="*/ 2930438 w 12192000"/>
              <a:gd name="connsiteY18" fmla="*/ 4509000 h 6858000"/>
              <a:gd name="connsiteX19" fmla="*/ 6257159 w 12192000"/>
              <a:gd name="connsiteY19" fmla="*/ 4509000 h 6858000"/>
              <a:gd name="connsiteX20" fmla="*/ 6286220 w 12192000"/>
              <a:gd name="connsiteY20" fmla="*/ 4509000 h 6858000"/>
              <a:gd name="connsiteX21" fmla="*/ 6979034 w 12192000"/>
              <a:gd name="connsiteY21" fmla="*/ 3819388 h 6858000"/>
              <a:gd name="connsiteX22" fmla="*/ 6979034 w 12192000"/>
              <a:gd name="connsiteY22" fmla="*/ 3140165 h 6858000"/>
              <a:gd name="connsiteX23" fmla="*/ 7671849 w 12192000"/>
              <a:gd name="connsiteY23" fmla="*/ 2450553 h 6858000"/>
              <a:gd name="connsiteX24" fmla="*/ 8029891 w 12192000"/>
              <a:gd name="connsiteY24" fmla="*/ 2450553 h 6858000"/>
              <a:gd name="connsiteX25" fmla="*/ 8067185 w 12192000"/>
              <a:gd name="connsiteY25" fmla="*/ 2450553 h 6858000"/>
              <a:gd name="connsiteX26" fmla="*/ 8759999 w 12192000"/>
              <a:gd name="connsiteY26" fmla="*/ 1760941 h 6858000"/>
              <a:gd name="connsiteX27" fmla="*/ 8759999 w 12192000"/>
              <a:gd name="connsiteY2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861287 w 12192000"/>
              <a:gd name="connsiteY8" fmla="*/ 4509000 h 6858000"/>
              <a:gd name="connsiteX9" fmla="*/ 1869932 w 12192000"/>
              <a:gd name="connsiteY9" fmla="*/ 4509000 h 6858000"/>
              <a:gd name="connsiteX10" fmla="*/ 2227928 w 12192000"/>
              <a:gd name="connsiteY10" fmla="*/ 4509000 h 6858000"/>
              <a:gd name="connsiteX11" fmla="*/ 2238276 w 12192000"/>
              <a:gd name="connsiteY11" fmla="*/ 4509000 h 6858000"/>
              <a:gd name="connsiteX12" fmla="*/ 2594568 w 12192000"/>
              <a:gd name="connsiteY12" fmla="*/ 4509000 h 6858000"/>
              <a:gd name="connsiteX13" fmla="*/ 2606619 w 12192000"/>
              <a:gd name="connsiteY13" fmla="*/ 4509000 h 6858000"/>
              <a:gd name="connsiteX14" fmla="*/ 2764039 w 12192000"/>
              <a:gd name="connsiteY14" fmla="*/ 4509000 h 6858000"/>
              <a:gd name="connsiteX15" fmla="*/ 2776877 w 12192000"/>
              <a:gd name="connsiteY15" fmla="*/ 4509000 h 6858000"/>
              <a:gd name="connsiteX16" fmla="*/ 2916890 w 12192000"/>
              <a:gd name="connsiteY16" fmla="*/ 4509000 h 6858000"/>
              <a:gd name="connsiteX17" fmla="*/ 2930438 w 12192000"/>
              <a:gd name="connsiteY17" fmla="*/ 4509000 h 6858000"/>
              <a:gd name="connsiteX18" fmla="*/ 6257159 w 12192000"/>
              <a:gd name="connsiteY18" fmla="*/ 4509000 h 6858000"/>
              <a:gd name="connsiteX19" fmla="*/ 6286220 w 12192000"/>
              <a:gd name="connsiteY19" fmla="*/ 4509000 h 6858000"/>
              <a:gd name="connsiteX20" fmla="*/ 6979034 w 12192000"/>
              <a:gd name="connsiteY20" fmla="*/ 3819388 h 6858000"/>
              <a:gd name="connsiteX21" fmla="*/ 6979034 w 12192000"/>
              <a:gd name="connsiteY21" fmla="*/ 3140165 h 6858000"/>
              <a:gd name="connsiteX22" fmla="*/ 7671849 w 12192000"/>
              <a:gd name="connsiteY22" fmla="*/ 2450553 h 6858000"/>
              <a:gd name="connsiteX23" fmla="*/ 8029891 w 12192000"/>
              <a:gd name="connsiteY23" fmla="*/ 2450553 h 6858000"/>
              <a:gd name="connsiteX24" fmla="*/ 8067185 w 12192000"/>
              <a:gd name="connsiteY24" fmla="*/ 2450553 h 6858000"/>
              <a:gd name="connsiteX25" fmla="*/ 8759999 w 12192000"/>
              <a:gd name="connsiteY25" fmla="*/ 1760941 h 6858000"/>
              <a:gd name="connsiteX26" fmla="*/ 8759999 w 12192000"/>
              <a:gd name="connsiteY2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1869932 w 12192000"/>
              <a:gd name="connsiteY8" fmla="*/ 4509000 h 6858000"/>
              <a:gd name="connsiteX9" fmla="*/ 2227928 w 12192000"/>
              <a:gd name="connsiteY9" fmla="*/ 4509000 h 6858000"/>
              <a:gd name="connsiteX10" fmla="*/ 2238276 w 12192000"/>
              <a:gd name="connsiteY10" fmla="*/ 4509000 h 6858000"/>
              <a:gd name="connsiteX11" fmla="*/ 2594568 w 12192000"/>
              <a:gd name="connsiteY11" fmla="*/ 4509000 h 6858000"/>
              <a:gd name="connsiteX12" fmla="*/ 2606619 w 12192000"/>
              <a:gd name="connsiteY12" fmla="*/ 4509000 h 6858000"/>
              <a:gd name="connsiteX13" fmla="*/ 2764039 w 12192000"/>
              <a:gd name="connsiteY13" fmla="*/ 4509000 h 6858000"/>
              <a:gd name="connsiteX14" fmla="*/ 2776877 w 12192000"/>
              <a:gd name="connsiteY14" fmla="*/ 4509000 h 6858000"/>
              <a:gd name="connsiteX15" fmla="*/ 2916890 w 12192000"/>
              <a:gd name="connsiteY15" fmla="*/ 4509000 h 6858000"/>
              <a:gd name="connsiteX16" fmla="*/ 2930438 w 12192000"/>
              <a:gd name="connsiteY16" fmla="*/ 4509000 h 6858000"/>
              <a:gd name="connsiteX17" fmla="*/ 6257159 w 12192000"/>
              <a:gd name="connsiteY17" fmla="*/ 4509000 h 6858000"/>
              <a:gd name="connsiteX18" fmla="*/ 6286220 w 12192000"/>
              <a:gd name="connsiteY18" fmla="*/ 4509000 h 6858000"/>
              <a:gd name="connsiteX19" fmla="*/ 6979034 w 12192000"/>
              <a:gd name="connsiteY19" fmla="*/ 3819388 h 6858000"/>
              <a:gd name="connsiteX20" fmla="*/ 6979034 w 12192000"/>
              <a:gd name="connsiteY20" fmla="*/ 3140165 h 6858000"/>
              <a:gd name="connsiteX21" fmla="*/ 7671849 w 12192000"/>
              <a:gd name="connsiteY21" fmla="*/ 2450553 h 6858000"/>
              <a:gd name="connsiteX22" fmla="*/ 8029891 w 12192000"/>
              <a:gd name="connsiteY22" fmla="*/ 2450553 h 6858000"/>
              <a:gd name="connsiteX23" fmla="*/ 8067185 w 12192000"/>
              <a:gd name="connsiteY23" fmla="*/ 2450553 h 6858000"/>
              <a:gd name="connsiteX24" fmla="*/ 8759999 w 12192000"/>
              <a:gd name="connsiteY24" fmla="*/ 1760941 h 6858000"/>
              <a:gd name="connsiteX25" fmla="*/ 8759999 w 12192000"/>
              <a:gd name="connsiteY2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2227928 w 12192000"/>
              <a:gd name="connsiteY8" fmla="*/ 4509000 h 6858000"/>
              <a:gd name="connsiteX9" fmla="*/ 2238276 w 12192000"/>
              <a:gd name="connsiteY9" fmla="*/ 4509000 h 6858000"/>
              <a:gd name="connsiteX10" fmla="*/ 2594568 w 12192000"/>
              <a:gd name="connsiteY10" fmla="*/ 4509000 h 6858000"/>
              <a:gd name="connsiteX11" fmla="*/ 2606619 w 12192000"/>
              <a:gd name="connsiteY11" fmla="*/ 4509000 h 6858000"/>
              <a:gd name="connsiteX12" fmla="*/ 2764039 w 12192000"/>
              <a:gd name="connsiteY12" fmla="*/ 4509000 h 6858000"/>
              <a:gd name="connsiteX13" fmla="*/ 2776877 w 12192000"/>
              <a:gd name="connsiteY13" fmla="*/ 4509000 h 6858000"/>
              <a:gd name="connsiteX14" fmla="*/ 2916890 w 12192000"/>
              <a:gd name="connsiteY14" fmla="*/ 4509000 h 6858000"/>
              <a:gd name="connsiteX15" fmla="*/ 2930438 w 12192000"/>
              <a:gd name="connsiteY15" fmla="*/ 4509000 h 6858000"/>
              <a:gd name="connsiteX16" fmla="*/ 6257159 w 12192000"/>
              <a:gd name="connsiteY16" fmla="*/ 4509000 h 6858000"/>
              <a:gd name="connsiteX17" fmla="*/ 6286220 w 12192000"/>
              <a:gd name="connsiteY17" fmla="*/ 4509000 h 6858000"/>
              <a:gd name="connsiteX18" fmla="*/ 6979034 w 12192000"/>
              <a:gd name="connsiteY18" fmla="*/ 3819388 h 6858000"/>
              <a:gd name="connsiteX19" fmla="*/ 6979034 w 12192000"/>
              <a:gd name="connsiteY19" fmla="*/ 3140165 h 6858000"/>
              <a:gd name="connsiteX20" fmla="*/ 7671849 w 12192000"/>
              <a:gd name="connsiteY20" fmla="*/ 2450553 h 6858000"/>
              <a:gd name="connsiteX21" fmla="*/ 8029891 w 12192000"/>
              <a:gd name="connsiteY21" fmla="*/ 2450553 h 6858000"/>
              <a:gd name="connsiteX22" fmla="*/ 8067185 w 12192000"/>
              <a:gd name="connsiteY22" fmla="*/ 2450553 h 6858000"/>
              <a:gd name="connsiteX23" fmla="*/ 8759999 w 12192000"/>
              <a:gd name="connsiteY23" fmla="*/ 1760941 h 6858000"/>
              <a:gd name="connsiteX24" fmla="*/ 8759999 w 12192000"/>
              <a:gd name="connsiteY2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238276 w 12192000"/>
              <a:gd name="connsiteY8" fmla="*/ 4509000 h 6858000"/>
              <a:gd name="connsiteX9" fmla="*/ 2594568 w 12192000"/>
              <a:gd name="connsiteY9" fmla="*/ 4509000 h 6858000"/>
              <a:gd name="connsiteX10" fmla="*/ 2606619 w 12192000"/>
              <a:gd name="connsiteY10" fmla="*/ 4509000 h 6858000"/>
              <a:gd name="connsiteX11" fmla="*/ 2764039 w 12192000"/>
              <a:gd name="connsiteY11" fmla="*/ 4509000 h 6858000"/>
              <a:gd name="connsiteX12" fmla="*/ 2776877 w 12192000"/>
              <a:gd name="connsiteY12" fmla="*/ 4509000 h 6858000"/>
              <a:gd name="connsiteX13" fmla="*/ 2916890 w 12192000"/>
              <a:gd name="connsiteY13" fmla="*/ 4509000 h 6858000"/>
              <a:gd name="connsiteX14" fmla="*/ 2930438 w 12192000"/>
              <a:gd name="connsiteY14" fmla="*/ 4509000 h 6858000"/>
              <a:gd name="connsiteX15" fmla="*/ 6257159 w 12192000"/>
              <a:gd name="connsiteY15" fmla="*/ 4509000 h 6858000"/>
              <a:gd name="connsiteX16" fmla="*/ 6286220 w 12192000"/>
              <a:gd name="connsiteY16" fmla="*/ 4509000 h 6858000"/>
              <a:gd name="connsiteX17" fmla="*/ 6979034 w 12192000"/>
              <a:gd name="connsiteY17" fmla="*/ 3819388 h 6858000"/>
              <a:gd name="connsiteX18" fmla="*/ 6979034 w 12192000"/>
              <a:gd name="connsiteY18" fmla="*/ 3140165 h 6858000"/>
              <a:gd name="connsiteX19" fmla="*/ 7671849 w 12192000"/>
              <a:gd name="connsiteY19" fmla="*/ 2450553 h 6858000"/>
              <a:gd name="connsiteX20" fmla="*/ 8029891 w 12192000"/>
              <a:gd name="connsiteY20" fmla="*/ 2450553 h 6858000"/>
              <a:gd name="connsiteX21" fmla="*/ 8067185 w 12192000"/>
              <a:gd name="connsiteY21" fmla="*/ 2450553 h 6858000"/>
              <a:gd name="connsiteX22" fmla="*/ 8759999 w 12192000"/>
              <a:gd name="connsiteY22" fmla="*/ 1760941 h 6858000"/>
              <a:gd name="connsiteX23" fmla="*/ 8759999 w 12192000"/>
              <a:gd name="connsiteY2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606619 w 12192000"/>
              <a:gd name="connsiteY9" fmla="*/ 4509000 h 6858000"/>
              <a:gd name="connsiteX10" fmla="*/ 2764039 w 12192000"/>
              <a:gd name="connsiteY10" fmla="*/ 4509000 h 6858000"/>
              <a:gd name="connsiteX11" fmla="*/ 2776877 w 12192000"/>
              <a:gd name="connsiteY11" fmla="*/ 4509000 h 6858000"/>
              <a:gd name="connsiteX12" fmla="*/ 2916890 w 12192000"/>
              <a:gd name="connsiteY12" fmla="*/ 4509000 h 6858000"/>
              <a:gd name="connsiteX13" fmla="*/ 2930438 w 12192000"/>
              <a:gd name="connsiteY13" fmla="*/ 4509000 h 6858000"/>
              <a:gd name="connsiteX14" fmla="*/ 6257159 w 12192000"/>
              <a:gd name="connsiteY14" fmla="*/ 4509000 h 6858000"/>
              <a:gd name="connsiteX15" fmla="*/ 6286220 w 12192000"/>
              <a:gd name="connsiteY15" fmla="*/ 4509000 h 6858000"/>
              <a:gd name="connsiteX16" fmla="*/ 6979034 w 12192000"/>
              <a:gd name="connsiteY16" fmla="*/ 3819388 h 6858000"/>
              <a:gd name="connsiteX17" fmla="*/ 6979034 w 12192000"/>
              <a:gd name="connsiteY17" fmla="*/ 3140165 h 6858000"/>
              <a:gd name="connsiteX18" fmla="*/ 7671849 w 12192000"/>
              <a:gd name="connsiteY18" fmla="*/ 2450553 h 6858000"/>
              <a:gd name="connsiteX19" fmla="*/ 8029891 w 12192000"/>
              <a:gd name="connsiteY19" fmla="*/ 2450553 h 6858000"/>
              <a:gd name="connsiteX20" fmla="*/ 8067185 w 12192000"/>
              <a:gd name="connsiteY20" fmla="*/ 2450553 h 6858000"/>
              <a:gd name="connsiteX21" fmla="*/ 8759999 w 12192000"/>
              <a:gd name="connsiteY21" fmla="*/ 1760941 h 6858000"/>
              <a:gd name="connsiteX22" fmla="*/ 8759999 w 12192000"/>
              <a:gd name="connsiteY2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776877 w 12192000"/>
              <a:gd name="connsiteY10" fmla="*/ 4509000 h 6858000"/>
              <a:gd name="connsiteX11" fmla="*/ 2916890 w 12192000"/>
              <a:gd name="connsiteY11" fmla="*/ 4509000 h 6858000"/>
              <a:gd name="connsiteX12" fmla="*/ 2930438 w 12192000"/>
              <a:gd name="connsiteY12" fmla="*/ 4509000 h 6858000"/>
              <a:gd name="connsiteX13" fmla="*/ 6257159 w 12192000"/>
              <a:gd name="connsiteY13" fmla="*/ 4509000 h 6858000"/>
              <a:gd name="connsiteX14" fmla="*/ 6286220 w 12192000"/>
              <a:gd name="connsiteY14" fmla="*/ 4509000 h 6858000"/>
              <a:gd name="connsiteX15" fmla="*/ 6979034 w 12192000"/>
              <a:gd name="connsiteY15" fmla="*/ 3819388 h 6858000"/>
              <a:gd name="connsiteX16" fmla="*/ 6979034 w 12192000"/>
              <a:gd name="connsiteY16" fmla="*/ 3140165 h 6858000"/>
              <a:gd name="connsiteX17" fmla="*/ 7671849 w 12192000"/>
              <a:gd name="connsiteY17" fmla="*/ 2450553 h 6858000"/>
              <a:gd name="connsiteX18" fmla="*/ 8029891 w 12192000"/>
              <a:gd name="connsiteY18" fmla="*/ 2450553 h 6858000"/>
              <a:gd name="connsiteX19" fmla="*/ 8067185 w 12192000"/>
              <a:gd name="connsiteY19" fmla="*/ 2450553 h 6858000"/>
              <a:gd name="connsiteX20" fmla="*/ 8759999 w 12192000"/>
              <a:gd name="connsiteY20" fmla="*/ 1760941 h 6858000"/>
              <a:gd name="connsiteX21" fmla="*/ 8759999 w 12192000"/>
              <a:gd name="connsiteY2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916890 w 12192000"/>
              <a:gd name="connsiteY10" fmla="*/ 4509000 h 6858000"/>
              <a:gd name="connsiteX11" fmla="*/ 2930438 w 12192000"/>
              <a:gd name="connsiteY11" fmla="*/ 4509000 h 6858000"/>
              <a:gd name="connsiteX12" fmla="*/ 6257159 w 12192000"/>
              <a:gd name="connsiteY12" fmla="*/ 4509000 h 6858000"/>
              <a:gd name="connsiteX13" fmla="*/ 6286220 w 12192000"/>
              <a:gd name="connsiteY13" fmla="*/ 4509000 h 6858000"/>
              <a:gd name="connsiteX14" fmla="*/ 6979034 w 12192000"/>
              <a:gd name="connsiteY14" fmla="*/ 3819388 h 6858000"/>
              <a:gd name="connsiteX15" fmla="*/ 6979034 w 12192000"/>
              <a:gd name="connsiteY15" fmla="*/ 3140165 h 6858000"/>
              <a:gd name="connsiteX16" fmla="*/ 7671849 w 12192000"/>
              <a:gd name="connsiteY16" fmla="*/ 2450553 h 6858000"/>
              <a:gd name="connsiteX17" fmla="*/ 8029891 w 12192000"/>
              <a:gd name="connsiteY17" fmla="*/ 2450553 h 6858000"/>
              <a:gd name="connsiteX18" fmla="*/ 8067185 w 12192000"/>
              <a:gd name="connsiteY18" fmla="*/ 2450553 h 6858000"/>
              <a:gd name="connsiteX19" fmla="*/ 8759999 w 12192000"/>
              <a:gd name="connsiteY19" fmla="*/ 1760941 h 6858000"/>
              <a:gd name="connsiteX20" fmla="*/ 8759999 w 12192000"/>
              <a:gd name="connsiteY2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2930438 w 12192000"/>
              <a:gd name="connsiteY10" fmla="*/ 4509000 h 6858000"/>
              <a:gd name="connsiteX11" fmla="*/ 6257159 w 12192000"/>
              <a:gd name="connsiteY11" fmla="*/ 4509000 h 6858000"/>
              <a:gd name="connsiteX12" fmla="*/ 6286220 w 12192000"/>
              <a:gd name="connsiteY12" fmla="*/ 4509000 h 6858000"/>
              <a:gd name="connsiteX13" fmla="*/ 6979034 w 12192000"/>
              <a:gd name="connsiteY13" fmla="*/ 3819388 h 6858000"/>
              <a:gd name="connsiteX14" fmla="*/ 6979034 w 12192000"/>
              <a:gd name="connsiteY14" fmla="*/ 3140165 h 6858000"/>
              <a:gd name="connsiteX15" fmla="*/ 7671849 w 12192000"/>
              <a:gd name="connsiteY15" fmla="*/ 2450553 h 6858000"/>
              <a:gd name="connsiteX16" fmla="*/ 8029891 w 12192000"/>
              <a:gd name="connsiteY16" fmla="*/ 2450553 h 6858000"/>
              <a:gd name="connsiteX17" fmla="*/ 8067185 w 12192000"/>
              <a:gd name="connsiteY17" fmla="*/ 2450553 h 6858000"/>
              <a:gd name="connsiteX18" fmla="*/ 8759999 w 12192000"/>
              <a:gd name="connsiteY18" fmla="*/ 1760941 h 6858000"/>
              <a:gd name="connsiteX19" fmla="*/ 8759999 w 12192000"/>
              <a:gd name="connsiteY1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6257159 w 12192000"/>
              <a:gd name="connsiteY10" fmla="*/ 4509000 h 6858000"/>
              <a:gd name="connsiteX11" fmla="*/ 6286220 w 12192000"/>
              <a:gd name="connsiteY11" fmla="*/ 4509000 h 6858000"/>
              <a:gd name="connsiteX12" fmla="*/ 6979034 w 12192000"/>
              <a:gd name="connsiteY12" fmla="*/ 3819388 h 6858000"/>
              <a:gd name="connsiteX13" fmla="*/ 6979034 w 12192000"/>
              <a:gd name="connsiteY13" fmla="*/ 3140165 h 6858000"/>
              <a:gd name="connsiteX14" fmla="*/ 7671849 w 12192000"/>
              <a:gd name="connsiteY14" fmla="*/ 2450553 h 6858000"/>
              <a:gd name="connsiteX15" fmla="*/ 8029891 w 12192000"/>
              <a:gd name="connsiteY15" fmla="*/ 2450553 h 6858000"/>
              <a:gd name="connsiteX16" fmla="*/ 8067185 w 12192000"/>
              <a:gd name="connsiteY16" fmla="*/ 2450553 h 6858000"/>
              <a:gd name="connsiteX17" fmla="*/ 8759999 w 12192000"/>
              <a:gd name="connsiteY17" fmla="*/ 1760941 h 6858000"/>
              <a:gd name="connsiteX18" fmla="*/ 8759999 w 12192000"/>
              <a:gd name="connsiteY1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916890 w 12192000"/>
              <a:gd name="connsiteY8" fmla="*/ 4509000 h 6858000"/>
              <a:gd name="connsiteX9" fmla="*/ 6257159 w 12192000"/>
              <a:gd name="connsiteY9" fmla="*/ 4509000 h 6858000"/>
              <a:gd name="connsiteX10" fmla="*/ 6286220 w 12192000"/>
              <a:gd name="connsiteY10" fmla="*/ 4509000 h 6858000"/>
              <a:gd name="connsiteX11" fmla="*/ 6979034 w 12192000"/>
              <a:gd name="connsiteY11" fmla="*/ 3819388 h 6858000"/>
              <a:gd name="connsiteX12" fmla="*/ 6979034 w 12192000"/>
              <a:gd name="connsiteY12" fmla="*/ 3140165 h 6858000"/>
              <a:gd name="connsiteX13" fmla="*/ 7671849 w 12192000"/>
              <a:gd name="connsiteY13" fmla="*/ 2450553 h 6858000"/>
              <a:gd name="connsiteX14" fmla="*/ 8029891 w 12192000"/>
              <a:gd name="connsiteY14" fmla="*/ 2450553 h 6858000"/>
              <a:gd name="connsiteX15" fmla="*/ 8067185 w 12192000"/>
              <a:gd name="connsiteY15" fmla="*/ 2450553 h 6858000"/>
              <a:gd name="connsiteX16" fmla="*/ 8759999 w 12192000"/>
              <a:gd name="connsiteY16" fmla="*/ 1760941 h 6858000"/>
              <a:gd name="connsiteX17" fmla="*/ 8759999 w 12192000"/>
              <a:gd name="connsiteY1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6257159 w 12192000"/>
              <a:gd name="connsiteY8" fmla="*/ 4509000 h 6858000"/>
              <a:gd name="connsiteX9" fmla="*/ 6286220 w 12192000"/>
              <a:gd name="connsiteY9" fmla="*/ 4509000 h 6858000"/>
              <a:gd name="connsiteX10" fmla="*/ 6979034 w 12192000"/>
              <a:gd name="connsiteY10" fmla="*/ 3819388 h 6858000"/>
              <a:gd name="connsiteX11" fmla="*/ 6979034 w 12192000"/>
              <a:gd name="connsiteY11" fmla="*/ 3140165 h 6858000"/>
              <a:gd name="connsiteX12" fmla="*/ 7671849 w 12192000"/>
              <a:gd name="connsiteY12" fmla="*/ 2450553 h 6858000"/>
              <a:gd name="connsiteX13" fmla="*/ 8029891 w 12192000"/>
              <a:gd name="connsiteY13" fmla="*/ 2450553 h 6858000"/>
              <a:gd name="connsiteX14" fmla="*/ 8067185 w 12192000"/>
              <a:gd name="connsiteY14" fmla="*/ 2450553 h 6858000"/>
              <a:gd name="connsiteX15" fmla="*/ 8759999 w 12192000"/>
              <a:gd name="connsiteY15" fmla="*/ 1760941 h 6858000"/>
              <a:gd name="connsiteX16" fmla="*/ 8759999 w 12192000"/>
              <a:gd name="connsiteY1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6257159 w 12192000"/>
              <a:gd name="connsiteY7" fmla="*/ 4509000 h 6858000"/>
              <a:gd name="connsiteX8" fmla="*/ 6286220 w 12192000"/>
              <a:gd name="connsiteY8" fmla="*/ 4509000 h 6858000"/>
              <a:gd name="connsiteX9" fmla="*/ 6979034 w 12192000"/>
              <a:gd name="connsiteY9" fmla="*/ 3819388 h 6858000"/>
              <a:gd name="connsiteX10" fmla="*/ 6979034 w 12192000"/>
              <a:gd name="connsiteY10" fmla="*/ 3140165 h 6858000"/>
              <a:gd name="connsiteX11" fmla="*/ 7671849 w 12192000"/>
              <a:gd name="connsiteY11" fmla="*/ 2450553 h 6858000"/>
              <a:gd name="connsiteX12" fmla="*/ 8029891 w 12192000"/>
              <a:gd name="connsiteY12" fmla="*/ 2450553 h 6858000"/>
              <a:gd name="connsiteX13" fmla="*/ 8067185 w 12192000"/>
              <a:gd name="connsiteY13" fmla="*/ 2450553 h 6858000"/>
              <a:gd name="connsiteX14" fmla="*/ 8759999 w 12192000"/>
              <a:gd name="connsiteY14" fmla="*/ 1760941 h 6858000"/>
              <a:gd name="connsiteX15" fmla="*/ 8759999 w 12192000"/>
              <a:gd name="connsiteY1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286220 w 12192000"/>
              <a:gd name="connsiteY7" fmla="*/ 4509000 h 6858000"/>
              <a:gd name="connsiteX8" fmla="*/ 6979034 w 12192000"/>
              <a:gd name="connsiteY8" fmla="*/ 3819388 h 6858000"/>
              <a:gd name="connsiteX9" fmla="*/ 6979034 w 12192000"/>
              <a:gd name="connsiteY9" fmla="*/ 3140165 h 6858000"/>
              <a:gd name="connsiteX10" fmla="*/ 7671849 w 12192000"/>
              <a:gd name="connsiteY10" fmla="*/ 2450553 h 6858000"/>
              <a:gd name="connsiteX11" fmla="*/ 8029891 w 12192000"/>
              <a:gd name="connsiteY11" fmla="*/ 2450553 h 6858000"/>
              <a:gd name="connsiteX12" fmla="*/ 8067185 w 12192000"/>
              <a:gd name="connsiteY12" fmla="*/ 2450553 h 6858000"/>
              <a:gd name="connsiteX13" fmla="*/ 8759999 w 12192000"/>
              <a:gd name="connsiteY13" fmla="*/ 1760941 h 6858000"/>
              <a:gd name="connsiteX14" fmla="*/ 8759999 w 12192000"/>
              <a:gd name="connsiteY1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979034 w 12192000"/>
              <a:gd name="connsiteY7" fmla="*/ 3819388 h 6858000"/>
              <a:gd name="connsiteX8" fmla="*/ 6979034 w 12192000"/>
              <a:gd name="connsiteY8" fmla="*/ 3140165 h 6858000"/>
              <a:gd name="connsiteX9" fmla="*/ 7671849 w 12192000"/>
              <a:gd name="connsiteY9" fmla="*/ 2450553 h 6858000"/>
              <a:gd name="connsiteX10" fmla="*/ 8029891 w 12192000"/>
              <a:gd name="connsiteY10" fmla="*/ 2450553 h 6858000"/>
              <a:gd name="connsiteX11" fmla="*/ 8067185 w 12192000"/>
              <a:gd name="connsiteY11" fmla="*/ 2450553 h 6858000"/>
              <a:gd name="connsiteX12" fmla="*/ 8759999 w 12192000"/>
              <a:gd name="connsiteY12" fmla="*/ 1760941 h 6858000"/>
              <a:gd name="connsiteX13" fmla="*/ 8759999 w 12192000"/>
              <a:gd name="connsiteY1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819388 h 6858000"/>
              <a:gd name="connsiteX7" fmla="*/ 6979034 w 12192000"/>
              <a:gd name="connsiteY7" fmla="*/ 3140165 h 6858000"/>
              <a:gd name="connsiteX8" fmla="*/ 7671849 w 12192000"/>
              <a:gd name="connsiteY8" fmla="*/ 2450553 h 6858000"/>
              <a:gd name="connsiteX9" fmla="*/ 8029891 w 12192000"/>
              <a:gd name="connsiteY9" fmla="*/ 2450553 h 6858000"/>
              <a:gd name="connsiteX10" fmla="*/ 8067185 w 12192000"/>
              <a:gd name="connsiteY10" fmla="*/ 2450553 h 6858000"/>
              <a:gd name="connsiteX11" fmla="*/ 8759999 w 12192000"/>
              <a:gd name="connsiteY11" fmla="*/ 1760941 h 6858000"/>
              <a:gd name="connsiteX12" fmla="*/ 8759999 w 12192000"/>
              <a:gd name="connsiteY1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140165 h 6858000"/>
              <a:gd name="connsiteX7" fmla="*/ 7671849 w 12192000"/>
              <a:gd name="connsiteY7" fmla="*/ 2450553 h 6858000"/>
              <a:gd name="connsiteX8" fmla="*/ 8029891 w 12192000"/>
              <a:gd name="connsiteY8" fmla="*/ 2450553 h 6858000"/>
              <a:gd name="connsiteX9" fmla="*/ 8067185 w 12192000"/>
              <a:gd name="connsiteY9" fmla="*/ 2450553 h 6858000"/>
              <a:gd name="connsiteX10" fmla="*/ 8759999 w 12192000"/>
              <a:gd name="connsiteY10" fmla="*/ 1760941 h 6858000"/>
              <a:gd name="connsiteX11" fmla="*/ 8759999 w 12192000"/>
              <a:gd name="connsiteY1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7671849 w 12192000"/>
              <a:gd name="connsiteY6" fmla="*/ 2450553 h 6858000"/>
              <a:gd name="connsiteX7" fmla="*/ 8029891 w 12192000"/>
              <a:gd name="connsiteY7" fmla="*/ 2450553 h 6858000"/>
              <a:gd name="connsiteX8" fmla="*/ 8067185 w 12192000"/>
              <a:gd name="connsiteY8" fmla="*/ 2450553 h 6858000"/>
              <a:gd name="connsiteX9" fmla="*/ 8759999 w 12192000"/>
              <a:gd name="connsiteY9" fmla="*/ 1760941 h 6858000"/>
              <a:gd name="connsiteX10" fmla="*/ 8759999 w 12192000"/>
              <a:gd name="connsiteY1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067185 w 12192000"/>
              <a:gd name="connsiteY7" fmla="*/ 2450553 h 6858000"/>
              <a:gd name="connsiteX8" fmla="*/ 8759999 w 12192000"/>
              <a:gd name="connsiteY8" fmla="*/ 1760941 h 6858000"/>
              <a:gd name="connsiteX9" fmla="*/ 8759999 w 12192000"/>
              <a:gd name="connsiteY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759999 w 12192000"/>
              <a:gd name="connsiteY7" fmla="*/ 1760941 h 6858000"/>
              <a:gd name="connsiteX8" fmla="*/ 8759999 w 12192000"/>
              <a:gd name="connsiteY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1760941 h 6858000"/>
              <a:gd name="connsiteX7" fmla="*/ 8759999 w 12192000"/>
              <a:gd name="connsiteY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6" fmla="*/ 8759999 w 12192000"/>
              <a:gd name="connsiteY6" fmla="*/ 0 h 6858000"/>
              <a:gd name="connsiteX0" fmla="*/ 8759999 w 12192000"/>
              <a:gd name="connsiteY0" fmla="*/ 508523 h 7366523"/>
              <a:gd name="connsiteX1" fmla="*/ 12192000 w 12192000"/>
              <a:gd name="connsiteY1" fmla="*/ 508523 h 7366523"/>
              <a:gd name="connsiteX2" fmla="*/ 12192000 w 12192000"/>
              <a:gd name="connsiteY2" fmla="*/ 7366523 h 7366523"/>
              <a:gd name="connsiteX3" fmla="*/ 0 w 12192000"/>
              <a:gd name="connsiteY3" fmla="*/ 7366523 h 7366523"/>
              <a:gd name="connsiteX4" fmla="*/ 0 w 12192000"/>
              <a:gd name="connsiteY4" fmla="*/ 5017523 h 7366523"/>
              <a:gd name="connsiteX5" fmla="*/ 9145 w 12192000"/>
              <a:gd name="connsiteY5" fmla="*/ 518675 h 7366523"/>
              <a:gd name="connsiteX6" fmla="*/ 8759999 w 12192000"/>
              <a:gd name="connsiteY6" fmla="*/ 508523 h 7366523"/>
              <a:gd name="connsiteX0" fmla="*/ 8759999 w 12192000"/>
              <a:gd name="connsiteY0" fmla="*/ 568584 h 7426584"/>
              <a:gd name="connsiteX1" fmla="*/ 12192000 w 12192000"/>
              <a:gd name="connsiteY1" fmla="*/ 568584 h 7426584"/>
              <a:gd name="connsiteX2" fmla="*/ 12192000 w 12192000"/>
              <a:gd name="connsiteY2" fmla="*/ 7426584 h 7426584"/>
              <a:gd name="connsiteX3" fmla="*/ 0 w 12192000"/>
              <a:gd name="connsiteY3" fmla="*/ 7426584 h 7426584"/>
              <a:gd name="connsiteX4" fmla="*/ 0 w 12192000"/>
              <a:gd name="connsiteY4" fmla="*/ 5077584 h 7426584"/>
              <a:gd name="connsiteX5" fmla="*/ 9145 w 12192000"/>
              <a:gd name="connsiteY5" fmla="*/ 578736 h 7426584"/>
              <a:gd name="connsiteX6" fmla="*/ 8759999 w 12192000"/>
              <a:gd name="connsiteY6" fmla="*/ 568584 h 7426584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5 w 12192000"/>
              <a:gd name="connsiteY4" fmla="*/ 101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9145" y="10152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ubicBezTo>
                  <a:pt x="3048" y="4575384"/>
                  <a:pt x="6097" y="2292768"/>
                  <a:pt x="9145" y="10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B4192A66-BAB4-444B-9D5A-EF5D67DD2C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1600" y="892800"/>
            <a:ext cx="9334800" cy="480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EA789154-BF39-534F-8732-2C4F477C0A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91600" y="5832000"/>
            <a:ext cx="4123362" cy="466332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4000" y="198884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11284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 err="1"/>
              <a:t>Subtitle</a:t>
            </a:r>
            <a:r>
              <a:rPr lang="de-DE" dirty="0"/>
              <a:t> | </a:t>
            </a:r>
            <a:r>
              <a:rPr lang="de-DE" dirty="0" err="1"/>
              <a:t>Author</a:t>
            </a:r>
            <a:r>
              <a:rPr lang="de-DE" dirty="0"/>
              <a:t>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27139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760B6CD3-4D23-41AF-813B-493EA0339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1E6EB998-053A-44F9-969A-AB1A92F98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9679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8F366C2-84D4-4B52-8F19-47225EF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276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FE876BA-660A-4BDA-B0EE-7D586FC0D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F9F7CD9-F054-465B-93B6-B23B34D2B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2591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2E1087-7F1F-483A-8287-85903BD1A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E03A498-F349-4FBD-AA2E-188DFC5FA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57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3432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240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black">
          <a:xfrm>
            <a:off x="9048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C65CFB4-A844-4779-A714-AD3EA88CC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6CAAAA5-D5B7-4721-A124-37514120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825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588"/>
            <a:ext cx="5255976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CA408DC-84BF-4622-883C-E5CF2D4C1F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16A0FC59-58B0-4C99-B9CE-643FCC7D7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46574E79-D6DF-694C-AF0B-B4CCB5F42D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0800000">
            <a:off x="6064382" y="1484596"/>
            <a:ext cx="6113057" cy="532878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762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3F034BA-6B93-7845-98DA-16FFB497DF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82" y="0"/>
            <a:ext cx="12191118" cy="6857504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“Here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meaningful</a:t>
            </a:r>
            <a:r>
              <a:rPr lang="de-DE" dirty="0"/>
              <a:t> </a:t>
            </a:r>
            <a:r>
              <a:rPr lang="de-DE" dirty="0" err="1"/>
              <a:t>quote</a:t>
            </a:r>
            <a:r>
              <a:rPr lang="de-DE" dirty="0"/>
              <a:t>, multiple </a:t>
            </a:r>
            <a:r>
              <a:rPr lang="de-DE" dirty="0" err="1"/>
              <a:t>lines</a:t>
            </a:r>
            <a:r>
              <a:rPr lang="de-DE" dirty="0"/>
              <a:t> possible.“</a:t>
            </a:r>
          </a:p>
          <a:p>
            <a:pPr lvl="1"/>
            <a:r>
              <a:rPr lang="de-DE" dirty="0"/>
              <a:t>–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327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 userDrawn="1">
          <p15:clr>
            <a:srgbClr val="FBAE40"/>
          </p15:clr>
        </p15:guide>
        <p15:guide id="3" orient="horz" pos="132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40016" y="1484313"/>
            <a:ext cx="595320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E733019-59A1-468F-8149-C6BE014E0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0900683-23B4-4E4B-8F6A-858470B77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39286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3392" y="1485312"/>
            <a:ext cx="7200561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52588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06633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699674 w 12192000"/>
              <a:gd name="connsiteY8" fmla="*/ 4509000 h 6858000"/>
              <a:gd name="connsiteX9" fmla="*/ 1861287 w 12192000"/>
              <a:gd name="connsiteY9" fmla="*/ 4509000 h 6858000"/>
              <a:gd name="connsiteX10" fmla="*/ 1869932 w 12192000"/>
              <a:gd name="connsiteY10" fmla="*/ 4509000 h 6858000"/>
              <a:gd name="connsiteX11" fmla="*/ 2227928 w 12192000"/>
              <a:gd name="connsiteY11" fmla="*/ 4509000 h 6858000"/>
              <a:gd name="connsiteX12" fmla="*/ 2238276 w 12192000"/>
              <a:gd name="connsiteY12" fmla="*/ 4509000 h 6858000"/>
              <a:gd name="connsiteX13" fmla="*/ 2594568 w 12192000"/>
              <a:gd name="connsiteY13" fmla="*/ 4509000 h 6858000"/>
              <a:gd name="connsiteX14" fmla="*/ 2606619 w 12192000"/>
              <a:gd name="connsiteY14" fmla="*/ 4509000 h 6858000"/>
              <a:gd name="connsiteX15" fmla="*/ 2764039 w 12192000"/>
              <a:gd name="connsiteY15" fmla="*/ 4509000 h 6858000"/>
              <a:gd name="connsiteX16" fmla="*/ 2776877 w 12192000"/>
              <a:gd name="connsiteY16" fmla="*/ 4509000 h 6858000"/>
              <a:gd name="connsiteX17" fmla="*/ 2916890 w 12192000"/>
              <a:gd name="connsiteY17" fmla="*/ 4509000 h 6858000"/>
              <a:gd name="connsiteX18" fmla="*/ 2930438 w 12192000"/>
              <a:gd name="connsiteY18" fmla="*/ 4509000 h 6858000"/>
              <a:gd name="connsiteX19" fmla="*/ 6257159 w 12192000"/>
              <a:gd name="connsiteY19" fmla="*/ 4509000 h 6858000"/>
              <a:gd name="connsiteX20" fmla="*/ 6286220 w 12192000"/>
              <a:gd name="connsiteY20" fmla="*/ 4509000 h 6858000"/>
              <a:gd name="connsiteX21" fmla="*/ 6979034 w 12192000"/>
              <a:gd name="connsiteY21" fmla="*/ 3819388 h 6858000"/>
              <a:gd name="connsiteX22" fmla="*/ 6979034 w 12192000"/>
              <a:gd name="connsiteY22" fmla="*/ 3140165 h 6858000"/>
              <a:gd name="connsiteX23" fmla="*/ 7671849 w 12192000"/>
              <a:gd name="connsiteY23" fmla="*/ 2450553 h 6858000"/>
              <a:gd name="connsiteX24" fmla="*/ 8029891 w 12192000"/>
              <a:gd name="connsiteY24" fmla="*/ 2450553 h 6858000"/>
              <a:gd name="connsiteX25" fmla="*/ 8067185 w 12192000"/>
              <a:gd name="connsiteY25" fmla="*/ 2450553 h 6858000"/>
              <a:gd name="connsiteX26" fmla="*/ 8759999 w 12192000"/>
              <a:gd name="connsiteY26" fmla="*/ 1760941 h 6858000"/>
              <a:gd name="connsiteX27" fmla="*/ 8759999 w 12192000"/>
              <a:gd name="connsiteY2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861287 w 12192000"/>
              <a:gd name="connsiteY8" fmla="*/ 4509000 h 6858000"/>
              <a:gd name="connsiteX9" fmla="*/ 1869932 w 12192000"/>
              <a:gd name="connsiteY9" fmla="*/ 4509000 h 6858000"/>
              <a:gd name="connsiteX10" fmla="*/ 2227928 w 12192000"/>
              <a:gd name="connsiteY10" fmla="*/ 4509000 h 6858000"/>
              <a:gd name="connsiteX11" fmla="*/ 2238276 w 12192000"/>
              <a:gd name="connsiteY11" fmla="*/ 4509000 h 6858000"/>
              <a:gd name="connsiteX12" fmla="*/ 2594568 w 12192000"/>
              <a:gd name="connsiteY12" fmla="*/ 4509000 h 6858000"/>
              <a:gd name="connsiteX13" fmla="*/ 2606619 w 12192000"/>
              <a:gd name="connsiteY13" fmla="*/ 4509000 h 6858000"/>
              <a:gd name="connsiteX14" fmla="*/ 2764039 w 12192000"/>
              <a:gd name="connsiteY14" fmla="*/ 4509000 h 6858000"/>
              <a:gd name="connsiteX15" fmla="*/ 2776877 w 12192000"/>
              <a:gd name="connsiteY15" fmla="*/ 4509000 h 6858000"/>
              <a:gd name="connsiteX16" fmla="*/ 2916890 w 12192000"/>
              <a:gd name="connsiteY16" fmla="*/ 4509000 h 6858000"/>
              <a:gd name="connsiteX17" fmla="*/ 2930438 w 12192000"/>
              <a:gd name="connsiteY17" fmla="*/ 4509000 h 6858000"/>
              <a:gd name="connsiteX18" fmla="*/ 6257159 w 12192000"/>
              <a:gd name="connsiteY18" fmla="*/ 4509000 h 6858000"/>
              <a:gd name="connsiteX19" fmla="*/ 6286220 w 12192000"/>
              <a:gd name="connsiteY19" fmla="*/ 4509000 h 6858000"/>
              <a:gd name="connsiteX20" fmla="*/ 6979034 w 12192000"/>
              <a:gd name="connsiteY20" fmla="*/ 3819388 h 6858000"/>
              <a:gd name="connsiteX21" fmla="*/ 6979034 w 12192000"/>
              <a:gd name="connsiteY21" fmla="*/ 3140165 h 6858000"/>
              <a:gd name="connsiteX22" fmla="*/ 7671849 w 12192000"/>
              <a:gd name="connsiteY22" fmla="*/ 2450553 h 6858000"/>
              <a:gd name="connsiteX23" fmla="*/ 8029891 w 12192000"/>
              <a:gd name="connsiteY23" fmla="*/ 2450553 h 6858000"/>
              <a:gd name="connsiteX24" fmla="*/ 8067185 w 12192000"/>
              <a:gd name="connsiteY24" fmla="*/ 2450553 h 6858000"/>
              <a:gd name="connsiteX25" fmla="*/ 8759999 w 12192000"/>
              <a:gd name="connsiteY25" fmla="*/ 1760941 h 6858000"/>
              <a:gd name="connsiteX26" fmla="*/ 8759999 w 12192000"/>
              <a:gd name="connsiteY2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1869932 w 12192000"/>
              <a:gd name="connsiteY8" fmla="*/ 4509000 h 6858000"/>
              <a:gd name="connsiteX9" fmla="*/ 2227928 w 12192000"/>
              <a:gd name="connsiteY9" fmla="*/ 4509000 h 6858000"/>
              <a:gd name="connsiteX10" fmla="*/ 2238276 w 12192000"/>
              <a:gd name="connsiteY10" fmla="*/ 4509000 h 6858000"/>
              <a:gd name="connsiteX11" fmla="*/ 2594568 w 12192000"/>
              <a:gd name="connsiteY11" fmla="*/ 4509000 h 6858000"/>
              <a:gd name="connsiteX12" fmla="*/ 2606619 w 12192000"/>
              <a:gd name="connsiteY12" fmla="*/ 4509000 h 6858000"/>
              <a:gd name="connsiteX13" fmla="*/ 2764039 w 12192000"/>
              <a:gd name="connsiteY13" fmla="*/ 4509000 h 6858000"/>
              <a:gd name="connsiteX14" fmla="*/ 2776877 w 12192000"/>
              <a:gd name="connsiteY14" fmla="*/ 4509000 h 6858000"/>
              <a:gd name="connsiteX15" fmla="*/ 2916890 w 12192000"/>
              <a:gd name="connsiteY15" fmla="*/ 4509000 h 6858000"/>
              <a:gd name="connsiteX16" fmla="*/ 2930438 w 12192000"/>
              <a:gd name="connsiteY16" fmla="*/ 4509000 h 6858000"/>
              <a:gd name="connsiteX17" fmla="*/ 6257159 w 12192000"/>
              <a:gd name="connsiteY17" fmla="*/ 4509000 h 6858000"/>
              <a:gd name="connsiteX18" fmla="*/ 6286220 w 12192000"/>
              <a:gd name="connsiteY18" fmla="*/ 4509000 h 6858000"/>
              <a:gd name="connsiteX19" fmla="*/ 6979034 w 12192000"/>
              <a:gd name="connsiteY19" fmla="*/ 3819388 h 6858000"/>
              <a:gd name="connsiteX20" fmla="*/ 6979034 w 12192000"/>
              <a:gd name="connsiteY20" fmla="*/ 3140165 h 6858000"/>
              <a:gd name="connsiteX21" fmla="*/ 7671849 w 12192000"/>
              <a:gd name="connsiteY21" fmla="*/ 2450553 h 6858000"/>
              <a:gd name="connsiteX22" fmla="*/ 8029891 w 12192000"/>
              <a:gd name="connsiteY22" fmla="*/ 2450553 h 6858000"/>
              <a:gd name="connsiteX23" fmla="*/ 8067185 w 12192000"/>
              <a:gd name="connsiteY23" fmla="*/ 2450553 h 6858000"/>
              <a:gd name="connsiteX24" fmla="*/ 8759999 w 12192000"/>
              <a:gd name="connsiteY24" fmla="*/ 1760941 h 6858000"/>
              <a:gd name="connsiteX25" fmla="*/ 8759999 w 12192000"/>
              <a:gd name="connsiteY2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2227928 w 12192000"/>
              <a:gd name="connsiteY8" fmla="*/ 4509000 h 6858000"/>
              <a:gd name="connsiteX9" fmla="*/ 2238276 w 12192000"/>
              <a:gd name="connsiteY9" fmla="*/ 4509000 h 6858000"/>
              <a:gd name="connsiteX10" fmla="*/ 2594568 w 12192000"/>
              <a:gd name="connsiteY10" fmla="*/ 4509000 h 6858000"/>
              <a:gd name="connsiteX11" fmla="*/ 2606619 w 12192000"/>
              <a:gd name="connsiteY11" fmla="*/ 4509000 h 6858000"/>
              <a:gd name="connsiteX12" fmla="*/ 2764039 w 12192000"/>
              <a:gd name="connsiteY12" fmla="*/ 4509000 h 6858000"/>
              <a:gd name="connsiteX13" fmla="*/ 2776877 w 12192000"/>
              <a:gd name="connsiteY13" fmla="*/ 4509000 h 6858000"/>
              <a:gd name="connsiteX14" fmla="*/ 2916890 w 12192000"/>
              <a:gd name="connsiteY14" fmla="*/ 4509000 h 6858000"/>
              <a:gd name="connsiteX15" fmla="*/ 2930438 w 12192000"/>
              <a:gd name="connsiteY15" fmla="*/ 4509000 h 6858000"/>
              <a:gd name="connsiteX16" fmla="*/ 6257159 w 12192000"/>
              <a:gd name="connsiteY16" fmla="*/ 4509000 h 6858000"/>
              <a:gd name="connsiteX17" fmla="*/ 6286220 w 12192000"/>
              <a:gd name="connsiteY17" fmla="*/ 4509000 h 6858000"/>
              <a:gd name="connsiteX18" fmla="*/ 6979034 w 12192000"/>
              <a:gd name="connsiteY18" fmla="*/ 3819388 h 6858000"/>
              <a:gd name="connsiteX19" fmla="*/ 6979034 w 12192000"/>
              <a:gd name="connsiteY19" fmla="*/ 3140165 h 6858000"/>
              <a:gd name="connsiteX20" fmla="*/ 7671849 w 12192000"/>
              <a:gd name="connsiteY20" fmla="*/ 2450553 h 6858000"/>
              <a:gd name="connsiteX21" fmla="*/ 8029891 w 12192000"/>
              <a:gd name="connsiteY21" fmla="*/ 2450553 h 6858000"/>
              <a:gd name="connsiteX22" fmla="*/ 8067185 w 12192000"/>
              <a:gd name="connsiteY22" fmla="*/ 2450553 h 6858000"/>
              <a:gd name="connsiteX23" fmla="*/ 8759999 w 12192000"/>
              <a:gd name="connsiteY23" fmla="*/ 1760941 h 6858000"/>
              <a:gd name="connsiteX24" fmla="*/ 8759999 w 12192000"/>
              <a:gd name="connsiteY2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238276 w 12192000"/>
              <a:gd name="connsiteY8" fmla="*/ 4509000 h 6858000"/>
              <a:gd name="connsiteX9" fmla="*/ 2594568 w 12192000"/>
              <a:gd name="connsiteY9" fmla="*/ 4509000 h 6858000"/>
              <a:gd name="connsiteX10" fmla="*/ 2606619 w 12192000"/>
              <a:gd name="connsiteY10" fmla="*/ 4509000 h 6858000"/>
              <a:gd name="connsiteX11" fmla="*/ 2764039 w 12192000"/>
              <a:gd name="connsiteY11" fmla="*/ 4509000 h 6858000"/>
              <a:gd name="connsiteX12" fmla="*/ 2776877 w 12192000"/>
              <a:gd name="connsiteY12" fmla="*/ 4509000 h 6858000"/>
              <a:gd name="connsiteX13" fmla="*/ 2916890 w 12192000"/>
              <a:gd name="connsiteY13" fmla="*/ 4509000 h 6858000"/>
              <a:gd name="connsiteX14" fmla="*/ 2930438 w 12192000"/>
              <a:gd name="connsiteY14" fmla="*/ 4509000 h 6858000"/>
              <a:gd name="connsiteX15" fmla="*/ 6257159 w 12192000"/>
              <a:gd name="connsiteY15" fmla="*/ 4509000 h 6858000"/>
              <a:gd name="connsiteX16" fmla="*/ 6286220 w 12192000"/>
              <a:gd name="connsiteY16" fmla="*/ 4509000 h 6858000"/>
              <a:gd name="connsiteX17" fmla="*/ 6979034 w 12192000"/>
              <a:gd name="connsiteY17" fmla="*/ 3819388 h 6858000"/>
              <a:gd name="connsiteX18" fmla="*/ 6979034 w 12192000"/>
              <a:gd name="connsiteY18" fmla="*/ 3140165 h 6858000"/>
              <a:gd name="connsiteX19" fmla="*/ 7671849 w 12192000"/>
              <a:gd name="connsiteY19" fmla="*/ 2450553 h 6858000"/>
              <a:gd name="connsiteX20" fmla="*/ 8029891 w 12192000"/>
              <a:gd name="connsiteY20" fmla="*/ 2450553 h 6858000"/>
              <a:gd name="connsiteX21" fmla="*/ 8067185 w 12192000"/>
              <a:gd name="connsiteY21" fmla="*/ 2450553 h 6858000"/>
              <a:gd name="connsiteX22" fmla="*/ 8759999 w 12192000"/>
              <a:gd name="connsiteY22" fmla="*/ 1760941 h 6858000"/>
              <a:gd name="connsiteX23" fmla="*/ 8759999 w 12192000"/>
              <a:gd name="connsiteY2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606619 w 12192000"/>
              <a:gd name="connsiteY9" fmla="*/ 4509000 h 6858000"/>
              <a:gd name="connsiteX10" fmla="*/ 2764039 w 12192000"/>
              <a:gd name="connsiteY10" fmla="*/ 4509000 h 6858000"/>
              <a:gd name="connsiteX11" fmla="*/ 2776877 w 12192000"/>
              <a:gd name="connsiteY11" fmla="*/ 4509000 h 6858000"/>
              <a:gd name="connsiteX12" fmla="*/ 2916890 w 12192000"/>
              <a:gd name="connsiteY12" fmla="*/ 4509000 h 6858000"/>
              <a:gd name="connsiteX13" fmla="*/ 2930438 w 12192000"/>
              <a:gd name="connsiteY13" fmla="*/ 4509000 h 6858000"/>
              <a:gd name="connsiteX14" fmla="*/ 6257159 w 12192000"/>
              <a:gd name="connsiteY14" fmla="*/ 4509000 h 6858000"/>
              <a:gd name="connsiteX15" fmla="*/ 6286220 w 12192000"/>
              <a:gd name="connsiteY15" fmla="*/ 4509000 h 6858000"/>
              <a:gd name="connsiteX16" fmla="*/ 6979034 w 12192000"/>
              <a:gd name="connsiteY16" fmla="*/ 3819388 h 6858000"/>
              <a:gd name="connsiteX17" fmla="*/ 6979034 w 12192000"/>
              <a:gd name="connsiteY17" fmla="*/ 3140165 h 6858000"/>
              <a:gd name="connsiteX18" fmla="*/ 7671849 w 12192000"/>
              <a:gd name="connsiteY18" fmla="*/ 2450553 h 6858000"/>
              <a:gd name="connsiteX19" fmla="*/ 8029891 w 12192000"/>
              <a:gd name="connsiteY19" fmla="*/ 2450553 h 6858000"/>
              <a:gd name="connsiteX20" fmla="*/ 8067185 w 12192000"/>
              <a:gd name="connsiteY20" fmla="*/ 2450553 h 6858000"/>
              <a:gd name="connsiteX21" fmla="*/ 8759999 w 12192000"/>
              <a:gd name="connsiteY21" fmla="*/ 1760941 h 6858000"/>
              <a:gd name="connsiteX22" fmla="*/ 8759999 w 12192000"/>
              <a:gd name="connsiteY2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776877 w 12192000"/>
              <a:gd name="connsiteY10" fmla="*/ 4509000 h 6858000"/>
              <a:gd name="connsiteX11" fmla="*/ 2916890 w 12192000"/>
              <a:gd name="connsiteY11" fmla="*/ 4509000 h 6858000"/>
              <a:gd name="connsiteX12" fmla="*/ 2930438 w 12192000"/>
              <a:gd name="connsiteY12" fmla="*/ 4509000 h 6858000"/>
              <a:gd name="connsiteX13" fmla="*/ 6257159 w 12192000"/>
              <a:gd name="connsiteY13" fmla="*/ 4509000 h 6858000"/>
              <a:gd name="connsiteX14" fmla="*/ 6286220 w 12192000"/>
              <a:gd name="connsiteY14" fmla="*/ 4509000 h 6858000"/>
              <a:gd name="connsiteX15" fmla="*/ 6979034 w 12192000"/>
              <a:gd name="connsiteY15" fmla="*/ 3819388 h 6858000"/>
              <a:gd name="connsiteX16" fmla="*/ 6979034 w 12192000"/>
              <a:gd name="connsiteY16" fmla="*/ 3140165 h 6858000"/>
              <a:gd name="connsiteX17" fmla="*/ 7671849 w 12192000"/>
              <a:gd name="connsiteY17" fmla="*/ 2450553 h 6858000"/>
              <a:gd name="connsiteX18" fmla="*/ 8029891 w 12192000"/>
              <a:gd name="connsiteY18" fmla="*/ 2450553 h 6858000"/>
              <a:gd name="connsiteX19" fmla="*/ 8067185 w 12192000"/>
              <a:gd name="connsiteY19" fmla="*/ 2450553 h 6858000"/>
              <a:gd name="connsiteX20" fmla="*/ 8759999 w 12192000"/>
              <a:gd name="connsiteY20" fmla="*/ 1760941 h 6858000"/>
              <a:gd name="connsiteX21" fmla="*/ 8759999 w 12192000"/>
              <a:gd name="connsiteY2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916890 w 12192000"/>
              <a:gd name="connsiteY10" fmla="*/ 4509000 h 6858000"/>
              <a:gd name="connsiteX11" fmla="*/ 2930438 w 12192000"/>
              <a:gd name="connsiteY11" fmla="*/ 4509000 h 6858000"/>
              <a:gd name="connsiteX12" fmla="*/ 6257159 w 12192000"/>
              <a:gd name="connsiteY12" fmla="*/ 4509000 h 6858000"/>
              <a:gd name="connsiteX13" fmla="*/ 6286220 w 12192000"/>
              <a:gd name="connsiteY13" fmla="*/ 4509000 h 6858000"/>
              <a:gd name="connsiteX14" fmla="*/ 6979034 w 12192000"/>
              <a:gd name="connsiteY14" fmla="*/ 3819388 h 6858000"/>
              <a:gd name="connsiteX15" fmla="*/ 6979034 w 12192000"/>
              <a:gd name="connsiteY15" fmla="*/ 3140165 h 6858000"/>
              <a:gd name="connsiteX16" fmla="*/ 7671849 w 12192000"/>
              <a:gd name="connsiteY16" fmla="*/ 2450553 h 6858000"/>
              <a:gd name="connsiteX17" fmla="*/ 8029891 w 12192000"/>
              <a:gd name="connsiteY17" fmla="*/ 2450553 h 6858000"/>
              <a:gd name="connsiteX18" fmla="*/ 8067185 w 12192000"/>
              <a:gd name="connsiteY18" fmla="*/ 2450553 h 6858000"/>
              <a:gd name="connsiteX19" fmla="*/ 8759999 w 12192000"/>
              <a:gd name="connsiteY19" fmla="*/ 1760941 h 6858000"/>
              <a:gd name="connsiteX20" fmla="*/ 8759999 w 12192000"/>
              <a:gd name="connsiteY2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2930438 w 12192000"/>
              <a:gd name="connsiteY10" fmla="*/ 4509000 h 6858000"/>
              <a:gd name="connsiteX11" fmla="*/ 6257159 w 12192000"/>
              <a:gd name="connsiteY11" fmla="*/ 4509000 h 6858000"/>
              <a:gd name="connsiteX12" fmla="*/ 6286220 w 12192000"/>
              <a:gd name="connsiteY12" fmla="*/ 4509000 h 6858000"/>
              <a:gd name="connsiteX13" fmla="*/ 6979034 w 12192000"/>
              <a:gd name="connsiteY13" fmla="*/ 3819388 h 6858000"/>
              <a:gd name="connsiteX14" fmla="*/ 6979034 w 12192000"/>
              <a:gd name="connsiteY14" fmla="*/ 3140165 h 6858000"/>
              <a:gd name="connsiteX15" fmla="*/ 7671849 w 12192000"/>
              <a:gd name="connsiteY15" fmla="*/ 2450553 h 6858000"/>
              <a:gd name="connsiteX16" fmla="*/ 8029891 w 12192000"/>
              <a:gd name="connsiteY16" fmla="*/ 2450553 h 6858000"/>
              <a:gd name="connsiteX17" fmla="*/ 8067185 w 12192000"/>
              <a:gd name="connsiteY17" fmla="*/ 2450553 h 6858000"/>
              <a:gd name="connsiteX18" fmla="*/ 8759999 w 12192000"/>
              <a:gd name="connsiteY18" fmla="*/ 1760941 h 6858000"/>
              <a:gd name="connsiteX19" fmla="*/ 8759999 w 12192000"/>
              <a:gd name="connsiteY1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6257159 w 12192000"/>
              <a:gd name="connsiteY10" fmla="*/ 4509000 h 6858000"/>
              <a:gd name="connsiteX11" fmla="*/ 6286220 w 12192000"/>
              <a:gd name="connsiteY11" fmla="*/ 4509000 h 6858000"/>
              <a:gd name="connsiteX12" fmla="*/ 6979034 w 12192000"/>
              <a:gd name="connsiteY12" fmla="*/ 3819388 h 6858000"/>
              <a:gd name="connsiteX13" fmla="*/ 6979034 w 12192000"/>
              <a:gd name="connsiteY13" fmla="*/ 3140165 h 6858000"/>
              <a:gd name="connsiteX14" fmla="*/ 7671849 w 12192000"/>
              <a:gd name="connsiteY14" fmla="*/ 2450553 h 6858000"/>
              <a:gd name="connsiteX15" fmla="*/ 8029891 w 12192000"/>
              <a:gd name="connsiteY15" fmla="*/ 2450553 h 6858000"/>
              <a:gd name="connsiteX16" fmla="*/ 8067185 w 12192000"/>
              <a:gd name="connsiteY16" fmla="*/ 2450553 h 6858000"/>
              <a:gd name="connsiteX17" fmla="*/ 8759999 w 12192000"/>
              <a:gd name="connsiteY17" fmla="*/ 1760941 h 6858000"/>
              <a:gd name="connsiteX18" fmla="*/ 8759999 w 12192000"/>
              <a:gd name="connsiteY1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916890 w 12192000"/>
              <a:gd name="connsiteY8" fmla="*/ 4509000 h 6858000"/>
              <a:gd name="connsiteX9" fmla="*/ 6257159 w 12192000"/>
              <a:gd name="connsiteY9" fmla="*/ 4509000 h 6858000"/>
              <a:gd name="connsiteX10" fmla="*/ 6286220 w 12192000"/>
              <a:gd name="connsiteY10" fmla="*/ 4509000 h 6858000"/>
              <a:gd name="connsiteX11" fmla="*/ 6979034 w 12192000"/>
              <a:gd name="connsiteY11" fmla="*/ 3819388 h 6858000"/>
              <a:gd name="connsiteX12" fmla="*/ 6979034 w 12192000"/>
              <a:gd name="connsiteY12" fmla="*/ 3140165 h 6858000"/>
              <a:gd name="connsiteX13" fmla="*/ 7671849 w 12192000"/>
              <a:gd name="connsiteY13" fmla="*/ 2450553 h 6858000"/>
              <a:gd name="connsiteX14" fmla="*/ 8029891 w 12192000"/>
              <a:gd name="connsiteY14" fmla="*/ 2450553 h 6858000"/>
              <a:gd name="connsiteX15" fmla="*/ 8067185 w 12192000"/>
              <a:gd name="connsiteY15" fmla="*/ 2450553 h 6858000"/>
              <a:gd name="connsiteX16" fmla="*/ 8759999 w 12192000"/>
              <a:gd name="connsiteY16" fmla="*/ 1760941 h 6858000"/>
              <a:gd name="connsiteX17" fmla="*/ 8759999 w 12192000"/>
              <a:gd name="connsiteY1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6257159 w 12192000"/>
              <a:gd name="connsiteY8" fmla="*/ 4509000 h 6858000"/>
              <a:gd name="connsiteX9" fmla="*/ 6286220 w 12192000"/>
              <a:gd name="connsiteY9" fmla="*/ 4509000 h 6858000"/>
              <a:gd name="connsiteX10" fmla="*/ 6979034 w 12192000"/>
              <a:gd name="connsiteY10" fmla="*/ 3819388 h 6858000"/>
              <a:gd name="connsiteX11" fmla="*/ 6979034 w 12192000"/>
              <a:gd name="connsiteY11" fmla="*/ 3140165 h 6858000"/>
              <a:gd name="connsiteX12" fmla="*/ 7671849 w 12192000"/>
              <a:gd name="connsiteY12" fmla="*/ 2450553 h 6858000"/>
              <a:gd name="connsiteX13" fmla="*/ 8029891 w 12192000"/>
              <a:gd name="connsiteY13" fmla="*/ 2450553 h 6858000"/>
              <a:gd name="connsiteX14" fmla="*/ 8067185 w 12192000"/>
              <a:gd name="connsiteY14" fmla="*/ 2450553 h 6858000"/>
              <a:gd name="connsiteX15" fmla="*/ 8759999 w 12192000"/>
              <a:gd name="connsiteY15" fmla="*/ 1760941 h 6858000"/>
              <a:gd name="connsiteX16" fmla="*/ 8759999 w 12192000"/>
              <a:gd name="connsiteY1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6257159 w 12192000"/>
              <a:gd name="connsiteY7" fmla="*/ 4509000 h 6858000"/>
              <a:gd name="connsiteX8" fmla="*/ 6286220 w 12192000"/>
              <a:gd name="connsiteY8" fmla="*/ 4509000 h 6858000"/>
              <a:gd name="connsiteX9" fmla="*/ 6979034 w 12192000"/>
              <a:gd name="connsiteY9" fmla="*/ 3819388 h 6858000"/>
              <a:gd name="connsiteX10" fmla="*/ 6979034 w 12192000"/>
              <a:gd name="connsiteY10" fmla="*/ 3140165 h 6858000"/>
              <a:gd name="connsiteX11" fmla="*/ 7671849 w 12192000"/>
              <a:gd name="connsiteY11" fmla="*/ 2450553 h 6858000"/>
              <a:gd name="connsiteX12" fmla="*/ 8029891 w 12192000"/>
              <a:gd name="connsiteY12" fmla="*/ 2450553 h 6858000"/>
              <a:gd name="connsiteX13" fmla="*/ 8067185 w 12192000"/>
              <a:gd name="connsiteY13" fmla="*/ 2450553 h 6858000"/>
              <a:gd name="connsiteX14" fmla="*/ 8759999 w 12192000"/>
              <a:gd name="connsiteY14" fmla="*/ 1760941 h 6858000"/>
              <a:gd name="connsiteX15" fmla="*/ 8759999 w 12192000"/>
              <a:gd name="connsiteY1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286220 w 12192000"/>
              <a:gd name="connsiteY7" fmla="*/ 4509000 h 6858000"/>
              <a:gd name="connsiteX8" fmla="*/ 6979034 w 12192000"/>
              <a:gd name="connsiteY8" fmla="*/ 3819388 h 6858000"/>
              <a:gd name="connsiteX9" fmla="*/ 6979034 w 12192000"/>
              <a:gd name="connsiteY9" fmla="*/ 3140165 h 6858000"/>
              <a:gd name="connsiteX10" fmla="*/ 7671849 w 12192000"/>
              <a:gd name="connsiteY10" fmla="*/ 2450553 h 6858000"/>
              <a:gd name="connsiteX11" fmla="*/ 8029891 w 12192000"/>
              <a:gd name="connsiteY11" fmla="*/ 2450553 h 6858000"/>
              <a:gd name="connsiteX12" fmla="*/ 8067185 w 12192000"/>
              <a:gd name="connsiteY12" fmla="*/ 2450553 h 6858000"/>
              <a:gd name="connsiteX13" fmla="*/ 8759999 w 12192000"/>
              <a:gd name="connsiteY13" fmla="*/ 1760941 h 6858000"/>
              <a:gd name="connsiteX14" fmla="*/ 8759999 w 12192000"/>
              <a:gd name="connsiteY1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979034 w 12192000"/>
              <a:gd name="connsiteY7" fmla="*/ 3819388 h 6858000"/>
              <a:gd name="connsiteX8" fmla="*/ 6979034 w 12192000"/>
              <a:gd name="connsiteY8" fmla="*/ 3140165 h 6858000"/>
              <a:gd name="connsiteX9" fmla="*/ 7671849 w 12192000"/>
              <a:gd name="connsiteY9" fmla="*/ 2450553 h 6858000"/>
              <a:gd name="connsiteX10" fmla="*/ 8029891 w 12192000"/>
              <a:gd name="connsiteY10" fmla="*/ 2450553 h 6858000"/>
              <a:gd name="connsiteX11" fmla="*/ 8067185 w 12192000"/>
              <a:gd name="connsiteY11" fmla="*/ 2450553 h 6858000"/>
              <a:gd name="connsiteX12" fmla="*/ 8759999 w 12192000"/>
              <a:gd name="connsiteY12" fmla="*/ 1760941 h 6858000"/>
              <a:gd name="connsiteX13" fmla="*/ 8759999 w 12192000"/>
              <a:gd name="connsiteY1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819388 h 6858000"/>
              <a:gd name="connsiteX7" fmla="*/ 6979034 w 12192000"/>
              <a:gd name="connsiteY7" fmla="*/ 3140165 h 6858000"/>
              <a:gd name="connsiteX8" fmla="*/ 7671849 w 12192000"/>
              <a:gd name="connsiteY8" fmla="*/ 2450553 h 6858000"/>
              <a:gd name="connsiteX9" fmla="*/ 8029891 w 12192000"/>
              <a:gd name="connsiteY9" fmla="*/ 2450553 h 6858000"/>
              <a:gd name="connsiteX10" fmla="*/ 8067185 w 12192000"/>
              <a:gd name="connsiteY10" fmla="*/ 2450553 h 6858000"/>
              <a:gd name="connsiteX11" fmla="*/ 8759999 w 12192000"/>
              <a:gd name="connsiteY11" fmla="*/ 1760941 h 6858000"/>
              <a:gd name="connsiteX12" fmla="*/ 8759999 w 12192000"/>
              <a:gd name="connsiteY1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140165 h 6858000"/>
              <a:gd name="connsiteX7" fmla="*/ 7671849 w 12192000"/>
              <a:gd name="connsiteY7" fmla="*/ 2450553 h 6858000"/>
              <a:gd name="connsiteX8" fmla="*/ 8029891 w 12192000"/>
              <a:gd name="connsiteY8" fmla="*/ 2450553 h 6858000"/>
              <a:gd name="connsiteX9" fmla="*/ 8067185 w 12192000"/>
              <a:gd name="connsiteY9" fmla="*/ 2450553 h 6858000"/>
              <a:gd name="connsiteX10" fmla="*/ 8759999 w 12192000"/>
              <a:gd name="connsiteY10" fmla="*/ 1760941 h 6858000"/>
              <a:gd name="connsiteX11" fmla="*/ 8759999 w 12192000"/>
              <a:gd name="connsiteY1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7671849 w 12192000"/>
              <a:gd name="connsiteY6" fmla="*/ 2450553 h 6858000"/>
              <a:gd name="connsiteX7" fmla="*/ 8029891 w 12192000"/>
              <a:gd name="connsiteY7" fmla="*/ 2450553 h 6858000"/>
              <a:gd name="connsiteX8" fmla="*/ 8067185 w 12192000"/>
              <a:gd name="connsiteY8" fmla="*/ 2450553 h 6858000"/>
              <a:gd name="connsiteX9" fmla="*/ 8759999 w 12192000"/>
              <a:gd name="connsiteY9" fmla="*/ 1760941 h 6858000"/>
              <a:gd name="connsiteX10" fmla="*/ 8759999 w 12192000"/>
              <a:gd name="connsiteY1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067185 w 12192000"/>
              <a:gd name="connsiteY7" fmla="*/ 2450553 h 6858000"/>
              <a:gd name="connsiteX8" fmla="*/ 8759999 w 12192000"/>
              <a:gd name="connsiteY8" fmla="*/ 1760941 h 6858000"/>
              <a:gd name="connsiteX9" fmla="*/ 8759999 w 12192000"/>
              <a:gd name="connsiteY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759999 w 12192000"/>
              <a:gd name="connsiteY7" fmla="*/ 1760941 h 6858000"/>
              <a:gd name="connsiteX8" fmla="*/ 8759999 w 12192000"/>
              <a:gd name="connsiteY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1760941 h 6858000"/>
              <a:gd name="connsiteX7" fmla="*/ 8759999 w 12192000"/>
              <a:gd name="connsiteY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6" fmla="*/ 8759999 w 12192000"/>
              <a:gd name="connsiteY6" fmla="*/ 0 h 6858000"/>
              <a:gd name="connsiteX0" fmla="*/ 8759999 w 12192000"/>
              <a:gd name="connsiteY0" fmla="*/ 508523 h 7366523"/>
              <a:gd name="connsiteX1" fmla="*/ 12192000 w 12192000"/>
              <a:gd name="connsiteY1" fmla="*/ 508523 h 7366523"/>
              <a:gd name="connsiteX2" fmla="*/ 12192000 w 12192000"/>
              <a:gd name="connsiteY2" fmla="*/ 7366523 h 7366523"/>
              <a:gd name="connsiteX3" fmla="*/ 0 w 12192000"/>
              <a:gd name="connsiteY3" fmla="*/ 7366523 h 7366523"/>
              <a:gd name="connsiteX4" fmla="*/ 0 w 12192000"/>
              <a:gd name="connsiteY4" fmla="*/ 5017523 h 7366523"/>
              <a:gd name="connsiteX5" fmla="*/ 9145 w 12192000"/>
              <a:gd name="connsiteY5" fmla="*/ 518675 h 7366523"/>
              <a:gd name="connsiteX6" fmla="*/ 8759999 w 12192000"/>
              <a:gd name="connsiteY6" fmla="*/ 508523 h 7366523"/>
              <a:gd name="connsiteX0" fmla="*/ 8759999 w 12192000"/>
              <a:gd name="connsiteY0" fmla="*/ 568584 h 7426584"/>
              <a:gd name="connsiteX1" fmla="*/ 12192000 w 12192000"/>
              <a:gd name="connsiteY1" fmla="*/ 568584 h 7426584"/>
              <a:gd name="connsiteX2" fmla="*/ 12192000 w 12192000"/>
              <a:gd name="connsiteY2" fmla="*/ 7426584 h 7426584"/>
              <a:gd name="connsiteX3" fmla="*/ 0 w 12192000"/>
              <a:gd name="connsiteY3" fmla="*/ 7426584 h 7426584"/>
              <a:gd name="connsiteX4" fmla="*/ 0 w 12192000"/>
              <a:gd name="connsiteY4" fmla="*/ 5077584 h 7426584"/>
              <a:gd name="connsiteX5" fmla="*/ 9145 w 12192000"/>
              <a:gd name="connsiteY5" fmla="*/ 578736 h 7426584"/>
              <a:gd name="connsiteX6" fmla="*/ 8759999 w 12192000"/>
              <a:gd name="connsiteY6" fmla="*/ 568584 h 7426584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5 w 12192000"/>
              <a:gd name="connsiteY4" fmla="*/ 101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9145" y="10152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ubicBezTo>
                  <a:pt x="3048" y="4575384"/>
                  <a:pt x="6097" y="2292768"/>
                  <a:pt x="9145" y="10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98504D7C-4189-7C4A-B9EA-A897A2DBA5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600" y="1052736"/>
            <a:ext cx="11836800" cy="609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F69F91-62F3-6245-A153-1F5FB4B75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4000" y="5833800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4000" y="198884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11284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 err="1"/>
              <a:t>Subtitle</a:t>
            </a:r>
            <a:r>
              <a:rPr lang="de-DE" dirty="0"/>
              <a:t> | </a:t>
            </a:r>
            <a:r>
              <a:rPr lang="de-DE" dirty="0" err="1"/>
              <a:t>Author</a:t>
            </a:r>
            <a:r>
              <a:rPr lang="de-DE" dirty="0"/>
              <a:t>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6853595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623888" y="0"/>
            <a:ext cx="11568112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4152653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940BC4C-F4A3-4E12-BC8F-CBF3D8C0B1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3774" y="6264638"/>
            <a:ext cx="385230" cy="360000"/>
          </a:xfrm>
        </p:spPr>
        <p:txBody>
          <a:bodyPr/>
          <a:lstStyle>
            <a:lvl1pPr>
              <a:defRPr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6D02548-B012-465D-97A4-D547D95637A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9048FC7-57E7-4B9F-8B33-D7C7AEA11A0A}"/>
              </a:ext>
            </a:extLst>
          </p:cNvPr>
          <p:cNvSpPr/>
          <p:nvPr userDrawn="1"/>
        </p:nvSpPr>
        <p:spPr>
          <a:xfrm>
            <a:off x="9490794" y="835447"/>
            <a:ext cx="2377012" cy="2558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CA4E2FF-E020-43CF-9048-6A122D49C418}"/>
              </a:ext>
            </a:extLst>
          </p:cNvPr>
          <p:cNvSpPr/>
          <p:nvPr userDrawn="1"/>
        </p:nvSpPr>
        <p:spPr>
          <a:xfrm>
            <a:off x="8627742" y="441786"/>
            <a:ext cx="789816" cy="5223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926ACDD-3B23-4E38-836F-12BD8ED8E079}"/>
              </a:ext>
            </a:extLst>
          </p:cNvPr>
          <p:cNvSpPr/>
          <p:nvPr userDrawn="1"/>
        </p:nvSpPr>
        <p:spPr>
          <a:xfrm>
            <a:off x="9490794" y="313661"/>
            <a:ext cx="2424539" cy="4874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85549EF-A377-4A9F-B00A-8358CF13A9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410371" y="0"/>
            <a:ext cx="6781629" cy="6858000"/>
          </a:xfrm>
          <a:custGeom>
            <a:avLst/>
            <a:gdLst>
              <a:gd name="connsiteX0" fmla="*/ 6249562 w 6780746"/>
              <a:gd name="connsiteY0" fmla="*/ 919156 h 6858000"/>
              <a:gd name="connsiteX1" fmla="*/ 6265994 w 6780746"/>
              <a:gd name="connsiteY1" fmla="*/ 924486 h 6858000"/>
              <a:gd name="connsiteX2" fmla="*/ 6274861 w 6780746"/>
              <a:gd name="connsiteY2" fmla="*/ 938657 h 6858000"/>
              <a:gd name="connsiteX3" fmla="*/ 6276163 w 6780746"/>
              <a:gd name="connsiteY3" fmla="*/ 949756 h 6858000"/>
              <a:gd name="connsiteX4" fmla="*/ 6275295 w 6780746"/>
              <a:gd name="connsiteY4" fmla="*/ 950634 h 6858000"/>
              <a:gd name="connsiteX5" fmla="*/ 6224016 w 6780746"/>
              <a:gd name="connsiteY5" fmla="*/ 950634 h 6858000"/>
              <a:gd name="connsiteX6" fmla="*/ 6223148 w 6780746"/>
              <a:gd name="connsiteY6" fmla="*/ 949756 h 6858000"/>
              <a:gd name="connsiteX7" fmla="*/ 6225132 w 6780746"/>
              <a:gd name="connsiteY7" fmla="*/ 937027 h 6858000"/>
              <a:gd name="connsiteX8" fmla="*/ 6233627 w 6780746"/>
              <a:gd name="connsiteY8" fmla="*/ 924047 h 6858000"/>
              <a:gd name="connsiteX9" fmla="*/ 6249562 w 6780746"/>
              <a:gd name="connsiteY9" fmla="*/ 919156 h 6858000"/>
              <a:gd name="connsiteX10" fmla="*/ 6068524 w 6780746"/>
              <a:gd name="connsiteY10" fmla="*/ 919156 h 6858000"/>
              <a:gd name="connsiteX11" fmla="*/ 6084211 w 6780746"/>
              <a:gd name="connsiteY11" fmla="*/ 924456 h 6858000"/>
              <a:gd name="connsiteX12" fmla="*/ 6092304 w 6780746"/>
              <a:gd name="connsiteY12" fmla="*/ 938111 h 6858000"/>
              <a:gd name="connsiteX13" fmla="*/ 6093549 w 6780746"/>
              <a:gd name="connsiteY13" fmla="*/ 945594 h 6858000"/>
              <a:gd name="connsiteX14" fmla="*/ 6093922 w 6780746"/>
              <a:gd name="connsiteY14" fmla="*/ 959000 h 6858000"/>
              <a:gd name="connsiteX15" fmla="*/ 6093549 w 6780746"/>
              <a:gd name="connsiteY15" fmla="*/ 972531 h 6858000"/>
              <a:gd name="connsiteX16" fmla="*/ 6092553 w 6780746"/>
              <a:gd name="connsiteY16" fmla="*/ 980200 h 6858000"/>
              <a:gd name="connsiteX17" fmla="*/ 6084585 w 6780746"/>
              <a:gd name="connsiteY17" fmla="*/ 993793 h 6858000"/>
              <a:gd name="connsiteX18" fmla="*/ 6068524 w 6780746"/>
              <a:gd name="connsiteY18" fmla="*/ 999093 h 6858000"/>
              <a:gd name="connsiteX19" fmla="*/ 6052463 w 6780746"/>
              <a:gd name="connsiteY19" fmla="*/ 993793 h 6858000"/>
              <a:gd name="connsiteX20" fmla="*/ 6043562 w 6780746"/>
              <a:gd name="connsiteY20" fmla="*/ 980200 h 6858000"/>
              <a:gd name="connsiteX21" fmla="*/ 6041321 w 6780746"/>
              <a:gd name="connsiteY21" fmla="*/ 959000 h 6858000"/>
              <a:gd name="connsiteX22" fmla="*/ 6043811 w 6780746"/>
              <a:gd name="connsiteY22" fmla="*/ 938111 h 6858000"/>
              <a:gd name="connsiteX23" fmla="*/ 6052775 w 6780746"/>
              <a:gd name="connsiteY23" fmla="*/ 924456 h 6858000"/>
              <a:gd name="connsiteX24" fmla="*/ 6068524 w 6780746"/>
              <a:gd name="connsiteY24" fmla="*/ 919156 h 6858000"/>
              <a:gd name="connsiteX25" fmla="*/ 5866380 w 6780746"/>
              <a:gd name="connsiteY25" fmla="*/ 919156 h 6858000"/>
              <a:gd name="connsiteX26" fmla="*/ 5882873 w 6780746"/>
              <a:gd name="connsiteY26" fmla="*/ 924486 h 6858000"/>
              <a:gd name="connsiteX27" fmla="*/ 5891678 w 6780746"/>
              <a:gd name="connsiteY27" fmla="*/ 938657 h 6858000"/>
              <a:gd name="connsiteX28" fmla="*/ 5893043 w 6780746"/>
              <a:gd name="connsiteY28" fmla="*/ 949756 h 6858000"/>
              <a:gd name="connsiteX29" fmla="*/ 5892175 w 6780746"/>
              <a:gd name="connsiteY29" fmla="*/ 950634 h 6858000"/>
              <a:gd name="connsiteX30" fmla="*/ 5840895 w 6780746"/>
              <a:gd name="connsiteY30" fmla="*/ 950634 h 6858000"/>
              <a:gd name="connsiteX31" fmla="*/ 5840027 w 6780746"/>
              <a:gd name="connsiteY31" fmla="*/ 949756 h 6858000"/>
              <a:gd name="connsiteX32" fmla="*/ 5842011 w 6780746"/>
              <a:gd name="connsiteY32" fmla="*/ 937027 h 6858000"/>
              <a:gd name="connsiteX33" fmla="*/ 5850506 w 6780746"/>
              <a:gd name="connsiteY33" fmla="*/ 924047 h 6858000"/>
              <a:gd name="connsiteX34" fmla="*/ 5866380 w 6780746"/>
              <a:gd name="connsiteY34" fmla="*/ 919156 h 6858000"/>
              <a:gd name="connsiteX35" fmla="*/ 5245135 w 6780746"/>
              <a:gd name="connsiteY35" fmla="*/ 919156 h 6858000"/>
              <a:gd name="connsiteX36" fmla="*/ 5261547 w 6780746"/>
              <a:gd name="connsiteY36" fmla="*/ 924486 h 6858000"/>
              <a:gd name="connsiteX37" fmla="*/ 5270403 w 6780746"/>
              <a:gd name="connsiteY37" fmla="*/ 938657 h 6858000"/>
              <a:gd name="connsiteX38" fmla="*/ 5271766 w 6780746"/>
              <a:gd name="connsiteY38" fmla="*/ 949756 h 6858000"/>
              <a:gd name="connsiteX39" fmla="*/ 5270837 w 6780746"/>
              <a:gd name="connsiteY39" fmla="*/ 950634 h 6858000"/>
              <a:gd name="connsiteX40" fmla="*/ 5219680 w 6780746"/>
              <a:gd name="connsiteY40" fmla="*/ 950634 h 6858000"/>
              <a:gd name="connsiteX41" fmla="*/ 5218751 w 6780746"/>
              <a:gd name="connsiteY41" fmla="*/ 949756 h 6858000"/>
              <a:gd name="connsiteX42" fmla="*/ 5220795 w 6780746"/>
              <a:gd name="connsiteY42" fmla="*/ 937027 h 6858000"/>
              <a:gd name="connsiteX43" fmla="*/ 5229279 w 6780746"/>
              <a:gd name="connsiteY43" fmla="*/ 924047 h 6858000"/>
              <a:gd name="connsiteX44" fmla="*/ 5245135 w 6780746"/>
              <a:gd name="connsiteY44" fmla="*/ 919156 h 6858000"/>
              <a:gd name="connsiteX45" fmla="*/ 4816277 w 6780746"/>
              <a:gd name="connsiteY45" fmla="*/ 919156 h 6858000"/>
              <a:gd name="connsiteX46" fmla="*/ 4832837 w 6780746"/>
              <a:gd name="connsiteY46" fmla="*/ 924486 h 6858000"/>
              <a:gd name="connsiteX47" fmla="*/ 4841773 w 6780746"/>
              <a:gd name="connsiteY47" fmla="*/ 938657 h 6858000"/>
              <a:gd name="connsiteX48" fmla="*/ 4843085 w 6780746"/>
              <a:gd name="connsiteY48" fmla="*/ 949756 h 6858000"/>
              <a:gd name="connsiteX49" fmla="*/ 4842211 w 6780746"/>
              <a:gd name="connsiteY49" fmla="*/ 950634 h 6858000"/>
              <a:gd name="connsiteX50" fmla="*/ 4790531 w 6780746"/>
              <a:gd name="connsiteY50" fmla="*/ 950634 h 6858000"/>
              <a:gd name="connsiteX51" fmla="*/ 4789655 w 6780746"/>
              <a:gd name="connsiteY51" fmla="*/ 949756 h 6858000"/>
              <a:gd name="connsiteX52" fmla="*/ 4791655 w 6780746"/>
              <a:gd name="connsiteY52" fmla="*/ 937027 h 6858000"/>
              <a:gd name="connsiteX53" fmla="*/ 4800279 w 6780746"/>
              <a:gd name="connsiteY53" fmla="*/ 924047 h 6858000"/>
              <a:gd name="connsiteX54" fmla="*/ 4816277 w 6780746"/>
              <a:gd name="connsiteY54" fmla="*/ 919156 h 6858000"/>
              <a:gd name="connsiteX55" fmla="*/ 4489662 w 6780746"/>
              <a:gd name="connsiteY55" fmla="*/ 919156 h 6858000"/>
              <a:gd name="connsiteX56" fmla="*/ 4506075 w 6780746"/>
              <a:gd name="connsiteY56" fmla="*/ 924486 h 6858000"/>
              <a:gd name="connsiteX57" fmla="*/ 4514931 w 6780746"/>
              <a:gd name="connsiteY57" fmla="*/ 938657 h 6858000"/>
              <a:gd name="connsiteX58" fmla="*/ 4516294 w 6780746"/>
              <a:gd name="connsiteY58" fmla="*/ 949756 h 6858000"/>
              <a:gd name="connsiteX59" fmla="*/ 4515364 w 6780746"/>
              <a:gd name="connsiteY59" fmla="*/ 950634 h 6858000"/>
              <a:gd name="connsiteX60" fmla="*/ 4464145 w 6780746"/>
              <a:gd name="connsiteY60" fmla="*/ 950634 h 6858000"/>
              <a:gd name="connsiteX61" fmla="*/ 4463278 w 6780746"/>
              <a:gd name="connsiteY61" fmla="*/ 949756 h 6858000"/>
              <a:gd name="connsiteX62" fmla="*/ 4465260 w 6780746"/>
              <a:gd name="connsiteY62" fmla="*/ 937027 h 6858000"/>
              <a:gd name="connsiteX63" fmla="*/ 4473807 w 6780746"/>
              <a:gd name="connsiteY63" fmla="*/ 924047 h 6858000"/>
              <a:gd name="connsiteX64" fmla="*/ 4489662 w 6780746"/>
              <a:gd name="connsiteY64" fmla="*/ 919156 h 6858000"/>
              <a:gd name="connsiteX65" fmla="*/ 6150415 w 6780746"/>
              <a:gd name="connsiteY65" fmla="*/ 902588 h 6858000"/>
              <a:gd name="connsiteX66" fmla="*/ 6148180 w 6780746"/>
              <a:gd name="connsiteY66" fmla="*/ 904825 h 6858000"/>
              <a:gd name="connsiteX67" fmla="*/ 6148180 w 6780746"/>
              <a:gd name="connsiteY67" fmla="*/ 1014252 h 6858000"/>
              <a:gd name="connsiteX68" fmla="*/ 6150415 w 6780746"/>
              <a:gd name="connsiteY68" fmla="*/ 1016489 h 6858000"/>
              <a:gd name="connsiteX69" fmla="*/ 6167421 w 6780746"/>
              <a:gd name="connsiteY69" fmla="*/ 1016489 h 6858000"/>
              <a:gd name="connsiteX70" fmla="*/ 6169718 w 6780746"/>
              <a:gd name="connsiteY70" fmla="*/ 1014252 h 6858000"/>
              <a:gd name="connsiteX71" fmla="*/ 6169718 w 6780746"/>
              <a:gd name="connsiteY71" fmla="*/ 904825 h 6858000"/>
              <a:gd name="connsiteX72" fmla="*/ 6167421 w 6780746"/>
              <a:gd name="connsiteY72" fmla="*/ 902588 h 6858000"/>
              <a:gd name="connsiteX73" fmla="*/ 6150415 w 6780746"/>
              <a:gd name="connsiteY73" fmla="*/ 902588 h 6858000"/>
              <a:gd name="connsiteX74" fmla="*/ 5584040 w 6780746"/>
              <a:gd name="connsiteY74" fmla="*/ 902588 h 6858000"/>
              <a:gd name="connsiteX75" fmla="*/ 5581990 w 6780746"/>
              <a:gd name="connsiteY75" fmla="*/ 904140 h 6858000"/>
              <a:gd name="connsiteX76" fmla="*/ 5582238 w 6780746"/>
              <a:gd name="connsiteY76" fmla="*/ 905010 h 6858000"/>
              <a:gd name="connsiteX77" fmla="*/ 5619631 w 6780746"/>
              <a:gd name="connsiteY77" fmla="*/ 1015960 h 6858000"/>
              <a:gd name="connsiteX78" fmla="*/ 5619631 w 6780746"/>
              <a:gd name="connsiteY78" fmla="*/ 1017326 h 6858000"/>
              <a:gd name="connsiteX79" fmla="*/ 5613171 w 6780746"/>
              <a:gd name="connsiteY79" fmla="*/ 1033779 h 6858000"/>
              <a:gd name="connsiteX80" fmla="*/ 5604662 w 6780746"/>
              <a:gd name="connsiteY80" fmla="*/ 1041291 h 6858000"/>
              <a:gd name="connsiteX81" fmla="*/ 5590499 w 6780746"/>
              <a:gd name="connsiteY81" fmla="*/ 1043526 h 6858000"/>
              <a:gd name="connsiteX82" fmla="*/ 5590065 w 6780746"/>
              <a:gd name="connsiteY82" fmla="*/ 1043526 h 6858000"/>
              <a:gd name="connsiteX83" fmla="*/ 5587829 w 6780746"/>
              <a:gd name="connsiteY83" fmla="*/ 1045762 h 6858000"/>
              <a:gd name="connsiteX84" fmla="*/ 5587829 w 6780746"/>
              <a:gd name="connsiteY84" fmla="*/ 1058986 h 6858000"/>
              <a:gd name="connsiteX85" fmla="*/ 5587829 w 6780746"/>
              <a:gd name="connsiteY85" fmla="*/ 1061221 h 6858000"/>
              <a:gd name="connsiteX86" fmla="*/ 5589382 w 6780746"/>
              <a:gd name="connsiteY86" fmla="*/ 1061221 h 6858000"/>
              <a:gd name="connsiteX87" fmla="*/ 5590935 w 6780746"/>
              <a:gd name="connsiteY87" fmla="*/ 1061221 h 6858000"/>
              <a:gd name="connsiteX88" fmla="*/ 5614289 w 6780746"/>
              <a:gd name="connsiteY88" fmla="*/ 1058117 h 6858000"/>
              <a:gd name="connsiteX89" fmla="*/ 5627706 w 6780746"/>
              <a:gd name="connsiteY89" fmla="*/ 1047438 h 6858000"/>
              <a:gd name="connsiteX90" fmla="*/ 5638017 w 6780746"/>
              <a:gd name="connsiteY90" fmla="*/ 1024466 h 6858000"/>
              <a:gd name="connsiteX91" fmla="*/ 5678889 w 6780746"/>
              <a:gd name="connsiteY91" fmla="*/ 905010 h 6858000"/>
              <a:gd name="connsiteX92" fmla="*/ 5677087 w 6780746"/>
              <a:gd name="connsiteY92" fmla="*/ 902588 h 6858000"/>
              <a:gd name="connsiteX93" fmla="*/ 5659323 w 6780746"/>
              <a:gd name="connsiteY93" fmla="*/ 902588 h 6858000"/>
              <a:gd name="connsiteX94" fmla="*/ 5656652 w 6780746"/>
              <a:gd name="connsiteY94" fmla="*/ 904327 h 6858000"/>
              <a:gd name="connsiteX95" fmla="*/ 5631557 w 6780746"/>
              <a:gd name="connsiteY95" fmla="*/ 988827 h 6858000"/>
              <a:gd name="connsiteX96" fmla="*/ 5630874 w 6780746"/>
              <a:gd name="connsiteY96" fmla="*/ 989324 h 6858000"/>
              <a:gd name="connsiteX97" fmla="*/ 5630191 w 6780746"/>
              <a:gd name="connsiteY97" fmla="*/ 988827 h 6858000"/>
              <a:gd name="connsiteX98" fmla="*/ 5604848 w 6780746"/>
              <a:gd name="connsiteY98" fmla="*/ 904327 h 6858000"/>
              <a:gd name="connsiteX99" fmla="*/ 5602177 w 6780746"/>
              <a:gd name="connsiteY99" fmla="*/ 902588 h 6858000"/>
              <a:gd name="connsiteX100" fmla="*/ 5584040 w 6780746"/>
              <a:gd name="connsiteY100" fmla="*/ 902588 h 6858000"/>
              <a:gd name="connsiteX101" fmla="*/ 4120144 w 6780746"/>
              <a:gd name="connsiteY101" fmla="*/ 902588 h 6858000"/>
              <a:gd name="connsiteX102" fmla="*/ 4117848 w 6780746"/>
              <a:gd name="connsiteY102" fmla="*/ 904823 h 6858000"/>
              <a:gd name="connsiteX103" fmla="*/ 4117848 w 6780746"/>
              <a:gd name="connsiteY103" fmla="*/ 981220 h 6858000"/>
              <a:gd name="connsiteX104" fmla="*/ 4123494 w 6780746"/>
              <a:gd name="connsiteY104" fmla="*/ 1001327 h 6858000"/>
              <a:gd name="connsiteX105" fmla="*/ 4138385 w 6780746"/>
              <a:gd name="connsiteY105" fmla="*/ 1013926 h 6858000"/>
              <a:gd name="connsiteX106" fmla="*/ 4158610 w 6780746"/>
              <a:gd name="connsiteY106" fmla="*/ 1018146 h 6858000"/>
              <a:gd name="connsiteX107" fmla="*/ 4186157 w 6780746"/>
              <a:gd name="connsiteY107" fmla="*/ 1005858 h 6858000"/>
              <a:gd name="connsiteX108" fmla="*/ 4186964 w 6780746"/>
              <a:gd name="connsiteY108" fmla="*/ 1005486 h 6858000"/>
              <a:gd name="connsiteX109" fmla="*/ 4187274 w 6780746"/>
              <a:gd name="connsiteY109" fmla="*/ 1006044 h 6858000"/>
              <a:gd name="connsiteX110" fmla="*/ 4187274 w 6780746"/>
              <a:gd name="connsiteY110" fmla="*/ 1014360 h 6858000"/>
              <a:gd name="connsiteX111" fmla="*/ 4189569 w 6780746"/>
              <a:gd name="connsiteY111" fmla="*/ 1016594 h 6858000"/>
              <a:gd name="connsiteX112" fmla="*/ 4206321 w 6780746"/>
              <a:gd name="connsiteY112" fmla="*/ 1016594 h 6858000"/>
              <a:gd name="connsiteX113" fmla="*/ 4208554 w 6780746"/>
              <a:gd name="connsiteY113" fmla="*/ 1014360 h 6858000"/>
              <a:gd name="connsiteX114" fmla="*/ 4208554 w 6780746"/>
              <a:gd name="connsiteY114" fmla="*/ 904823 h 6858000"/>
              <a:gd name="connsiteX115" fmla="*/ 4206321 w 6780746"/>
              <a:gd name="connsiteY115" fmla="*/ 902588 h 6858000"/>
              <a:gd name="connsiteX116" fmla="*/ 4189569 w 6780746"/>
              <a:gd name="connsiteY116" fmla="*/ 902588 h 6858000"/>
              <a:gd name="connsiteX117" fmla="*/ 4187274 w 6780746"/>
              <a:gd name="connsiteY117" fmla="*/ 904823 h 6858000"/>
              <a:gd name="connsiteX118" fmla="*/ 4187274 w 6780746"/>
              <a:gd name="connsiteY118" fmla="*/ 974455 h 6858000"/>
              <a:gd name="connsiteX119" fmla="*/ 4180573 w 6780746"/>
              <a:gd name="connsiteY119" fmla="*/ 992701 h 6858000"/>
              <a:gd name="connsiteX120" fmla="*/ 4162643 w 6780746"/>
              <a:gd name="connsiteY120" fmla="*/ 999590 h 6858000"/>
              <a:gd name="connsiteX121" fmla="*/ 4145333 w 6780746"/>
              <a:gd name="connsiteY121" fmla="*/ 992825 h 6858000"/>
              <a:gd name="connsiteX122" fmla="*/ 4139129 w 6780746"/>
              <a:gd name="connsiteY122" fmla="*/ 974455 h 6858000"/>
              <a:gd name="connsiteX123" fmla="*/ 4139129 w 6780746"/>
              <a:gd name="connsiteY123" fmla="*/ 904823 h 6858000"/>
              <a:gd name="connsiteX124" fmla="*/ 4136895 w 6780746"/>
              <a:gd name="connsiteY124" fmla="*/ 902588 h 6858000"/>
              <a:gd name="connsiteX125" fmla="*/ 4120144 w 6780746"/>
              <a:gd name="connsiteY125" fmla="*/ 902588 h 6858000"/>
              <a:gd name="connsiteX126" fmla="*/ 5992581 w 6780746"/>
              <a:gd name="connsiteY126" fmla="*/ 901346 h 6858000"/>
              <a:gd name="connsiteX127" fmla="*/ 5965094 w 6780746"/>
              <a:gd name="connsiteY127" fmla="*/ 917041 h 6858000"/>
              <a:gd name="connsiteX128" fmla="*/ 5964537 w 6780746"/>
              <a:gd name="connsiteY128" fmla="*/ 917413 h 6858000"/>
              <a:gd name="connsiteX129" fmla="*/ 5964165 w 6780746"/>
              <a:gd name="connsiteY129" fmla="*/ 916607 h 6858000"/>
              <a:gd name="connsiteX130" fmla="*/ 5964165 w 6780746"/>
              <a:gd name="connsiteY130" fmla="*/ 904758 h 6858000"/>
              <a:gd name="connsiteX131" fmla="*/ 5961936 w 6780746"/>
              <a:gd name="connsiteY131" fmla="*/ 902524 h 6858000"/>
              <a:gd name="connsiteX132" fmla="*/ 5944973 w 6780746"/>
              <a:gd name="connsiteY132" fmla="*/ 902524 h 6858000"/>
              <a:gd name="connsiteX133" fmla="*/ 5942745 w 6780746"/>
              <a:gd name="connsiteY133" fmla="*/ 904758 h 6858000"/>
              <a:gd name="connsiteX134" fmla="*/ 5942745 w 6780746"/>
              <a:gd name="connsiteY134" fmla="*/ 1014256 h 6858000"/>
              <a:gd name="connsiteX135" fmla="*/ 5944973 w 6780746"/>
              <a:gd name="connsiteY135" fmla="*/ 1016489 h 6858000"/>
              <a:gd name="connsiteX136" fmla="*/ 5961936 w 6780746"/>
              <a:gd name="connsiteY136" fmla="*/ 1016489 h 6858000"/>
              <a:gd name="connsiteX137" fmla="*/ 5964165 w 6780746"/>
              <a:gd name="connsiteY137" fmla="*/ 1014256 h 6858000"/>
              <a:gd name="connsiteX138" fmla="*/ 5964165 w 6780746"/>
              <a:gd name="connsiteY138" fmla="*/ 948867 h 6858000"/>
              <a:gd name="connsiteX139" fmla="*/ 5970975 w 6780746"/>
              <a:gd name="connsiteY139" fmla="*/ 931062 h 6858000"/>
              <a:gd name="connsiteX140" fmla="*/ 5988309 w 6780746"/>
              <a:gd name="connsiteY140" fmla="*/ 923804 h 6858000"/>
              <a:gd name="connsiteX141" fmla="*/ 5991467 w 6780746"/>
              <a:gd name="connsiteY141" fmla="*/ 923555 h 6858000"/>
              <a:gd name="connsiteX142" fmla="*/ 6000381 w 6780746"/>
              <a:gd name="connsiteY142" fmla="*/ 925106 h 6858000"/>
              <a:gd name="connsiteX143" fmla="*/ 6003043 w 6780746"/>
              <a:gd name="connsiteY143" fmla="*/ 923804 h 6858000"/>
              <a:gd name="connsiteX144" fmla="*/ 6006634 w 6780746"/>
              <a:gd name="connsiteY144" fmla="*/ 906991 h 6858000"/>
              <a:gd name="connsiteX145" fmla="*/ 6005519 w 6780746"/>
              <a:gd name="connsiteY145" fmla="*/ 904261 h 6858000"/>
              <a:gd name="connsiteX146" fmla="*/ 5992581 w 6780746"/>
              <a:gd name="connsiteY146" fmla="*/ 901346 h 6858000"/>
              <a:gd name="connsiteX147" fmla="*/ 5528591 w 6780746"/>
              <a:gd name="connsiteY147" fmla="*/ 901346 h 6858000"/>
              <a:gd name="connsiteX148" fmla="*/ 5497334 w 6780746"/>
              <a:gd name="connsiteY148" fmla="*/ 910239 h 6858000"/>
              <a:gd name="connsiteX149" fmla="*/ 5485527 w 6780746"/>
              <a:gd name="connsiteY149" fmla="*/ 934184 h 6858000"/>
              <a:gd name="connsiteX150" fmla="*/ 5491492 w 6780746"/>
              <a:gd name="connsiteY150" fmla="*/ 951785 h 6858000"/>
              <a:gd name="connsiteX151" fmla="*/ 5506033 w 6780746"/>
              <a:gd name="connsiteY151" fmla="*/ 962358 h 6858000"/>
              <a:gd name="connsiteX152" fmla="*/ 5527473 w 6780746"/>
              <a:gd name="connsiteY152" fmla="*/ 969634 h 6858000"/>
              <a:gd name="connsiteX153" fmla="*/ 5546364 w 6780746"/>
              <a:gd name="connsiteY153" fmla="*/ 976476 h 6858000"/>
              <a:gd name="connsiteX154" fmla="*/ 5552143 w 6780746"/>
              <a:gd name="connsiteY154" fmla="*/ 986240 h 6858000"/>
              <a:gd name="connsiteX155" fmla="*/ 5545867 w 6780746"/>
              <a:gd name="connsiteY155" fmla="*/ 997373 h 6858000"/>
              <a:gd name="connsiteX156" fmla="*/ 5529523 w 6780746"/>
              <a:gd name="connsiteY156" fmla="*/ 1001726 h 6858000"/>
              <a:gd name="connsiteX157" fmla="*/ 5512123 w 6780746"/>
              <a:gd name="connsiteY157" fmla="*/ 997000 h 6858000"/>
              <a:gd name="connsiteX158" fmla="*/ 5505288 w 6780746"/>
              <a:gd name="connsiteY158" fmla="*/ 985992 h 6858000"/>
              <a:gd name="connsiteX159" fmla="*/ 5505288 w 6780746"/>
              <a:gd name="connsiteY159" fmla="*/ 984872 h 6858000"/>
              <a:gd name="connsiteX160" fmla="*/ 5503051 w 6780746"/>
              <a:gd name="connsiteY160" fmla="*/ 982633 h 6858000"/>
              <a:gd name="connsiteX161" fmla="*/ 5486894 w 6780746"/>
              <a:gd name="connsiteY161" fmla="*/ 982633 h 6858000"/>
              <a:gd name="connsiteX162" fmla="*/ 5484657 w 6780746"/>
              <a:gd name="connsiteY162" fmla="*/ 984872 h 6858000"/>
              <a:gd name="connsiteX163" fmla="*/ 5484657 w 6780746"/>
              <a:gd name="connsiteY163" fmla="*/ 987360 h 6858000"/>
              <a:gd name="connsiteX164" fmla="*/ 5490249 w 6780746"/>
              <a:gd name="connsiteY164" fmla="*/ 1002970 h 6858000"/>
              <a:gd name="connsiteX165" fmla="*/ 5506033 w 6780746"/>
              <a:gd name="connsiteY165" fmla="*/ 1014103 h 6858000"/>
              <a:gd name="connsiteX166" fmla="*/ 5529710 w 6780746"/>
              <a:gd name="connsiteY166" fmla="*/ 1018146 h 6858000"/>
              <a:gd name="connsiteX167" fmla="*/ 5561713 w 6780746"/>
              <a:gd name="connsiteY167" fmla="*/ 1009127 h 6858000"/>
              <a:gd name="connsiteX168" fmla="*/ 5573707 w 6780746"/>
              <a:gd name="connsiteY168" fmla="*/ 984872 h 6858000"/>
              <a:gd name="connsiteX169" fmla="*/ 5567617 w 6780746"/>
              <a:gd name="connsiteY169" fmla="*/ 967022 h 6858000"/>
              <a:gd name="connsiteX170" fmla="*/ 5552951 w 6780746"/>
              <a:gd name="connsiteY170" fmla="*/ 956698 h 6858000"/>
              <a:gd name="connsiteX171" fmla="*/ 5531325 w 6780746"/>
              <a:gd name="connsiteY171" fmla="*/ 949670 h 6858000"/>
              <a:gd name="connsiteX172" fmla="*/ 5512123 w 6780746"/>
              <a:gd name="connsiteY172" fmla="*/ 942456 h 6858000"/>
              <a:gd name="connsiteX173" fmla="*/ 5506158 w 6780746"/>
              <a:gd name="connsiteY173" fmla="*/ 932567 h 6858000"/>
              <a:gd name="connsiteX174" fmla="*/ 5512310 w 6780746"/>
              <a:gd name="connsiteY174" fmla="*/ 922243 h 6858000"/>
              <a:gd name="connsiteX175" fmla="*/ 5528405 w 6780746"/>
              <a:gd name="connsiteY175" fmla="*/ 918449 h 6858000"/>
              <a:gd name="connsiteX176" fmla="*/ 5545743 w 6780746"/>
              <a:gd name="connsiteY176" fmla="*/ 922802 h 6858000"/>
              <a:gd name="connsiteX177" fmla="*/ 5552143 w 6780746"/>
              <a:gd name="connsiteY177" fmla="*/ 933686 h 6858000"/>
              <a:gd name="connsiteX178" fmla="*/ 5552143 w 6780746"/>
              <a:gd name="connsiteY178" fmla="*/ 934370 h 6858000"/>
              <a:gd name="connsiteX179" fmla="*/ 5554380 w 6780746"/>
              <a:gd name="connsiteY179" fmla="*/ 936609 h 6858000"/>
              <a:gd name="connsiteX180" fmla="*/ 5570102 w 6780746"/>
              <a:gd name="connsiteY180" fmla="*/ 936609 h 6858000"/>
              <a:gd name="connsiteX181" fmla="*/ 5572339 w 6780746"/>
              <a:gd name="connsiteY181" fmla="*/ 934370 h 6858000"/>
              <a:gd name="connsiteX182" fmla="*/ 5572339 w 6780746"/>
              <a:gd name="connsiteY182" fmla="*/ 933686 h 6858000"/>
              <a:gd name="connsiteX183" fmla="*/ 5566995 w 6780746"/>
              <a:gd name="connsiteY183" fmla="*/ 917081 h 6858000"/>
              <a:gd name="connsiteX184" fmla="*/ 5551584 w 6780746"/>
              <a:gd name="connsiteY184" fmla="*/ 905513 h 6858000"/>
              <a:gd name="connsiteX185" fmla="*/ 5528591 w 6780746"/>
              <a:gd name="connsiteY185" fmla="*/ 901346 h 6858000"/>
              <a:gd name="connsiteX186" fmla="*/ 4615739 w 6780746"/>
              <a:gd name="connsiteY186" fmla="*/ 901346 h 6858000"/>
              <a:gd name="connsiteX187" fmla="*/ 4588074 w 6780746"/>
              <a:gd name="connsiteY187" fmla="*/ 917041 h 6858000"/>
              <a:gd name="connsiteX188" fmla="*/ 4587513 w 6780746"/>
              <a:gd name="connsiteY188" fmla="*/ 917413 h 6858000"/>
              <a:gd name="connsiteX189" fmla="*/ 4587202 w 6780746"/>
              <a:gd name="connsiteY189" fmla="*/ 916607 h 6858000"/>
              <a:gd name="connsiteX190" fmla="*/ 4587202 w 6780746"/>
              <a:gd name="connsiteY190" fmla="*/ 904758 h 6858000"/>
              <a:gd name="connsiteX191" fmla="*/ 4584959 w 6780746"/>
              <a:gd name="connsiteY191" fmla="*/ 902524 h 6858000"/>
              <a:gd name="connsiteX192" fmla="*/ 4567824 w 6780746"/>
              <a:gd name="connsiteY192" fmla="*/ 902524 h 6858000"/>
              <a:gd name="connsiteX193" fmla="*/ 4565581 w 6780746"/>
              <a:gd name="connsiteY193" fmla="*/ 904758 h 6858000"/>
              <a:gd name="connsiteX194" fmla="*/ 4565581 w 6780746"/>
              <a:gd name="connsiteY194" fmla="*/ 1014256 h 6858000"/>
              <a:gd name="connsiteX195" fmla="*/ 4567824 w 6780746"/>
              <a:gd name="connsiteY195" fmla="*/ 1016489 h 6858000"/>
              <a:gd name="connsiteX196" fmla="*/ 4584959 w 6780746"/>
              <a:gd name="connsiteY196" fmla="*/ 1016489 h 6858000"/>
              <a:gd name="connsiteX197" fmla="*/ 4587202 w 6780746"/>
              <a:gd name="connsiteY197" fmla="*/ 1014256 h 6858000"/>
              <a:gd name="connsiteX198" fmla="*/ 4587202 w 6780746"/>
              <a:gd name="connsiteY198" fmla="*/ 948867 h 6858000"/>
              <a:gd name="connsiteX199" fmla="*/ 4594056 w 6780746"/>
              <a:gd name="connsiteY199" fmla="*/ 931062 h 6858000"/>
              <a:gd name="connsiteX200" fmla="*/ 4611501 w 6780746"/>
              <a:gd name="connsiteY200" fmla="*/ 923804 h 6858000"/>
              <a:gd name="connsiteX201" fmla="*/ 4614617 w 6780746"/>
              <a:gd name="connsiteY201" fmla="*/ 923555 h 6858000"/>
              <a:gd name="connsiteX202" fmla="*/ 4623652 w 6780746"/>
              <a:gd name="connsiteY202" fmla="*/ 925106 h 6858000"/>
              <a:gd name="connsiteX203" fmla="*/ 4626331 w 6780746"/>
              <a:gd name="connsiteY203" fmla="*/ 923804 h 6858000"/>
              <a:gd name="connsiteX204" fmla="*/ 4629945 w 6780746"/>
              <a:gd name="connsiteY204" fmla="*/ 906991 h 6858000"/>
              <a:gd name="connsiteX205" fmla="*/ 4628824 w 6780746"/>
              <a:gd name="connsiteY205" fmla="*/ 904261 h 6858000"/>
              <a:gd name="connsiteX206" fmla="*/ 4615739 w 6780746"/>
              <a:gd name="connsiteY206" fmla="*/ 901346 h 6858000"/>
              <a:gd name="connsiteX207" fmla="*/ 6376741 w 6780746"/>
              <a:gd name="connsiteY207" fmla="*/ 900931 h 6858000"/>
              <a:gd name="connsiteX208" fmla="*/ 6348263 w 6780746"/>
              <a:gd name="connsiteY208" fmla="*/ 913275 h 6858000"/>
              <a:gd name="connsiteX209" fmla="*/ 6347705 w 6780746"/>
              <a:gd name="connsiteY209" fmla="*/ 913461 h 6858000"/>
              <a:gd name="connsiteX210" fmla="*/ 6347395 w 6780746"/>
              <a:gd name="connsiteY210" fmla="*/ 912841 h 6858000"/>
              <a:gd name="connsiteX211" fmla="*/ 6347395 w 6780746"/>
              <a:gd name="connsiteY211" fmla="*/ 904777 h 6858000"/>
              <a:gd name="connsiteX212" fmla="*/ 6345161 w 6780746"/>
              <a:gd name="connsiteY212" fmla="*/ 902544 h 6858000"/>
              <a:gd name="connsiteX213" fmla="*/ 6328161 w 6780746"/>
              <a:gd name="connsiteY213" fmla="*/ 902544 h 6858000"/>
              <a:gd name="connsiteX214" fmla="*/ 6325865 w 6780746"/>
              <a:gd name="connsiteY214" fmla="*/ 904777 h 6858000"/>
              <a:gd name="connsiteX215" fmla="*/ 6325865 w 6780746"/>
              <a:gd name="connsiteY215" fmla="*/ 1014256 h 6858000"/>
              <a:gd name="connsiteX216" fmla="*/ 6328161 w 6780746"/>
              <a:gd name="connsiteY216" fmla="*/ 1016489 h 6858000"/>
              <a:gd name="connsiteX217" fmla="*/ 6345161 w 6780746"/>
              <a:gd name="connsiteY217" fmla="*/ 1016489 h 6858000"/>
              <a:gd name="connsiteX218" fmla="*/ 6347395 w 6780746"/>
              <a:gd name="connsiteY218" fmla="*/ 1014256 h 6858000"/>
              <a:gd name="connsiteX219" fmla="*/ 6347395 w 6780746"/>
              <a:gd name="connsiteY219" fmla="*/ 944413 h 6858000"/>
              <a:gd name="connsiteX220" fmla="*/ 6354095 w 6780746"/>
              <a:gd name="connsiteY220" fmla="*/ 926487 h 6858000"/>
              <a:gd name="connsiteX221" fmla="*/ 6371343 w 6780746"/>
              <a:gd name="connsiteY221" fmla="*/ 919540 h 6858000"/>
              <a:gd name="connsiteX222" fmla="*/ 6388591 w 6780746"/>
              <a:gd name="connsiteY222" fmla="*/ 926487 h 6858000"/>
              <a:gd name="connsiteX223" fmla="*/ 6395105 w 6780746"/>
              <a:gd name="connsiteY223" fmla="*/ 944599 h 6858000"/>
              <a:gd name="connsiteX224" fmla="*/ 6395105 w 6780746"/>
              <a:gd name="connsiteY224" fmla="*/ 1014256 h 6858000"/>
              <a:gd name="connsiteX225" fmla="*/ 6397339 w 6780746"/>
              <a:gd name="connsiteY225" fmla="*/ 1016489 h 6858000"/>
              <a:gd name="connsiteX226" fmla="*/ 6414339 w 6780746"/>
              <a:gd name="connsiteY226" fmla="*/ 1016489 h 6858000"/>
              <a:gd name="connsiteX227" fmla="*/ 6416572 w 6780746"/>
              <a:gd name="connsiteY227" fmla="*/ 1014256 h 6858000"/>
              <a:gd name="connsiteX228" fmla="*/ 6416572 w 6780746"/>
              <a:gd name="connsiteY228" fmla="*/ 940381 h 6858000"/>
              <a:gd name="connsiteX229" fmla="*/ 6405839 w 6780746"/>
              <a:gd name="connsiteY229" fmla="*/ 911600 h 6858000"/>
              <a:gd name="connsiteX230" fmla="*/ 6376741 w 6780746"/>
              <a:gd name="connsiteY230" fmla="*/ 900931 h 6858000"/>
              <a:gd name="connsiteX231" fmla="*/ 6249501 w 6780746"/>
              <a:gd name="connsiteY231" fmla="*/ 900931 h 6858000"/>
              <a:gd name="connsiteX232" fmla="*/ 6220196 w 6780746"/>
              <a:gd name="connsiteY232" fmla="*/ 909856 h 6858000"/>
              <a:gd name="connsiteX233" fmla="*/ 6204088 w 6780746"/>
              <a:gd name="connsiteY233" fmla="*/ 934274 h 6858000"/>
              <a:gd name="connsiteX234" fmla="*/ 6201610 w 6780746"/>
              <a:gd name="connsiteY234" fmla="*/ 959064 h 6858000"/>
              <a:gd name="connsiteX235" fmla="*/ 6207000 w 6780746"/>
              <a:gd name="connsiteY235" fmla="*/ 991043 h 6858000"/>
              <a:gd name="connsiteX236" fmla="*/ 6223728 w 6780746"/>
              <a:gd name="connsiteY236" fmla="*/ 1011433 h 6858000"/>
              <a:gd name="connsiteX237" fmla="*/ 6251235 w 6780746"/>
              <a:gd name="connsiteY237" fmla="*/ 1018560 h 6858000"/>
              <a:gd name="connsiteX238" fmla="*/ 6277318 w 6780746"/>
              <a:gd name="connsiteY238" fmla="*/ 1012734 h 6858000"/>
              <a:gd name="connsiteX239" fmla="*/ 6295099 w 6780746"/>
              <a:gd name="connsiteY239" fmla="*/ 996869 h 6858000"/>
              <a:gd name="connsiteX240" fmla="*/ 6294417 w 6780746"/>
              <a:gd name="connsiteY240" fmla="*/ 993956 h 6858000"/>
              <a:gd name="connsiteX241" fmla="*/ 6281655 w 6780746"/>
              <a:gd name="connsiteY241" fmla="*/ 985465 h 6858000"/>
              <a:gd name="connsiteX242" fmla="*/ 6278743 w 6780746"/>
              <a:gd name="connsiteY242" fmla="*/ 986147 h 6858000"/>
              <a:gd name="connsiteX243" fmla="*/ 6253280 w 6780746"/>
              <a:gd name="connsiteY243" fmla="*/ 999782 h 6858000"/>
              <a:gd name="connsiteX244" fmla="*/ 6234384 w 6780746"/>
              <a:gd name="connsiteY244" fmla="*/ 994762 h 6858000"/>
              <a:gd name="connsiteX245" fmla="*/ 6224409 w 6780746"/>
              <a:gd name="connsiteY245" fmla="*/ 980755 h 6858000"/>
              <a:gd name="connsiteX246" fmla="*/ 6223108 w 6780746"/>
              <a:gd name="connsiteY246" fmla="*/ 969166 h 6858000"/>
              <a:gd name="connsiteX247" fmla="*/ 6223975 w 6780746"/>
              <a:gd name="connsiteY247" fmla="*/ 968236 h 6858000"/>
              <a:gd name="connsiteX248" fmla="*/ 6295347 w 6780746"/>
              <a:gd name="connsiteY248" fmla="*/ 968236 h 6858000"/>
              <a:gd name="connsiteX249" fmla="*/ 6297577 w 6780746"/>
              <a:gd name="connsiteY249" fmla="*/ 966005 h 6858000"/>
              <a:gd name="connsiteX250" fmla="*/ 6296895 w 6780746"/>
              <a:gd name="connsiteY250" fmla="*/ 945430 h 6858000"/>
              <a:gd name="connsiteX251" fmla="*/ 6283265 w 6780746"/>
              <a:gd name="connsiteY251" fmla="*/ 912211 h 6858000"/>
              <a:gd name="connsiteX252" fmla="*/ 6249501 w 6780746"/>
              <a:gd name="connsiteY252" fmla="*/ 900931 h 6858000"/>
              <a:gd name="connsiteX253" fmla="*/ 6063513 w 6780746"/>
              <a:gd name="connsiteY253" fmla="*/ 900931 h 6858000"/>
              <a:gd name="connsiteX254" fmla="*/ 6037871 w 6780746"/>
              <a:gd name="connsiteY254" fmla="*/ 909058 h 6858000"/>
              <a:gd name="connsiteX255" fmla="*/ 6022721 w 6780746"/>
              <a:gd name="connsiteY255" fmla="*/ 930707 h 6858000"/>
              <a:gd name="connsiteX256" fmla="*/ 6019369 w 6780746"/>
              <a:gd name="connsiteY256" fmla="*/ 959365 h 6858000"/>
              <a:gd name="connsiteX257" fmla="*/ 6022287 w 6780746"/>
              <a:gd name="connsiteY257" fmla="*/ 986659 h 6858000"/>
              <a:gd name="connsiteX258" fmla="*/ 6038492 w 6780746"/>
              <a:gd name="connsiteY258" fmla="*/ 1009053 h 6858000"/>
              <a:gd name="connsiteX259" fmla="*/ 6064879 w 6780746"/>
              <a:gd name="connsiteY259" fmla="*/ 1016683 h 6858000"/>
              <a:gd name="connsiteX260" fmla="*/ 6092446 w 6780746"/>
              <a:gd name="connsiteY260" fmla="*/ 1005703 h 6858000"/>
              <a:gd name="connsiteX261" fmla="*/ 6093191 w 6780746"/>
              <a:gd name="connsiteY261" fmla="*/ 1005455 h 6858000"/>
              <a:gd name="connsiteX262" fmla="*/ 6093563 w 6780746"/>
              <a:gd name="connsiteY262" fmla="*/ 1006137 h 6858000"/>
              <a:gd name="connsiteX263" fmla="*/ 6093563 w 6780746"/>
              <a:gd name="connsiteY263" fmla="*/ 1010169 h 6858000"/>
              <a:gd name="connsiteX264" fmla="*/ 6085057 w 6780746"/>
              <a:gd name="connsiteY264" fmla="*/ 1034051 h 6858000"/>
              <a:gd name="connsiteX265" fmla="*/ 6057491 w 6780746"/>
              <a:gd name="connsiteY265" fmla="*/ 1041061 h 6858000"/>
              <a:gd name="connsiteX266" fmla="*/ 6048301 w 6780746"/>
              <a:gd name="connsiteY266" fmla="*/ 1040875 h 6858000"/>
              <a:gd name="connsiteX267" fmla="*/ 6046501 w 6780746"/>
              <a:gd name="connsiteY267" fmla="*/ 1041309 h 6858000"/>
              <a:gd name="connsiteX268" fmla="*/ 6045818 w 6780746"/>
              <a:gd name="connsiteY268" fmla="*/ 1042860 h 6858000"/>
              <a:gd name="connsiteX269" fmla="*/ 6045135 w 6780746"/>
              <a:gd name="connsiteY269" fmla="*/ 1058306 h 6858000"/>
              <a:gd name="connsiteX270" fmla="*/ 6047370 w 6780746"/>
              <a:gd name="connsiteY270" fmla="*/ 1060787 h 6858000"/>
              <a:gd name="connsiteX271" fmla="*/ 6058608 w 6780746"/>
              <a:gd name="connsiteY271" fmla="*/ 1061221 h 6858000"/>
              <a:gd name="connsiteX272" fmla="*/ 6099710 w 6780746"/>
              <a:gd name="connsiteY272" fmla="*/ 1049621 h 6858000"/>
              <a:gd name="connsiteX273" fmla="*/ 6115046 w 6780746"/>
              <a:gd name="connsiteY273" fmla="*/ 1010851 h 6858000"/>
              <a:gd name="connsiteX274" fmla="*/ 6115046 w 6780746"/>
              <a:gd name="connsiteY274" fmla="*/ 904963 h 6858000"/>
              <a:gd name="connsiteX275" fmla="*/ 6112811 w 6780746"/>
              <a:gd name="connsiteY275" fmla="*/ 902730 h 6858000"/>
              <a:gd name="connsiteX276" fmla="*/ 6095799 w 6780746"/>
              <a:gd name="connsiteY276" fmla="*/ 902730 h 6858000"/>
              <a:gd name="connsiteX277" fmla="*/ 6093563 w 6780746"/>
              <a:gd name="connsiteY277" fmla="*/ 904963 h 6858000"/>
              <a:gd name="connsiteX278" fmla="*/ 6093563 w 6780746"/>
              <a:gd name="connsiteY278" fmla="*/ 911911 h 6858000"/>
              <a:gd name="connsiteX279" fmla="*/ 6093191 w 6780746"/>
              <a:gd name="connsiteY279" fmla="*/ 912469 h 6858000"/>
              <a:gd name="connsiteX280" fmla="*/ 6092446 w 6780746"/>
              <a:gd name="connsiteY280" fmla="*/ 912097 h 6858000"/>
              <a:gd name="connsiteX281" fmla="*/ 6063513 w 6780746"/>
              <a:gd name="connsiteY281" fmla="*/ 900931 h 6858000"/>
              <a:gd name="connsiteX282" fmla="*/ 5866524 w 6780746"/>
              <a:gd name="connsiteY282" fmla="*/ 900931 h 6858000"/>
              <a:gd name="connsiteX283" fmla="*/ 5837156 w 6780746"/>
              <a:gd name="connsiteY283" fmla="*/ 909856 h 6858000"/>
              <a:gd name="connsiteX284" fmla="*/ 5820978 w 6780746"/>
              <a:gd name="connsiteY284" fmla="*/ 934274 h 6858000"/>
              <a:gd name="connsiteX285" fmla="*/ 5818489 w 6780746"/>
              <a:gd name="connsiteY285" fmla="*/ 959064 h 6858000"/>
              <a:gd name="connsiteX286" fmla="*/ 5823903 w 6780746"/>
              <a:gd name="connsiteY286" fmla="*/ 991043 h 6858000"/>
              <a:gd name="connsiteX287" fmla="*/ 5840703 w 6780746"/>
              <a:gd name="connsiteY287" fmla="*/ 1011433 h 6858000"/>
              <a:gd name="connsiteX288" fmla="*/ 5868329 w 6780746"/>
              <a:gd name="connsiteY288" fmla="*/ 1018560 h 6858000"/>
              <a:gd name="connsiteX289" fmla="*/ 5894524 w 6780746"/>
              <a:gd name="connsiteY289" fmla="*/ 1012734 h 6858000"/>
              <a:gd name="connsiteX290" fmla="*/ 5912381 w 6780746"/>
              <a:gd name="connsiteY290" fmla="*/ 996869 h 6858000"/>
              <a:gd name="connsiteX291" fmla="*/ 5911697 w 6780746"/>
              <a:gd name="connsiteY291" fmla="*/ 993956 h 6858000"/>
              <a:gd name="connsiteX292" fmla="*/ 5898879 w 6780746"/>
              <a:gd name="connsiteY292" fmla="*/ 985465 h 6858000"/>
              <a:gd name="connsiteX293" fmla="*/ 5895955 w 6780746"/>
              <a:gd name="connsiteY293" fmla="*/ 986147 h 6858000"/>
              <a:gd name="connsiteX294" fmla="*/ 5870382 w 6780746"/>
              <a:gd name="connsiteY294" fmla="*/ 999782 h 6858000"/>
              <a:gd name="connsiteX295" fmla="*/ 5851405 w 6780746"/>
              <a:gd name="connsiteY295" fmla="*/ 994762 h 6858000"/>
              <a:gd name="connsiteX296" fmla="*/ 5841387 w 6780746"/>
              <a:gd name="connsiteY296" fmla="*/ 980755 h 6858000"/>
              <a:gd name="connsiteX297" fmla="*/ 5840080 w 6780746"/>
              <a:gd name="connsiteY297" fmla="*/ 969166 h 6858000"/>
              <a:gd name="connsiteX298" fmla="*/ 5840951 w 6780746"/>
              <a:gd name="connsiteY298" fmla="*/ 968236 h 6858000"/>
              <a:gd name="connsiteX299" fmla="*/ 5912568 w 6780746"/>
              <a:gd name="connsiteY299" fmla="*/ 968236 h 6858000"/>
              <a:gd name="connsiteX300" fmla="*/ 5914870 w 6780746"/>
              <a:gd name="connsiteY300" fmla="*/ 966005 h 6858000"/>
              <a:gd name="connsiteX301" fmla="*/ 5914186 w 6780746"/>
              <a:gd name="connsiteY301" fmla="*/ 945430 h 6858000"/>
              <a:gd name="connsiteX302" fmla="*/ 5900497 w 6780746"/>
              <a:gd name="connsiteY302" fmla="*/ 912211 h 6858000"/>
              <a:gd name="connsiteX303" fmla="*/ 5866524 w 6780746"/>
              <a:gd name="connsiteY303" fmla="*/ 900931 h 6858000"/>
              <a:gd name="connsiteX304" fmla="*/ 5751260 w 6780746"/>
              <a:gd name="connsiteY304" fmla="*/ 900931 h 6858000"/>
              <a:gd name="connsiteX305" fmla="*/ 5722844 w 6780746"/>
              <a:gd name="connsiteY305" fmla="*/ 913275 h 6858000"/>
              <a:gd name="connsiteX306" fmla="*/ 5722286 w 6780746"/>
              <a:gd name="connsiteY306" fmla="*/ 913461 h 6858000"/>
              <a:gd name="connsiteX307" fmla="*/ 5721914 w 6780746"/>
              <a:gd name="connsiteY307" fmla="*/ 912841 h 6858000"/>
              <a:gd name="connsiteX308" fmla="*/ 5721914 w 6780746"/>
              <a:gd name="connsiteY308" fmla="*/ 904777 h 6858000"/>
              <a:gd name="connsiteX309" fmla="*/ 5719680 w 6780746"/>
              <a:gd name="connsiteY309" fmla="*/ 902544 h 6858000"/>
              <a:gd name="connsiteX310" fmla="*/ 5702680 w 6780746"/>
              <a:gd name="connsiteY310" fmla="*/ 902544 h 6858000"/>
              <a:gd name="connsiteX311" fmla="*/ 5700447 w 6780746"/>
              <a:gd name="connsiteY311" fmla="*/ 904777 h 6858000"/>
              <a:gd name="connsiteX312" fmla="*/ 5700447 w 6780746"/>
              <a:gd name="connsiteY312" fmla="*/ 1014256 h 6858000"/>
              <a:gd name="connsiteX313" fmla="*/ 5702680 w 6780746"/>
              <a:gd name="connsiteY313" fmla="*/ 1016489 h 6858000"/>
              <a:gd name="connsiteX314" fmla="*/ 5719680 w 6780746"/>
              <a:gd name="connsiteY314" fmla="*/ 1016489 h 6858000"/>
              <a:gd name="connsiteX315" fmla="*/ 5721914 w 6780746"/>
              <a:gd name="connsiteY315" fmla="*/ 1014256 h 6858000"/>
              <a:gd name="connsiteX316" fmla="*/ 5721914 w 6780746"/>
              <a:gd name="connsiteY316" fmla="*/ 944413 h 6858000"/>
              <a:gd name="connsiteX317" fmla="*/ 5728614 w 6780746"/>
              <a:gd name="connsiteY317" fmla="*/ 926487 h 6858000"/>
              <a:gd name="connsiteX318" fmla="*/ 5745862 w 6780746"/>
              <a:gd name="connsiteY318" fmla="*/ 919540 h 6858000"/>
              <a:gd name="connsiteX319" fmla="*/ 5763110 w 6780746"/>
              <a:gd name="connsiteY319" fmla="*/ 926487 h 6858000"/>
              <a:gd name="connsiteX320" fmla="*/ 5769624 w 6780746"/>
              <a:gd name="connsiteY320" fmla="*/ 944599 h 6858000"/>
              <a:gd name="connsiteX321" fmla="*/ 5769624 w 6780746"/>
              <a:gd name="connsiteY321" fmla="*/ 1014256 h 6858000"/>
              <a:gd name="connsiteX322" fmla="*/ 5771858 w 6780746"/>
              <a:gd name="connsiteY322" fmla="*/ 1016489 h 6858000"/>
              <a:gd name="connsiteX323" fmla="*/ 5788858 w 6780746"/>
              <a:gd name="connsiteY323" fmla="*/ 1016489 h 6858000"/>
              <a:gd name="connsiteX324" fmla="*/ 5791153 w 6780746"/>
              <a:gd name="connsiteY324" fmla="*/ 1014256 h 6858000"/>
              <a:gd name="connsiteX325" fmla="*/ 5791153 w 6780746"/>
              <a:gd name="connsiteY325" fmla="*/ 940381 h 6858000"/>
              <a:gd name="connsiteX326" fmla="*/ 5780358 w 6780746"/>
              <a:gd name="connsiteY326" fmla="*/ 911600 h 6858000"/>
              <a:gd name="connsiteX327" fmla="*/ 5751260 w 6780746"/>
              <a:gd name="connsiteY327" fmla="*/ 900931 h 6858000"/>
              <a:gd name="connsiteX328" fmla="*/ 5371929 w 6780746"/>
              <a:gd name="connsiteY328" fmla="*/ 900931 h 6858000"/>
              <a:gd name="connsiteX329" fmla="*/ 5343451 w 6780746"/>
              <a:gd name="connsiteY329" fmla="*/ 913275 h 6858000"/>
              <a:gd name="connsiteX330" fmla="*/ 5342893 w 6780746"/>
              <a:gd name="connsiteY330" fmla="*/ 913461 h 6858000"/>
              <a:gd name="connsiteX331" fmla="*/ 5342582 w 6780746"/>
              <a:gd name="connsiteY331" fmla="*/ 912841 h 6858000"/>
              <a:gd name="connsiteX332" fmla="*/ 5342582 w 6780746"/>
              <a:gd name="connsiteY332" fmla="*/ 904777 h 6858000"/>
              <a:gd name="connsiteX333" fmla="*/ 5340349 w 6780746"/>
              <a:gd name="connsiteY333" fmla="*/ 902544 h 6858000"/>
              <a:gd name="connsiteX334" fmla="*/ 5323287 w 6780746"/>
              <a:gd name="connsiteY334" fmla="*/ 902544 h 6858000"/>
              <a:gd name="connsiteX335" fmla="*/ 5321054 w 6780746"/>
              <a:gd name="connsiteY335" fmla="*/ 904777 h 6858000"/>
              <a:gd name="connsiteX336" fmla="*/ 5321054 w 6780746"/>
              <a:gd name="connsiteY336" fmla="*/ 1014256 h 6858000"/>
              <a:gd name="connsiteX337" fmla="*/ 5323287 w 6780746"/>
              <a:gd name="connsiteY337" fmla="*/ 1016489 h 6858000"/>
              <a:gd name="connsiteX338" fmla="*/ 5340349 w 6780746"/>
              <a:gd name="connsiteY338" fmla="*/ 1016489 h 6858000"/>
              <a:gd name="connsiteX339" fmla="*/ 5342582 w 6780746"/>
              <a:gd name="connsiteY339" fmla="*/ 1014256 h 6858000"/>
              <a:gd name="connsiteX340" fmla="*/ 5342582 w 6780746"/>
              <a:gd name="connsiteY340" fmla="*/ 944413 h 6858000"/>
              <a:gd name="connsiteX341" fmla="*/ 5349283 w 6780746"/>
              <a:gd name="connsiteY341" fmla="*/ 926487 h 6858000"/>
              <a:gd name="connsiteX342" fmla="*/ 5366531 w 6780746"/>
              <a:gd name="connsiteY342" fmla="*/ 919540 h 6858000"/>
              <a:gd name="connsiteX343" fmla="*/ 5383779 w 6780746"/>
              <a:gd name="connsiteY343" fmla="*/ 926487 h 6858000"/>
              <a:gd name="connsiteX344" fmla="*/ 5390293 w 6780746"/>
              <a:gd name="connsiteY344" fmla="*/ 944599 h 6858000"/>
              <a:gd name="connsiteX345" fmla="*/ 5390293 w 6780746"/>
              <a:gd name="connsiteY345" fmla="*/ 1014256 h 6858000"/>
              <a:gd name="connsiteX346" fmla="*/ 5392527 w 6780746"/>
              <a:gd name="connsiteY346" fmla="*/ 1016489 h 6858000"/>
              <a:gd name="connsiteX347" fmla="*/ 5409527 w 6780746"/>
              <a:gd name="connsiteY347" fmla="*/ 1016489 h 6858000"/>
              <a:gd name="connsiteX348" fmla="*/ 5411760 w 6780746"/>
              <a:gd name="connsiteY348" fmla="*/ 1014256 h 6858000"/>
              <a:gd name="connsiteX349" fmla="*/ 5411760 w 6780746"/>
              <a:gd name="connsiteY349" fmla="*/ 940381 h 6858000"/>
              <a:gd name="connsiteX350" fmla="*/ 5401027 w 6780746"/>
              <a:gd name="connsiteY350" fmla="*/ 911600 h 6858000"/>
              <a:gd name="connsiteX351" fmla="*/ 5371929 w 6780746"/>
              <a:gd name="connsiteY351" fmla="*/ 900931 h 6858000"/>
              <a:gd name="connsiteX352" fmla="*/ 5245073 w 6780746"/>
              <a:gd name="connsiteY352" fmla="*/ 900931 h 6858000"/>
              <a:gd name="connsiteX353" fmla="*/ 5215749 w 6780746"/>
              <a:gd name="connsiteY353" fmla="*/ 909856 h 6858000"/>
              <a:gd name="connsiteX354" fmla="*/ 5199631 w 6780746"/>
              <a:gd name="connsiteY354" fmla="*/ 934274 h 6858000"/>
              <a:gd name="connsiteX355" fmla="*/ 5197213 w 6780746"/>
              <a:gd name="connsiteY355" fmla="*/ 959064 h 6858000"/>
              <a:gd name="connsiteX356" fmla="*/ 5202545 w 6780746"/>
              <a:gd name="connsiteY356" fmla="*/ 991043 h 6858000"/>
              <a:gd name="connsiteX357" fmla="*/ 5219345 w 6780746"/>
              <a:gd name="connsiteY357" fmla="*/ 1011433 h 6858000"/>
              <a:gd name="connsiteX358" fmla="*/ 5246870 w 6780746"/>
              <a:gd name="connsiteY358" fmla="*/ 1018560 h 6858000"/>
              <a:gd name="connsiteX359" fmla="*/ 5272907 w 6780746"/>
              <a:gd name="connsiteY359" fmla="*/ 1012734 h 6858000"/>
              <a:gd name="connsiteX360" fmla="*/ 5290762 w 6780746"/>
              <a:gd name="connsiteY360" fmla="*/ 996869 h 6858000"/>
              <a:gd name="connsiteX361" fmla="*/ 5290080 w 6780746"/>
              <a:gd name="connsiteY361" fmla="*/ 993956 h 6858000"/>
              <a:gd name="connsiteX362" fmla="*/ 5277309 w 6780746"/>
              <a:gd name="connsiteY362" fmla="*/ 985465 h 6858000"/>
              <a:gd name="connsiteX363" fmla="*/ 5274395 w 6780746"/>
              <a:gd name="connsiteY363" fmla="*/ 986147 h 6858000"/>
              <a:gd name="connsiteX364" fmla="*/ 5248854 w 6780746"/>
              <a:gd name="connsiteY364" fmla="*/ 999782 h 6858000"/>
              <a:gd name="connsiteX365" fmla="*/ 5229946 w 6780746"/>
              <a:gd name="connsiteY365" fmla="*/ 994762 h 6858000"/>
              <a:gd name="connsiteX366" fmla="*/ 5220027 w 6780746"/>
              <a:gd name="connsiteY366" fmla="*/ 980755 h 6858000"/>
              <a:gd name="connsiteX367" fmla="*/ 5218663 w 6780746"/>
              <a:gd name="connsiteY367" fmla="*/ 969166 h 6858000"/>
              <a:gd name="connsiteX368" fmla="*/ 5219593 w 6780746"/>
              <a:gd name="connsiteY368" fmla="*/ 968236 h 6858000"/>
              <a:gd name="connsiteX369" fmla="*/ 5290948 w 6780746"/>
              <a:gd name="connsiteY369" fmla="*/ 968236 h 6858000"/>
              <a:gd name="connsiteX370" fmla="*/ 5293179 w 6780746"/>
              <a:gd name="connsiteY370" fmla="*/ 966005 h 6858000"/>
              <a:gd name="connsiteX371" fmla="*/ 5292497 w 6780746"/>
              <a:gd name="connsiteY371" fmla="*/ 945430 h 6858000"/>
              <a:gd name="connsiteX372" fmla="*/ 5278859 w 6780746"/>
              <a:gd name="connsiteY372" fmla="*/ 912211 h 6858000"/>
              <a:gd name="connsiteX373" fmla="*/ 5245073 w 6780746"/>
              <a:gd name="connsiteY373" fmla="*/ 900931 h 6858000"/>
              <a:gd name="connsiteX374" fmla="*/ 5066310 w 6780746"/>
              <a:gd name="connsiteY374" fmla="*/ 900931 h 6858000"/>
              <a:gd name="connsiteX375" fmla="*/ 5037630 w 6780746"/>
              <a:gd name="connsiteY375" fmla="*/ 912841 h 6858000"/>
              <a:gd name="connsiteX376" fmla="*/ 5036823 w 6780746"/>
              <a:gd name="connsiteY376" fmla="*/ 913027 h 6858000"/>
              <a:gd name="connsiteX377" fmla="*/ 5036513 w 6780746"/>
              <a:gd name="connsiteY377" fmla="*/ 912345 h 6858000"/>
              <a:gd name="connsiteX378" fmla="*/ 5036513 w 6780746"/>
              <a:gd name="connsiteY378" fmla="*/ 904777 h 6858000"/>
              <a:gd name="connsiteX379" fmla="*/ 5034278 w 6780746"/>
              <a:gd name="connsiteY379" fmla="*/ 902544 h 6858000"/>
              <a:gd name="connsiteX380" fmla="*/ 5017269 w 6780746"/>
              <a:gd name="connsiteY380" fmla="*/ 902544 h 6858000"/>
              <a:gd name="connsiteX381" fmla="*/ 5014972 w 6780746"/>
              <a:gd name="connsiteY381" fmla="*/ 904777 h 6858000"/>
              <a:gd name="connsiteX382" fmla="*/ 5014972 w 6780746"/>
              <a:gd name="connsiteY382" fmla="*/ 1014256 h 6858000"/>
              <a:gd name="connsiteX383" fmla="*/ 5017269 w 6780746"/>
              <a:gd name="connsiteY383" fmla="*/ 1016489 h 6858000"/>
              <a:gd name="connsiteX384" fmla="*/ 5034278 w 6780746"/>
              <a:gd name="connsiteY384" fmla="*/ 1016489 h 6858000"/>
              <a:gd name="connsiteX385" fmla="*/ 5036513 w 6780746"/>
              <a:gd name="connsiteY385" fmla="*/ 1014256 h 6858000"/>
              <a:gd name="connsiteX386" fmla="*/ 5036513 w 6780746"/>
              <a:gd name="connsiteY386" fmla="*/ 943483 h 6858000"/>
              <a:gd name="connsiteX387" fmla="*/ 5042659 w 6780746"/>
              <a:gd name="connsiteY387" fmla="*/ 926053 h 6858000"/>
              <a:gd name="connsiteX388" fmla="*/ 5059172 w 6780746"/>
              <a:gd name="connsiteY388" fmla="*/ 919540 h 6858000"/>
              <a:gd name="connsiteX389" fmla="*/ 5075622 w 6780746"/>
              <a:gd name="connsiteY389" fmla="*/ 926115 h 6858000"/>
              <a:gd name="connsiteX390" fmla="*/ 5081768 w 6780746"/>
              <a:gd name="connsiteY390" fmla="*/ 943917 h 6858000"/>
              <a:gd name="connsiteX391" fmla="*/ 5081768 w 6780746"/>
              <a:gd name="connsiteY391" fmla="*/ 1014256 h 6858000"/>
              <a:gd name="connsiteX392" fmla="*/ 5084003 w 6780746"/>
              <a:gd name="connsiteY392" fmla="*/ 1016489 h 6858000"/>
              <a:gd name="connsiteX393" fmla="*/ 5100826 w 6780746"/>
              <a:gd name="connsiteY393" fmla="*/ 1016489 h 6858000"/>
              <a:gd name="connsiteX394" fmla="*/ 5103061 w 6780746"/>
              <a:gd name="connsiteY394" fmla="*/ 1014256 h 6858000"/>
              <a:gd name="connsiteX395" fmla="*/ 5103061 w 6780746"/>
              <a:gd name="connsiteY395" fmla="*/ 943483 h 6858000"/>
              <a:gd name="connsiteX396" fmla="*/ 5109579 w 6780746"/>
              <a:gd name="connsiteY396" fmla="*/ 926053 h 6858000"/>
              <a:gd name="connsiteX397" fmla="*/ 5126340 w 6780746"/>
              <a:gd name="connsiteY397" fmla="*/ 919540 h 6858000"/>
              <a:gd name="connsiteX398" fmla="*/ 5142853 w 6780746"/>
              <a:gd name="connsiteY398" fmla="*/ 926115 h 6858000"/>
              <a:gd name="connsiteX399" fmla="*/ 5148998 w 6780746"/>
              <a:gd name="connsiteY399" fmla="*/ 943917 h 6858000"/>
              <a:gd name="connsiteX400" fmla="*/ 5148998 w 6780746"/>
              <a:gd name="connsiteY400" fmla="*/ 1014256 h 6858000"/>
              <a:gd name="connsiteX401" fmla="*/ 5151233 w 6780746"/>
              <a:gd name="connsiteY401" fmla="*/ 1016489 h 6858000"/>
              <a:gd name="connsiteX402" fmla="*/ 5168056 w 6780746"/>
              <a:gd name="connsiteY402" fmla="*/ 1016489 h 6858000"/>
              <a:gd name="connsiteX403" fmla="*/ 5170291 w 6780746"/>
              <a:gd name="connsiteY403" fmla="*/ 1014256 h 6858000"/>
              <a:gd name="connsiteX404" fmla="*/ 5170291 w 6780746"/>
              <a:gd name="connsiteY404" fmla="*/ 939451 h 6858000"/>
              <a:gd name="connsiteX405" fmla="*/ 5160421 w 6780746"/>
              <a:gd name="connsiteY405" fmla="*/ 911166 h 6858000"/>
              <a:gd name="connsiteX406" fmla="*/ 5133541 w 6780746"/>
              <a:gd name="connsiteY406" fmla="*/ 900931 h 6858000"/>
              <a:gd name="connsiteX407" fmla="*/ 5113924 w 6780746"/>
              <a:gd name="connsiteY407" fmla="*/ 905211 h 6858000"/>
              <a:gd name="connsiteX408" fmla="*/ 5099708 w 6780746"/>
              <a:gd name="connsiteY408" fmla="*/ 918175 h 6858000"/>
              <a:gd name="connsiteX409" fmla="*/ 5098343 w 6780746"/>
              <a:gd name="connsiteY409" fmla="*/ 918175 h 6858000"/>
              <a:gd name="connsiteX410" fmla="*/ 5085803 w 6780746"/>
              <a:gd name="connsiteY410" fmla="*/ 905336 h 6858000"/>
              <a:gd name="connsiteX411" fmla="*/ 5066310 w 6780746"/>
              <a:gd name="connsiteY411" fmla="*/ 900931 h 6858000"/>
              <a:gd name="connsiteX412" fmla="*/ 4816215 w 6780746"/>
              <a:gd name="connsiteY412" fmla="*/ 900931 h 6858000"/>
              <a:gd name="connsiteX413" fmla="*/ 4786784 w 6780746"/>
              <a:gd name="connsiteY413" fmla="*/ 909856 h 6858000"/>
              <a:gd name="connsiteX414" fmla="*/ 4770607 w 6780746"/>
              <a:gd name="connsiteY414" fmla="*/ 934274 h 6858000"/>
              <a:gd name="connsiteX415" fmla="*/ 4768118 w 6780746"/>
              <a:gd name="connsiteY415" fmla="*/ 959064 h 6858000"/>
              <a:gd name="connsiteX416" fmla="*/ 4773531 w 6780746"/>
              <a:gd name="connsiteY416" fmla="*/ 991043 h 6858000"/>
              <a:gd name="connsiteX417" fmla="*/ 4790393 w 6780746"/>
              <a:gd name="connsiteY417" fmla="*/ 1011433 h 6858000"/>
              <a:gd name="connsiteX418" fmla="*/ 4818019 w 6780746"/>
              <a:gd name="connsiteY418" fmla="*/ 1018560 h 6858000"/>
              <a:gd name="connsiteX419" fmla="*/ 4844152 w 6780746"/>
              <a:gd name="connsiteY419" fmla="*/ 1012734 h 6858000"/>
              <a:gd name="connsiteX420" fmla="*/ 4862010 w 6780746"/>
              <a:gd name="connsiteY420" fmla="*/ 996869 h 6858000"/>
              <a:gd name="connsiteX421" fmla="*/ 4861325 w 6780746"/>
              <a:gd name="connsiteY421" fmla="*/ 993956 h 6858000"/>
              <a:gd name="connsiteX422" fmla="*/ 4848570 w 6780746"/>
              <a:gd name="connsiteY422" fmla="*/ 985465 h 6858000"/>
              <a:gd name="connsiteX423" fmla="*/ 4845646 w 6780746"/>
              <a:gd name="connsiteY423" fmla="*/ 986147 h 6858000"/>
              <a:gd name="connsiteX424" fmla="*/ 4820011 w 6780746"/>
              <a:gd name="connsiteY424" fmla="*/ 999782 h 6858000"/>
              <a:gd name="connsiteX425" fmla="*/ 4801033 w 6780746"/>
              <a:gd name="connsiteY425" fmla="*/ 994762 h 6858000"/>
              <a:gd name="connsiteX426" fmla="*/ 4791078 w 6780746"/>
              <a:gd name="connsiteY426" fmla="*/ 980755 h 6858000"/>
              <a:gd name="connsiteX427" fmla="*/ 4789709 w 6780746"/>
              <a:gd name="connsiteY427" fmla="*/ 969166 h 6858000"/>
              <a:gd name="connsiteX428" fmla="*/ 4790580 w 6780746"/>
              <a:gd name="connsiteY428" fmla="*/ 968236 h 6858000"/>
              <a:gd name="connsiteX429" fmla="*/ 4862259 w 6780746"/>
              <a:gd name="connsiteY429" fmla="*/ 968236 h 6858000"/>
              <a:gd name="connsiteX430" fmla="*/ 4864499 w 6780746"/>
              <a:gd name="connsiteY430" fmla="*/ 966005 h 6858000"/>
              <a:gd name="connsiteX431" fmla="*/ 4863814 w 6780746"/>
              <a:gd name="connsiteY431" fmla="*/ 945430 h 6858000"/>
              <a:gd name="connsiteX432" fmla="*/ 4850126 w 6780746"/>
              <a:gd name="connsiteY432" fmla="*/ 912211 h 6858000"/>
              <a:gd name="connsiteX433" fmla="*/ 4816215 w 6780746"/>
              <a:gd name="connsiteY433" fmla="*/ 900931 h 6858000"/>
              <a:gd name="connsiteX434" fmla="*/ 4700950 w 6780746"/>
              <a:gd name="connsiteY434" fmla="*/ 900931 h 6858000"/>
              <a:gd name="connsiteX435" fmla="*/ 4672473 w 6780746"/>
              <a:gd name="connsiteY435" fmla="*/ 913275 h 6858000"/>
              <a:gd name="connsiteX436" fmla="*/ 4671976 w 6780746"/>
              <a:gd name="connsiteY436" fmla="*/ 913461 h 6858000"/>
              <a:gd name="connsiteX437" fmla="*/ 4671604 w 6780746"/>
              <a:gd name="connsiteY437" fmla="*/ 912841 h 6858000"/>
              <a:gd name="connsiteX438" fmla="*/ 4671604 w 6780746"/>
              <a:gd name="connsiteY438" fmla="*/ 904777 h 6858000"/>
              <a:gd name="connsiteX439" fmla="*/ 4669371 w 6780746"/>
              <a:gd name="connsiteY439" fmla="*/ 902544 h 6858000"/>
              <a:gd name="connsiteX440" fmla="*/ 4652371 w 6780746"/>
              <a:gd name="connsiteY440" fmla="*/ 902544 h 6858000"/>
              <a:gd name="connsiteX441" fmla="*/ 4650075 w 6780746"/>
              <a:gd name="connsiteY441" fmla="*/ 904777 h 6858000"/>
              <a:gd name="connsiteX442" fmla="*/ 4650075 w 6780746"/>
              <a:gd name="connsiteY442" fmla="*/ 1014256 h 6858000"/>
              <a:gd name="connsiteX443" fmla="*/ 4652371 w 6780746"/>
              <a:gd name="connsiteY443" fmla="*/ 1016489 h 6858000"/>
              <a:gd name="connsiteX444" fmla="*/ 4669371 w 6780746"/>
              <a:gd name="connsiteY444" fmla="*/ 1016489 h 6858000"/>
              <a:gd name="connsiteX445" fmla="*/ 4671604 w 6780746"/>
              <a:gd name="connsiteY445" fmla="*/ 1014256 h 6858000"/>
              <a:gd name="connsiteX446" fmla="*/ 4671604 w 6780746"/>
              <a:gd name="connsiteY446" fmla="*/ 944413 h 6858000"/>
              <a:gd name="connsiteX447" fmla="*/ 4678305 w 6780746"/>
              <a:gd name="connsiteY447" fmla="*/ 926487 h 6858000"/>
              <a:gd name="connsiteX448" fmla="*/ 4695553 w 6780746"/>
              <a:gd name="connsiteY448" fmla="*/ 919540 h 6858000"/>
              <a:gd name="connsiteX449" fmla="*/ 4712801 w 6780746"/>
              <a:gd name="connsiteY449" fmla="*/ 926487 h 6858000"/>
              <a:gd name="connsiteX450" fmla="*/ 4719315 w 6780746"/>
              <a:gd name="connsiteY450" fmla="*/ 944599 h 6858000"/>
              <a:gd name="connsiteX451" fmla="*/ 4719315 w 6780746"/>
              <a:gd name="connsiteY451" fmla="*/ 1014256 h 6858000"/>
              <a:gd name="connsiteX452" fmla="*/ 4721549 w 6780746"/>
              <a:gd name="connsiteY452" fmla="*/ 1016489 h 6858000"/>
              <a:gd name="connsiteX453" fmla="*/ 4738548 w 6780746"/>
              <a:gd name="connsiteY453" fmla="*/ 1016489 h 6858000"/>
              <a:gd name="connsiteX454" fmla="*/ 4740782 w 6780746"/>
              <a:gd name="connsiteY454" fmla="*/ 1014256 h 6858000"/>
              <a:gd name="connsiteX455" fmla="*/ 4740782 w 6780746"/>
              <a:gd name="connsiteY455" fmla="*/ 940381 h 6858000"/>
              <a:gd name="connsiteX456" fmla="*/ 4730048 w 6780746"/>
              <a:gd name="connsiteY456" fmla="*/ 911600 h 6858000"/>
              <a:gd name="connsiteX457" fmla="*/ 4700950 w 6780746"/>
              <a:gd name="connsiteY457" fmla="*/ 900931 h 6858000"/>
              <a:gd name="connsiteX458" fmla="*/ 4489600 w 6780746"/>
              <a:gd name="connsiteY458" fmla="*/ 900931 h 6858000"/>
              <a:gd name="connsiteX459" fmla="*/ 4460277 w 6780746"/>
              <a:gd name="connsiteY459" fmla="*/ 909856 h 6858000"/>
              <a:gd name="connsiteX460" fmla="*/ 4444158 w 6780746"/>
              <a:gd name="connsiteY460" fmla="*/ 934274 h 6858000"/>
              <a:gd name="connsiteX461" fmla="*/ 4441740 w 6780746"/>
              <a:gd name="connsiteY461" fmla="*/ 959064 h 6858000"/>
              <a:gd name="connsiteX462" fmla="*/ 4447071 w 6780746"/>
              <a:gd name="connsiteY462" fmla="*/ 991043 h 6858000"/>
              <a:gd name="connsiteX463" fmla="*/ 4463872 w 6780746"/>
              <a:gd name="connsiteY463" fmla="*/ 1011433 h 6858000"/>
              <a:gd name="connsiteX464" fmla="*/ 4491397 w 6780746"/>
              <a:gd name="connsiteY464" fmla="*/ 1018560 h 6858000"/>
              <a:gd name="connsiteX465" fmla="*/ 4517435 w 6780746"/>
              <a:gd name="connsiteY465" fmla="*/ 1012734 h 6858000"/>
              <a:gd name="connsiteX466" fmla="*/ 4535227 w 6780746"/>
              <a:gd name="connsiteY466" fmla="*/ 996869 h 6858000"/>
              <a:gd name="connsiteX467" fmla="*/ 4534545 w 6780746"/>
              <a:gd name="connsiteY467" fmla="*/ 993956 h 6858000"/>
              <a:gd name="connsiteX468" fmla="*/ 4521837 w 6780746"/>
              <a:gd name="connsiteY468" fmla="*/ 985465 h 6858000"/>
              <a:gd name="connsiteX469" fmla="*/ 4518923 w 6780746"/>
              <a:gd name="connsiteY469" fmla="*/ 986147 h 6858000"/>
              <a:gd name="connsiteX470" fmla="*/ 4493382 w 6780746"/>
              <a:gd name="connsiteY470" fmla="*/ 999782 h 6858000"/>
              <a:gd name="connsiteX471" fmla="*/ 4474473 w 6780746"/>
              <a:gd name="connsiteY471" fmla="*/ 994762 h 6858000"/>
              <a:gd name="connsiteX472" fmla="*/ 4464554 w 6780746"/>
              <a:gd name="connsiteY472" fmla="*/ 980755 h 6858000"/>
              <a:gd name="connsiteX473" fmla="*/ 4463190 w 6780746"/>
              <a:gd name="connsiteY473" fmla="*/ 969166 h 6858000"/>
              <a:gd name="connsiteX474" fmla="*/ 4464058 w 6780746"/>
              <a:gd name="connsiteY474" fmla="*/ 968236 h 6858000"/>
              <a:gd name="connsiteX475" fmla="*/ 4535475 w 6780746"/>
              <a:gd name="connsiteY475" fmla="*/ 968236 h 6858000"/>
              <a:gd name="connsiteX476" fmla="*/ 4537707 w 6780746"/>
              <a:gd name="connsiteY476" fmla="*/ 966005 h 6858000"/>
              <a:gd name="connsiteX477" fmla="*/ 4537025 w 6780746"/>
              <a:gd name="connsiteY477" fmla="*/ 945430 h 6858000"/>
              <a:gd name="connsiteX478" fmla="*/ 4523387 w 6780746"/>
              <a:gd name="connsiteY478" fmla="*/ 912211 h 6858000"/>
              <a:gd name="connsiteX479" fmla="*/ 4489600 w 6780746"/>
              <a:gd name="connsiteY479" fmla="*/ 900931 h 6858000"/>
              <a:gd name="connsiteX480" fmla="*/ 4291736 w 6780746"/>
              <a:gd name="connsiteY480" fmla="*/ 900931 h 6858000"/>
              <a:gd name="connsiteX481" fmla="*/ 4263258 w 6780746"/>
              <a:gd name="connsiteY481" fmla="*/ 913275 h 6858000"/>
              <a:gd name="connsiteX482" fmla="*/ 4262700 w 6780746"/>
              <a:gd name="connsiteY482" fmla="*/ 913461 h 6858000"/>
              <a:gd name="connsiteX483" fmla="*/ 4262389 w 6780746"/>
              <a:gd name="connsiteY483" fmla="*/ 912841 h 6858000"/>
              <a:gd name="connsiteX484" fmla="*/ 4262389 w 6780746"/>
              <a:gd name="connsiteY484" fmla="*/ 904777 h 6858000"/>
              <a:gd name="connsiteX485" fmla="*/ 4260156 w 6780746"/>
              <a:gd name="connsiteY485" fmla="*/ 902544 h 6858000"/>
              <a:gd name="connsiteX486" fmla="*/ 4243094 w 6780746"/>
              <a:gd name="connsiteY486" fmla="*/ 902544 h 6858000"/>
              <a:gd name="connsiteX487" fmla="*/ 4240861 w 6780746"/>
              <a:gd name="connsiteY487" fmla="*/ 904777 h 6858000"/>
              <a:gd name="connsiteX488" fmla="*/ 4240861 w 6780746"/>
              <a:gd name="connsiteY488" fmla="*/ 1014256 h 6858000"/>
              <a:gd name="connsiteX489" fmla="*/ 4243094 w 6780746"/>
              <a:gd name="connsiteY489" fmla="*/ 1016489 h 6858000"/>
              <a:gd name="connsiteX490" fmla="*/ 4260156 w 6780746"/>
              <a:gd name="connsiteY490" fmla="*/ 1016489 h 6858000"/>
              <a:gd name="connsiteX491" fmla="*/ 4262389 w 6780746"/>
              <a:gd name="connsiteY491" fmla="*/ 1014256 h 6858000"/>
              <a:gd name="connsiteX492" fmla="*/ 4262389 w 6780746"/>
              <a:gd name="connsiteY492" fmla="*/ 944413 h 6858000"/>
              <a:gd name="connsiteX493" fmla="*/ 4269090 w 6780746"/>
              <a:gd name="connsiteY493" fmla="*/ 926487 h 6858000"/>
              <a:gd name="connsiteX494" fmla="*/ 4286338 w 6780746"/>
              <a:gd name="connsiteY494" fmla="*/ 919540 h 6858000"/>
              <a:gd name="connsiteX495" fmla="*/ 4303586 w 6780746"/>
              <a:gd name="connsiteY495" fmla="*/ 926487 h 6858000"/>
              <a:gd name="connsiteX496" fmla="*/ 4310100 w 6780746"/>
              <a:gd name="connsiteY496" fmla="*/ 944599 h 6858000"/>
              <a:gd name="connsiteX497" fmla="*/ 4310100 w 6780746"/>
              <a:gd name="connsiteY497" fmla="*/ 1014256 h 6858000"/>
              <a:gd name="connsiteX498" fmla="*/ 4312334 w 6780746"/>
              <a:gd name="connsiteY498" fmla="*/ 1016489 h 6858000"/>
              <a:gd name="connsiteX499" fmla="*/ 4329334 w 6780746"/>
              <a:gd name="connsiteY499" fmla="*/ 1016489 h 6858000"/>
              <a:gd name="connsiteX500" fmla="*/ 4331567 w 6780746"/>
              <a:gd name="connsiteY500" fmla="*/ 1014256 h 6858000"/>
              <a:gd name="connsiteX501" fmla="*/ 4331567 w 6780746"/>
              <a:gd name="connsiteY501" fmla="*/ 940381 h 6858000"/>
              <a:gd name="connsiteX502" fmla="*/ 4320834 w 6780746"/>
              <a:gd name="connsiteY502" fmla="*/ 911600 h 6858000"/>
              <a:gd name="connsiteX503" fmla="*/ 4291736 w 6780746"/>
              <a:gd name="connsiteY503" fmla="*/ 900931 h 6858000"/>
              <a:gd name="connsiteX504" fmla="*/ 4373883 w 6780746"/>
              <a:gd name="connsiteY504" fmla="*/ 872767 h 6858000"/>
              <a:gd name="connsiteX505" fmla="*/ 4371641 w 6780746"/>
              <a:gd name="connsiteY505" fmla="*/ 875003 h 6858000"/>
              <a:gd name="connsiteX506" fmla="*/ 4371641 w 6780746"/>
              <a:gd name="connsiteY506" fmla="*/ 901458 h 6858000"/>
              <a:gd name="connsiteX507" fmla="*/ 4370769 w 6780746"/>
              <a:gd name="connsiteY507" fmla="*/ 902327 h 6858000"/>
              <a:gd name="connsiteX508" fmla="*/ 4357066 w 6780746"/>
              <a:gd name="connsiteY508" fmla="*/ 902327 h 6858000"/>
              <a:gd name="connsiteX509" fmla="*/ 4354761 w 6780746"/>
              <a:gd name="connsiteY509" fmla="*/ 904625 h 6858000"/>
              <a:gd name="connsiteX510" fmla="*/ 4354761 w 6780746"/>
              <a:gd name="connsiteY510" fmla="*/ 917852 h 6858000"/>
              <a:gd name="connsiteX511" fmla="*/ 4357066 w 6780746"/>
              <a:gd name="connsiteY511" fmla="*/ 920088 h 6858000"/>
              <a:gd name="connsiteX512" fmla="*/ 4370769 w 6780746"/>
              <a:gd name="connsiteY512" fmla="*/ 920088 h 6858000"/>
              <a:gd name="connsiteX513" fmla="*/ 4371641 w 6780746"/>
              <a:gd name="connsiteY513" fmla="*/ 920957 h 6858000"/>
              <a:gd name="connsiteX514" fmla="*/ 4371641 w 6780746"/>
              <a:gd name="connsiteY514" fmla="*/ 987964 h 6858000"/>
              <a:gd name="connsiteX515" fmla="*/ 4380299 w 6780746"/>
              <a:gd name="connsiteY515" fmla="*/ 1010755 h 6858000"/>
              <a:gd name="connsiteX516" fmla="*/ 4406085 w 6780746"/>
              <a:gd name="connsiteY516" fmla="*/ 1016903 h 6858000"/>
              <a:gd name="connsiteX517" fmla="*/ 4416425 w 6780746"/>
              <a:gd name="connsiteY517" fmla="*/ 1016468 h 6858000"/>
              <a:gd name="connsiteX518" fmla="*/ 4418667 w 6780746"/>
              <a:gd name="connsiteY518" fmla="*/ 1014233 h 6858000"/>
              <a:gd name="connsiteX519" fmla="*/ 4418667 w 6780746"/>
              <a:gd name="connsiteY519" fmla="*/ 1000322 h 6858000"/>
              <a:gd name="connsiteX520" fmla="*/ 4416425 w 6780746"/>
              <a:gd name="connsiteY520" fmla="*/ 998087 h 6858000"/>
              <a:gd name="connsiteX521" fmla="*/ 4409885 w 6780746"/>
              <a:gd name="connsiteY521" fmla="*/ 998087 h 6858000"/>
              <a:gd name="connsiteX522" fmla="*/ 4396618 w 6780746"/>
              <a:gd name="connsiteY522" fmla="*/ 993926 h 6858000"/>
              <a:gd name="connsiteX523" fmla="*/ 4392320 w 6780746"/>
              <a:gd name="connsiteY523" fmla="*/ 980388 h 6858000"/>
              <a:gd name="connsiteX524" fmla="*/ 4392320 w 6780746"/>
              <a:gd name="connsiteY524" fmla="*/ 920957 h 6858000"/>
              <a:gd name="connsiteX525" fmla="*/ 4393255 w 6780746"/>
              <a:gd name="connsiteY525" fmla="*/ 920088 h 6858000"/>
              <a:gd name="connsiteX526" fmla="*/ 4417546 w 6780746"/>
              <a:gd name="connsiteY526" fmla="*/ 920088 h 6858000"/>
              <a:gd name="connsiteX527" fmla="*/ 4419789 w 6780746"/>
              <a:gd name="connsiteY527" fmla="*/ 917852 h 6858000"/>
              <a:gd name="connsiteX528" fmla="*/ 4419789 w 6780746"/>
              <a:gd name="connsiteY528" fmla="*/ 904625 h 6858000"/>
              <a:gd name="connsiteX529" fmla="*/ 4417546 w 6780746"/>
              <a:gd name="connsiteY529" fmla="*/ 902327 h 6858000"/>
              <a:gd name="connsiteX530" fmla="*/ 4393255 w 6780746"/>
              <a:gd name="connsiteY530" fmla="*/ 902327 h 6858000"/>
              <a:gd name="connsiteX531" fmla="*/ 4392320 w 6780746"/>
              <a:gd name="connsiteY531" fmla="*/ 901458 h 6858000"/>
              <a:gd name="connsiteX532" fmla="*/ 4392320 w 6780746"/>
              <a:gd name="connsiteY532" fmla="*/ 875003 h 6858000"/>
              <a:gd name="connsiteX533" fmla="*/ 4390078 w 6780746"/>
              <a:gd name="connsiteY533" fmla="*/ 872767 h 6858000"/>
              <a:gd name="connsiteX534" fmla="*/ 4373883 w 6780746"/>
              <a:gd name="connsiteY534" fmla="*/ 872767 h 6858000"/>
              <a:gd name="connsiteX535" fmla="*/ 4895021 w 6780746"/>
              <a:gd name="connsiteY535" fmla="*/ 859927 h 6858000"/>
              <a:gd name="connsiteX536" fmla="*/ 4892787 w 6780746"/>
              <a:gd name="connsiteY536" fmla="*/ 862157 h 6858000"/>
              <a:gd name="connsiteX537" fmla="*/ 4892787 w 6780746"/>
              <a:gd name="connsiteY537" fmla="*/ 1014258 h 6858000"/>
              <a:gd name="connsiteX538" fmla="*/ 4895021 w 6780746"/>
              <a:gd name="connsiteY538" fmla="*/ 1016489 h 6858000"/>
              <a:gd name="connsiteX539" fmla="*/ 4912021 w 6780746"/>
              <a:gd name="connsiteY539" fmla="*/ 1016489 h 6858000"/>
              <a:gd name="connsiteX540" fmla="*/ 4914254 w 6780746"/>
              <a:gd name="connsiteY540" fmla="*/ 1014258 h 6858000"/>
              <a:gd name="connsiteX541" fmla="*/ 4914254 w 6780746"/>
              <a:gd name="connsiteY541" fmla="*/ 944496 h 6858000"/>
              <a:gd name="connsiteX542" fmla="*/ 4921017 w 6780746"/>
              <a:gd name="connsiteY542" fmla="*/ 926591 h 6858000"/>
              <a:gd name="connsiteX543" fmla="*/ 4938265 w 6780746"/>
              <a:gd name="connsiteY543" fmla="*/ 919652 h 6858000"/>
              <a:gd name="connsiteX544" fmla="*/ 4955513 w 6780746"/>
              <a:gd name="connsiteY544" fmla="*/ 926591 h 6858000"/>
              <a:gd name="connsiteX545" fmla="*/ 4961965 w 6780746"/>
              <a:gd name="connsiteY545" fmla="*/ 944682 h 6858000"/>
              <a:gd name="connsiteX546" fmla="*/ 4961965 w 6780746"/>
              <a:gd name="connsiteY546" fmla="*/ 1014258 h 6858000"/>
              <a:gd name="connsiteX547" fmla="*/ 4964199 w 6780746"/>
              <a:gd name="connsiteY547" fmla="*/ 1016489 h 6858000"/>
              <a:gd name="connsiteX548" fmla="*/ 4981260 w 6780746"/>
              <a:gd name="connsiteY548" fmla="*/ 1016489 h 6858000"/>
              <a:gd name="connsiteX549" fmla="*/ 4983494 w 6780746"/>
              <a:gd name="connsiteY549" fmla="*/ 1014258 h 6858000"/>
              <a:gd name="connsiteX550" fmla="*/ 4983494 w 6780746"/>
              <a:gd name="connsiteY550" fmla="*/ 940469 h 6858000"/>
              <a:gd name="connsiteX551" fmla="*/ 4972761 w 6780746"/>
              <a:gd name="connsiteY551" fmla="*/ 911722 h 6858000"/>
              <a:gd name="connsiteX552" fmla="*/ 4943600 w 6780746"/>
              <a:gd name="connsiteY552" fmla="*/ 901066 h 6858000"/>
              <a:gd name="connsiteX553" fmla="*/ 4915185 w 6780746"/>
              <a:gd name="connsiteY553" fmla="*/ 913395 h 6858000"/>
              <a:gd name="connsiteX554" fmla="*/ 4914626 w 6780746"/>
              <a:gd name="connsiteY554" fmla="*/ 913581 h 6858000"/>
              <a:gd name="connsiteX555" fmla="*/ 4914254 w 6780746"/>
              <a:gd name="connsiteY555" fmla="*/ 912961 h 6858000"/>
              <a:gd name="connsiteX556" fmla="*/ 4914254 w 6780746"/>
              <a:gd name="connsiteY556" fmla="*/ 862157 h 6858000"/>
              <a:gd name="connsiteX557" fmla="*/ 4912021 w 6780746"/>
              <a:gd name="connsiteY557" fmla="*/ 859927 h 6858000"/>
              <a:gd name="connsiteX558" fmla="*/ 4895021 w 6780746"/>
              <a:gd name="connsiteY558" fmla="*/ 859927 h 6858000"/>
              <a:gd name="connsiteX559" fmla="*/ 6159363 w 6780746"/>
              <a:gd name="connsiteY559" fmla="*/ 855785 h 6858000"/>
              <a:gd name="connsiteX560" fmla="*/ 6148946 w 6780746"/>
              <a:gd name="connsiteY560" fmla="*/ 859864 h 6858000"/>
              <a:gd name="connsiteX561" fmla="*/ 6144867 w 6780746"/>
              <a:gd name="connsiteY561" fmla="*/ 870281 h 6858000"/>
              <a:gd name="connsiteX562" fmla="*/ 6148946 w 6780746"/>
              <a:gd name="connsiteY562" fmla="*/ 880699 h 6858000"/>
              <a:gd name="connsiteX563" fmla="*/ 6159363 w 6780746"/>
              <a:gd name="connsiteY563" fmla="*/ 884778 h 6858000"/>
              <a:gd name="connsiteX564" fmla="*/ 6169843 w 6780746"/>
              <a:gd name="connsiteY564" fmla="*/ 880699 h 6858000"/>
              <a:gd name="connsiteX565" fmla="*/ 6173860 w 6780746"/>
              <a:gd name="connsiteY565" fmla="*/ 870281 h 6858000"/>
              <a:gd name="connsiteX566" fmla="*/ 6169843 w 6780746"/>
              <a:gd name="connsiteY566" fmla="*/ 859864 h 6858000"/>
              <a:gd name="connsiteX567" fmla="*/ 6159363 w 6780746"/>
              <a:gd name="connsiteY567" fmla="*/ 855785 h 6858000"/>
              <a:gd name="connsiteX568" fmla="*/ 3349368 w 6780746"/>
              <a:gd name="connsiteY568" fmla="*/ 543490 h 6858000"/>
              <a:gd name="connsiteX569" fmla="*/ 3406786 w 6780746"/>
              <a:gd name="connsiteY569" fmla="*/ 543490 h 6858000"/>
              <a:gd name="connsiteX570" fmla="*/ 3414148 w 6780746"/>
              <a:gd name="connsiteY570" fmla="*/ 550258 h 6858000"/>
              <a:gd name="connsiteX571" fmla="*/ 3414148 w 6780746"/>
              <a:gd name="connsiteY571" fmla="*/ 696849 h 6858000"/>
              <a:gd name="connsiteX572" fmla="*/ 3403816 w 6780746"/>
              <a:gd name="connsiteY572" fmla="*/ 706969 h 6858000"/>
              <a:gd name="connsiteX573" fmla="*/ 3371952 w 6780746"/>
              <a:gd name="connsiteY573" fmla="*/ 706597 h 6858000"/>
              <a:gd name="connsiteX574" fmla="*/ 3349368 w 6780746"/>
              <a:gd name="connsiteY574" fmla="*/ 706597 h 6858000"/>
              <a:gd name="connsiteX575" fmla="*/ 3321897 w 6780746"/>
              <a:gd name="connsiteY575" fmla="*/ 698587 h 6858000"/>
              <a:gd name="connsiteX576" fmla="*/ 3313916 w 6780746"/>
              <a:gd name="connsiteY576" fmla="*/ 671020 h 6858000"/>
              <a:gd name="connsiteX577" fmla="*/ 3313916 w 6780746"/>
              <a:gd name="connsiteY577" fmla="*/ 579688 h 6858000"/>
              <a:gd name="connsiteX578" fmla="*/ 3321897 w 6780746"/>
              <a:gd name="connsiteY578" fmla="*/ 551748 h 6858000"/>
              <a:gd name="connsiteX579" fmla="*/ 3349368 w 6780746"/>
              <a:gd name="connsiteY579" fmla="*/ 543490 h 6858000"/>
              <a:gd name="connsiteX580" fmla="*/ 4771779 w 6780746"/>
              <a:gd name="connsiteY580" fmla="*/ 516982 h 6858000"/>
              <a:gd name="connsiteX581" fmla="*/ 4814573 w 6780746"/>
              <a:gd name="connsiteY581" fmla="*/ 516982 h 6858000"/>
              <a:gd name="connsiteX582" fmla="*/ 4865865 w 6780746"/>
              <a:gd name="connsiteY582" fmla="*/ 569515 h 6858000"/>
              <a:gd name="connsiteX583" fmla="*/ 4865865 w 6780746"/>
              <a:gd name="connsiteY583" fmla="*/ 697989 h 6858000"/>
              <a:gd name="connsiteX584" fmla="*/ 4814573 w 6780746"/>
              <a:gd name="connsiteY584" fmla="*/ 750583 h 6858000"/>
              <a:gd name="connsiteX585" fmla="*/ 4771779 w 6780746"/>
              <a:gd name="connsiteY585" fmla="*/ 750583 h 6858000"/>
              <a:gd name="connsiteX586" fmla="*/ 4720487 w 6780746"/>
              <a:gd name="connsiteY586" fmla="*/ 697989 h 6858000"/>
              <a:gd name="connsiteX587" fmla="*/ 4720487 w 6780746"/>
              <a:gd name="connsiteY587" fmla="*/ 569515 h 6858000"/>
              <a:gd name="connsiteX588" fmla="*/ 4771779 w 6780746"/>
              <a:gd name="connsiteY588" fmla="*/ 516982 h 6858000"/>
              <a:gd name="connsiteX589" fmla="*/ 5681233 w 6780746"/>
              <a:gd name="connsiteY589" fmla="*/ 516568 h 6858000"/>
              <a:gd name="connsiteX590" fmla="*/ 5766845 w 6780746"/>
              <a:gd name="connsiteY590" fmla="*/ 516568 h 6858000"/>
              <a:gd name="connsiteX591" fmla="*/ 5772929 w 6780746"/>
              <a:gd name="connsiteY591" fmla="*/ 522103 h 6858000"/>
              <a:gd name="connsiteX592" fmla="*/ 5772929 w 6780746"/>
              <a:gd name="connsiteY592" fmla="*/ 694240 h 6858000"/>
              <a:gd name="connsiteX593" fmla="*/ 5758278 w 6780746"/>
              <a:gd name="connsiteY593" fmla="*/ 735907 h 6858000"/>
              <a:gd name="connsiteX594" fmla="*/ 5716062 w 6780746"/>
              <a:gd name="connsiteY594" fmla="*/ 750583 h 6858000"/>
              <a:gd name="connsiteX595" fmla="*/ 5681233 w 6780746"/>
              <a:gd name="connsiteY595" fmla="*/ 750583 h 6858000"/>
              <a:gd name="connsiteX596" fmla="*/ 5630450 w 6780746"/>
              <a:gd name="connsiteY596" fmla="*/ 697287 h 6858000"/>
              <a:gd name="connsiteX597" fmla="*/ 5630450 w 6780746"/>
              <a:gd name="connsiteY597" fmla="*/ 569864 h 6858000"/>
              <a:gd name="connsiteX598" fmla="*/ 5681233 w 6780746"/>
              <a:gd name="connsiteY598" fmla="*/ 516568 h 6858000"/>
              <a:gd name="connsiteX599" fmla="*/ 6370553 w 6780746"/>
              <a:gd name="connsiteY599" fmla="*/ 477635 h 6858000"/>
              <a:gd name="connsiteX600" fmla="*/ 6355903 w 6780746"/>
              <a:gd name="connsiteY600" fmla="*/ 485583 h 6858000"/>
              <a:gd name="connsiteX601" fmla="*/ 6269059 w 6780746"/>
              <a:gd name="connsiteY601" fmla="*/ 622554 h 6858000"/>
              <a:gd name="connsiteX602" fmla="*/ 6269059 w 6780746"/>
              <a:gd name="connsiteY602" fmla="*/ 635407 h 6858000"/>
              <a:gd name="connsiteX603" fmla="*/ 6363229 w 6780746"/>
              <a:gd name="connsiteY603" fmla="*/ 780948 h 6858000"/>
              <a:gd name="connsiteX604" fmla="*/ 6380361 w 6780746"/>
              <a:gd name="connsiteY604" fmla="*/ 789516 h 6858000"/>
              <a:gd name="connsiteX605" fmla="*/ 6409041 w 6780746"/>
              <a:gd name="connsiteY605" fmla="*/ 789516 h 6858000"/>
              <a:gd name="connsiteX606" fmla="*/ 6415807 w 6780746"/>
              <a:gd name="connsiteY606" fmla="*/ 786784 h 6858000"/>
              <a:gd name="connsiteX607" fmla="*/ 6415186 w 6780746"/>
              <a:gd name="connsiteY607" fmla="*/ 779768 h 6858000"/>
              <a:gd name="connsiteX608" fmla="*/ 6316112 w 6780746"/>
              <a:gd name="connsiteY608" fmla="*/ 629322 h 6858000"/>
              <a:gd name="connsiteX609" fmla="*/ 6316112 w 6780746"/>
              <a:gd name="connsiteY609" fmla="*/ 626839 h 6858000"/>
              <a:gd name="connsiteX610" fmla="*/ 6405999 w 6780746"/>
              <a:gd name="connsiteY610" fmla="*/ 487445 h 6858000"/>
              <a:gd name="connsiteX611" fmla="*/ 6407551 w 6780746"/>
              <a:gd name="connsiteY611" fmla="*/ 480367 h 6858000"/>
              <a:gd name="connsiteX612" fmla="*/ 6401095 w 6780746"/>
              <a:gd name="connsiteY612" fmla="*/ 477635 h 6858000"/>
              <a:gd name="connsiteX613" fmla="*/ 6370553 w 6780746"/>
              <a:gd name="connsiteY613" fmla="*/ 477635 h 6858000"/>
              <a:gd name="connsiteX614" fmla="*/ 6099401 w 6780746"/>
              <a:gd name="connsiteY614" fmla="*/ 477635 h 6858000"/>
              <a:gd name="connsiteX615" fmla="*/ 6091437 w 6780746"/>
              <a:gd name="connsiteY615" fmla="*/ 486204 h 6858000"/>
              <a:gd name="connsiteX616" fmla="*/ 6091437 w 6780746"/>
              <a:gd name="connsiteY616" fmla="*/ 781010 h 6858000"/>
              <a:gd name="connsiteX617" fmla="*/ 6100023 w 6780746"/>
              <a:gd name="connsiteY617" fmla="*/ 789516 h 6858000"/>
              <a:gd name="connsiteX618" fmla="*/ 6127646 w 6780746"/>
              <a:gd name="connsiteY618" fmla="*/ 789516 h 6858000"/>
              <a:gd name="connsiteX619" fmla="*/ 6136169 w 6780746"/>
              <a:gd name="connsiteY619" fmla="*/ 781010 h 6858000"/>
              <a:gd name="connsiteX620" fmla="*/ 6136169 w 6780746"/>
              <a:gd name="connsiteY620" fmla="*/ 486204 h 6858000"/>
              <a:gd name="connsiteX621" fmla="*/ 6127646 w 6780746"/>
              <a:gd name="connsiteY621" fmla="*/ 477635 h 6858000"/>
              <a:gd name="connsiteX622" fmla="*/ 6099401 w 6780746"/>
              <a:gd name="connsiteY622" fmla="*/ 477635 h 6858000"/>
              <a:gd name="connsiteX623" fmla="*/ 5676308 w 6780746"/>
              <a:gd name="connsiteY623" fmla="*/ 477635 h 6858000"/>
              <a:gd name="connsiteX624" fmla="*/ 5609950 w 6780746"/>
              <a:gd name="connsiteY624" fmla="*/ 501478 h 6858000"/>
              <a:gd name="connsiteX625" fmla="*/ 5585718 w 6780746"/>
              <a:gd name="connsiteY625" fmla="*/ 568163 h 6858000"/>
              <a:gd name="connsiteX626" fmla="*/ 5585718 w 6780746"/>
              <a:gd name="connsiteY626" fmla="*/ 699050 h 6858000"/>
              <a:gd name="connsiteX627" fmla="*/ 5609950 w 6780746"/>
              <a:gd name="connsiteY627" fmla="*/ 765674 h 6858000"/>
              <a:gd name="connsiteX628" fmla="*/ 5676308 w 6780746"/>
              <a:gd name="connsiteY628" fmla="*/ 789516 h 6858000"/>
              <a:gd name="connsiteX629" fmla="*/ 5708121 w 6780746"/>
              <a:gd name="connsiteY629" fmla="*/ 789516 h 6858000"/>
              <a:gd name="connsiteX630" fmla="*/ 5770564 w 6780746"/>
              <a:gd name="connsiteY630" fmla="*/ 757105 h 6858000"/>
              <a:gd name="connsiteX631" fmla="*/ 5772988 w 6780746"/>
              <a:gd name="connsiteY631" fmla="*/ 757105 h 6858000"/>
              <a:gd name="connsiteX632" fmla="*/ 5772988 w 6780746"/>
              <a:gd name="connsiteY632" fmla="*/ 781010 h 6858000"/>
              <a:gd name="connsiteX633" fmla="*/ 5781562 w 6780746"/>
              <a:gd name="connsiteY633" fmla="*/ 789516 h 6858000"/>
              <a:gd name="connsiteX634" fmla="*/ 5809149 w 6780746"/>
              <a:gd name="connsiteY634" fmla="*/ 789516 h 6858000"/>
              <a:gd name="connsiteX635" fmla="*/ 5817661 w 6780746"/>
              <a:gd name="connsiteY635" fmla="*/ 781010 h 6858000"/>
              <a:gd name="connsiteX636" fmla="*/ 5817661 w 6780746"/>
              <a:gd name="connsiteY636" fmla="*/ 486204 h 6858000"/>
              <a:gd name="connsiteX637" fmla="*/ 5809149 w 6780746"/>
              <a:gd name="connsiteY637" fmla="*/ 477635 h 6858000"/>
              <a:gd name="connsiteX638" fmla="*/ 5676308 w 6780746"/>
              <a:gd name="connsiteY638" fmla="*/ 477635 h 6858000"/>
              <a:gd name="connsiteX639" fmla="*/ 5151101 w 6780746"/>
              <a:gd name="connsiteY639" fmla="*/ 477635 h 6858000"/>
              <a:gd name="connsiteX640" fmla="*/ 5142541 w 6780746"/>
              <a:gd name="connsiteY640" fmla="*/ 486204 h 6858000"/>
              <a:gd name="connsiteX641" fmla="*/ 5142541 w 6780746"/>
              <a:gd name="connsiteY641" fmla="*/ 780948 h 6858000"/>
              <a:gd name="connsiteX642" fmla="*/ 5151101 w 6780746"/>
              <a:gd name="connsiteY642" fmla="*/ 789516 h 6858000"/>
              <a:gd name="connsiteX643" fmla="*/ 5178582 w 6780746"/>
              <a:gd name="connsiteY643" fmla="*/ 789516 h 6858000"/>
              <a:gd name="connsiteX644" fmla="*/ 5187142 w 6780746"/>
              <a:gd name="connsiteY644" fmla="*/ 780948 h 6858000"/>
              <a:gd name="connsiteX645" fmla="*/ 5187142 w 6780746"/>
              <a:gd name="connsiteY645" fmla="*/ 573068 h 6858000"/>
              <a:gd name="connsiteX646" fmla="*/ 5201782 w 6780746"/>
              <a:gd name="connsiteY646" fmla="*/ 531468 h 6858000"/>
              <a:gd name="connsiteX647" fmla="*/ 5243965 w 6780746"/>
              <a:gd name="connsiteY647" fmla="*/ 516814 h 6858000"/>
              <a:gd name="connsiteX648" fmla="*/ 5266545 w 6780746"/>
              <a:gd name="connsiteY648" fmla="*/ 516814 h 6858000"/>
              <a:gd name="connsiteX649" fmla="*/ 5317908 w 6780746"/>
              <a:gd name="connsiteY649" fmla="*/ 569964 h 6858000"/>
              <a:gd name="connsiteX650" fmla="*/ 5317908 w 6780746"/>
              <a:gd name="connsiteY650" fmla="*/ 780948 h 6858000"/>
              <a:gd name="connsiteX651" fmla="*/ 5326469 w 6780746"/>
              <a:gd name="connsiteY651" fmla="*/ 789516 h 6858000"/>
              <a:gd name="connsiteX652" fmla="*/ 5353949 w 6780746"/>
              <a:gd name="connsiteY652" fmla="*/ 789516 h 6858000"/>
              <a:gd name="connsiteX653" fmla="*/ 5362509 w 6780746"/>
              <a:gd name="connsiteY653" fmla="*/ 780948 h 6858000"/>
              <a:gd name="connsiteX654" fmla="*/ 5362509 w 6780746"/>
              <a:gd name="connsiteY654" fmla="*/ 574869 h 6858000"/>
              <a:gd name="connsiteX655" fmla="*/ 5377459 w 6780746"/>
              <a:gd name="connsiteY655" fmla="*/ 532399 h 6858000"/>
              <a:gd name="connsiteX656" fmla="*/ 5419952 w 6780746"/>
              <a:gd name="connsiteY656" fmla="*/ 516814 h 6858000"/>
              <a:gd name="connsiteX657" fmla="*/ 5440113 w 6780746"/>
              <a:gd name="connsiteY657" fmla="*/ 516814 h 6858000"/>
              <a:gd name="connsiteX658" fmla="*/ 5491414 w 6780746"/>
              <a:gd name="connsiteY658" fmla="*/ 569964 h 6858000"/>
              <a:gd name="connsiteX659" fmla="*/ 5491414 w 6780746"/>
              <a:gd name="connsiteY659" fmla="*/ 780948 h 6858000"/>
              <a:gd name="connsiteX660" fmla="*/ 5499975 w 6780746"/>
              <a:gd name="connsiteY660" fmla="*/ 789516 h 6858000"/>
              <a:gd name="connsiteX661" fmla="*/ 5527455 w 6780746"/>
              <a:gd name="connsiteY661" fmla="*/ 789516 h 6858000"/>
              <a:gd name="connsiteX662" fmla="*/ 5536016 w 6780746"/>
              <a:gd name="connsiteY662" fmla="*/ 780948 h 6858000"/>
              <a:gd name="connsiteX663" fmla="*/ 5536016 w 6780746"/>
              <a:gd name="connsiteY663" fmla="*/ 568163 h 6858000"/>
              <a:gd name="connsiteX664" fmla="*/ 5512815 w 6780746"/>
              <a:gd name="connsiteY664" fmla="*/ 501478 h 6858000"/>
              <a:gd name="connsiteX665" fmla="*/ 5448053 w 6780746"/>
              <a:gd name="connsiteY665" fmla="*/ 477635 h 6858000"/>
              <a:gd name="connsiteX666" fmla="*/ 5426652 w 6780746"/>
              <a:gd name="connsiteY666" fmla="*/ 477635 h 6858000"/>
              <a:gd name="connsiteX667" fmla="*/ 5382360 w 6780746"/>
              <a:gd name="connsiteY667" fmla="*/ 488315 h 6858000"/>
              <a:gd name="connsiteX668" fmla="*/ 5351530 w 6780746"/>
              <a:gd name="connsiteY668" fmla="*/ 519236 h 6858000"/>
              <a:gd name="connsiteX669" fmla="*/ 5276966 w 6780746"/>
              <a:gd name="connsiteY669" fmla="*/ 477635 h 6858000"/>
              <a:gd name="connsiteX670" fmla="*/ 5254324 w 6780746"/>
              <a:gd name="connsiteY670" fmla="*/ 477635 h 6858000"/>
              <a:gd name="connsiteX671" fmla="*/ 5189562 w 6780746"/>
              <a:gd name="connsiteY671" fmla="*/ 510046 h 6858000"/>
              <a:gd name="connsiteX672" fmla="*/ 5187142 w 6780746"/>
              <a:gd name="connsiteY672" fmla="*/ 510046 h 6858000"/>
              <a:gd name="connsiteX673" fmla="*/ 5187142 w 6780746"/>
              <a:gd name="connsiteY673" fmla="*/ 486204 h 6858000"/>
              <a:gd name="connsiteX674" fmla="*/ 5178582 w 6780746"/>
              <a:gd name="connsiteY674" fmla="*/ 477635 h 6858000"/>
              <a:gd name="connsiteX675" fmla="*/ 5151101 w 6780746"/>
              <a:gd name="connsiteY675" fmla="*/ 477635 h 6858000"/>
              <a:gd name="connsiteX676" fmla="*/ 4967124 w 6780746"/>
              <a:gd name="connsiteY676" fmla="*/ 477635 h 6858000"/>
              <a:gd name="connsiteX677" fmla="*/ 4958643 w 6780746"/>
              <a:gd name="connsiteY677" fmla="*/ 486204 h 6858000"/>
              <a:gd name="connsiteX678" fmla="*/ 4958643 w 6780746"/>
              <a:gd name="connsiteY678" fmla="*/ 780948 h 6858000"/>
              <a:gd name="connsiteX679" fmla="*/ 4967124 w 6780746"/>
              <a:gd name="connsiteY679" fmla="*/ 789516 h 6858000"/>
              <a:gd name="connsiteX680" fmla="*/ 4994608 w 6780746"/>
              <a:gd name="connsiteY680" fmla="*/ 789516 h 6858000"/>
              <a:gd name="connsiteX681" fmla="*/ 5003089 w 6780746"/>
              <a:gd name="connsiteY681" fmla="*/ 780948 h 6858000"/>
              <a:gd name="connsiteX682" fmla="*/ 5003089 w 6780746"/>
              <a:gd name="connsiteY682" fmla="*/ 578532 h 6858000"/>
              <a:gd name="connsiteX683" fmla="*/ 5017759 w 6780746"/>
              <a:gd name="connsiteY683" fmla="*/ 533330 h 6858000"/>
              <a:gd name="connsiteX684" fmla="*/ 5059853 w 6780746"/>
              <a:gd name="connsiteY684" fmla="*/ 516814 h 6858000"/>
              <a:gd name="connsiteX685" fmla="*/ 5092785 w 6780746"/>
              <a:gd name="connsiteY685" fmla="*/ 516814 h 6858000"/>
              <a:gd name="connsiteX686" fmla="*/ 5098851 w 6780746"/>
              <a:gd name="connsiteY686" fmla="*/ 515262 h 6858000"/>
              <a:gd name="connsiteX687" fmla="*/ 5100708 w 6780746"/>
              <a:gd name="connsiteY687" fmla="*/ 508805 h 6858000"/>
              <a:gd name="connsiteX688" fmla="*/ 5100708 w 6780746"/>
              <a:gd name="connsiteY688" fmla="*/ 486204 h 6858000"/>
              <a:gd name="connsiteX689" fmla="*/ 5092785 w 6780746"/>
              <a:gd name="connsiteY689" fmla="*/ 477635 h 6858000"/>
              <a:gd name="connsiteX690" fmla="*/ 5068952 w 6780746"/>
              <a:gd name="connsiteY690" fmla="*/ 477635 h 6858000"/>
              <a:gd name="connsiteX691" fmla="*/ 5028716 w 6780746"/>
              <a:gd name="connsiteY691" fmla="*/ 487445 h 6858000"/>
              <a:gd name="connsiteX692" fmla="*/ 5005565 w 6780746"/>
              <a:gd name="connsiteY692" fmla="*/ 510667 h 6858000"/>
              <a:gd name="connsiteX693" fmla="*/ 5003089 w 6780746"/>
              <a:gd name="connsiteY693" fmla="*/ 510667 h 6858000"/>
              <a:gd name="connsiteX694" fmla="*/ 5003089 w 6780746"/>
              <a:gd name="connsiteY694" fmla="*/ 486204 h 6858000"/>
              <a:gd name="connsiteX695" fmla="*/ 4994608 w 6780746"/>
              <a:gd name="connsiteY695" fmla="*/ 477635 h 6858000"/>
              <a:gd name="connsiteX696" fmla="*/ 4967124 w 6780746"/>
              <a:gd name="connsiteY696" fmla="*/ 477635 h 6858000"/>
              <a:gd name="connsiteX697" fmla="*/ 4766895 w 6780746"/>
              <a:gd name="connsiteY697" fmla="*/ 477635 h 6858000"/>
              <a:gd name="connsiteX698" fmla="*/ 4700695 w 6780746"/>
              <a:gd name="connsiteY698" fmla="*/ 501478 h 6858000"/>
              <a:gd name="connsiteX699" fmla="*/ 4676583 w 6780746"/>
              <a:gd name="connsiteY699" fmla="*/ 568163 h 6858000"/>
              <a:gd name="connsiteX700" fmla="*/ 4676583 w 6780746"/>
              <a:gd name="connsiteY700" fmla="*/ 699050 h 6858000"/>
              <a:gd name="connsiteX701" fmla="*/ 4700695 w 6780746"/>
              <a:gd name="connsiteY701" fmla="*/ 765674 h 6858000"/>
              <a:gd name="connsiteX702" fmla="*/ 4766895 w 6780746"/>
              <a:gd name="connsiteY702" fmla="*/ 789516 h 6858000"/>
              <a:gd name="connsiteX703" fmla="*/ 4819395 w 6780746"/>
              <a:gd name="connsiteY703" fmla="*/ 789516 h 6858000"/>
              <a:gd name="connsiteX704" fmla="*/ 4885657 w 6780746"/>
              <a:gd name="connsiteY704" fmla="*/ 765674 h 6858000"/>
              <a:gd name="connsiteX705" fmla="*/ 4909769 w 6780746"/>
              <a:gd name="connsiteY705" fmla="*/ 699050 h 6858000"/>
              <a:gd name="connsiteX706" fmla="*/ 4909769 w 6780746"/>
              <a:gd name="connsiteY706" fmla="*/ 568163 h 6858000"/>
              <a:gd name="connsiteX707" fmla="*/ 4885657 w 6780746"/>
              <a:gd name="connsiteY707" fmla="*/ 501478 h 6858000"/>
              <a:gd name="connsiteX708" fmla="*/ 4819395 w 6780746"/>
              <a:gd name="connsiteY708" fmla="*/ 477635 h 6858000"/>
              <a:gd name="connsiteX709" fmla="*/ 4766895 w 6780746"/>
              <a:gd name="connsiteY709" fmla="*/ 477635 h 6858000"/>
              <a:gd name="connsiteX710" fmla="*/ 4230782 w 6780746"/>
              <a:gd name="connsiteY710" fmla="*/ 477635 h 6858000"/>
              <a:gd name="connsiteX711" fmla="*/ 4222223 w 6780746"/>
              <a:gd name="connsiteY711" fmla="*/ 486204 h 6858000"/>
              <a:gd name="connsiteX712" fmla="*/ 4222223 w 6780746"/>
              <a:gd name="connsiteY712" fmla="*/ 780948 h 6858000"/>
              <a:gd name="connsiteX713" fmla="*/ 4230782 w 6780746"/>
              <a:gd name="connsiteY713" fmla="*/ 789516 h 6858000"/>
              <a:gd name="connsiteX714" fmla="*/ 4258258 w 6780746"/>
              <a:gd name="connsiteY714" fmla="*/ 789516 h 6858000"/>
              <a:gd name="connsiteX715" fmla="*/ 4266817 w 6780746"/>
              <a:gd name="connsiteY715" fmla="*/ 780948 h 6858000"/>
              <a:gd name="connsiteX716" fmla="*/ 4266817 w 6780746"/>
              <a:gd name="connsiteY716" fmla="*/ 573068 h 6858000"/>
              <a:gd name="connsiteX717" fmla="*/ 4281454 w 6780746"/>
              <a:gd name="connsiteY717" fmla="*/ 531468 h 6858000"/>
              <a:gd name="connsiteX718" fmla="*/ 4323629 w 6780746"/>
              <a:gd name="connsiteY718" fmla="*/ 516814 h 6858000"/>
              <a:gd name="connsiteX719" fmla="*/ 4357865 w 6780746"/>
              <a:gd name="connsiteY719" fmla="*/ 516814 h 6858000"/>
              <a:gd name="connsiteX720" fmla="*/ 4409158 w 6780746"/>
              <a:gd name="connsiteY720" fmla="*/ 569964 h 6858000"/>
              <a:gd name="connsiteX721" fmla="*/ 4409158 w 6780746"/>
              <a:gd name="connsiteY721" fmla="*/ 780948 h 6858000"/>
              <a:gd name="connsiteX722" fmla="*/ 4417717 w 6780746"/>
              <a:gd name="connsiteY722" fmla="*/ 789516 h 6858000"/>
              <a:gd name="connsiteX723" fmla="*/ 4445193 w 6780746"/>
              <a:gd name="connsiteY723" fmla="*/ 789516 h 6858000"/>
              <a:gd name="connsiteX724" fmla="*/ 4453752 w 6780746"/>
              <a:gd name="connsiteY724" fmla="*/ 780948 h 6858000"/>
              <a:gd name="connsiteX725" fmla="*/ 4453752 w 6780746"/>
              <a:gd name="connsiteY725" fmla="*/ 568163 h 6858000"/>
              <a:gd name="connsiteX726" fmla="*/ 4430556 w 6780746"/>
              <a:gd name="connsiteY726" fmla="*/ 501478 h 6858000"/>
              <a:gd name="connsiteX727" fmla="*/ 4365804 w 6780746"/>
              <a:gd name="connsiteY727" fmla="*/ 477635 h 6858000"/>
              <a:gd name="connsiteX728" fmla="*/ 4331568 w 6780746"/>
              <a:gd name="connsiteY728" fmla="*/ 477635 h 6858000"/>
              <a:gd name="connsiteX729" fmla="*/ 4269235 w 6780746"/>
              <a:gd name="connsiteY729" fmla="*/ 510046 h 6858000"/>
              <a:gd name="connsiteX730" fmla="*/ 4266817 w 6780746"/>
              <a:gd name="connsiteY730" fmla="*/ 510046 h 6858000"/>
              <a:gd name="connsiteX731" fmla="*/ 4266817 w 6780746"/>
              <a:gd name="connsiteY731" fmla="*/ 486204 h 6858000"/>
              <a:gd name="connsiteX732" fmla="*/ 4258258 w 6780746"/>
              <a:gd name="connsiteY732" fmla="*/ 477635 h 6858000"/>
              <a:gd name="connsiteX733" fmla="*/ 4230782 w 6780746"/>
              <a:gd name="connsiteY733" fmla="*/ 477635 h 6858000"/>
              <a:gd name="connsiteX734" fmla="*/ 4127883 w 6780746"/>
              <a:gd name="connsiteY734" fmla="*/ 477635 h 6858000"/>
              <a:gd name="connsiteX735" fmla="*/ 4119919 w 6780746"/>
              <a:gd name="connsiteY735" fmla="*/ 486204 h 6858000"/>
              <a:gd name="connsiteX736" fmla="*/ 4119919 w 6780746"/>
              <a:gd name="connsiteY736" fmla="*/ 781010 h 6858000"/>
              <a:gd name="connsiteX737" fmla="*/ 4128504 w 6780746"/>
              <a:gd name="connsiteY737" fmla="*/ 789516 h 6858000"/>
              <a:gd name="connsiteX738" fmla="*/ 4156065 w 6780746"/>
              <a:gd name="connsiteY738" fmla="*/ 789516 h 6858000"/>
              <a:gd name="connsiteX739" fmla="*/ 4164651 w 6780746"/>
              <a:gd name="connsiteY739" fmla="*/ 781010 h 6858000"/>
              <a:gd name="connsiteX740" fmla="*/ 4164651 w 6780746"/>
              <a:gd name="connsiteY740" fmla="*/ 486204 h 6858000"/>
              <a:gd name="connsiteX741" fmla="*/ 4156065 w 6780746"/>
              <a:gd name="connsiteY741" fmla="*/ 477635 h 6858000"/>
              <a:gd name="connsiteX742" fmla="*/ 4127883 w 6780746"/>
              <a:gd name="connsiteY742" fmla="*/ 477635 h 6858000"/>
              <a:gd name="connsiteX743" fmla="*/ 3707401 w 6780746"/>
              <a:gd name="connsiteY743" fmla="*/ 475978 h 6858000"/>
              <a:gd name="connsiteX744" fmla="*/ 3698215 w 6780746"/>
              <a:gd name="connsiteY744" fmla="*/ 488832 h 6858000"/>
              <a:gd name="connsiteX745" fmla="*/ 3774871 w 6780746"/>
              <a:gd name="connsiteY745" fmla="*/ 775213 h 6858000"/>
              <a:gd name="connsiteX746" fmla="*/ 3791382 w 6780746"/>
              <a:gd name="connsiteY746" fmla="*/ 788688 h 6858000"/>
              <a:gd name="connsiteX747" fmla="*/ 3869219 w 6780746"/>
              <a:gd name="connsiteY747" fmla="*/ 788688 h 6858000"/>
              <a:gd name="connsiteX748" fmla="*/ 3885791 w 6780746"/>
              <a:gd name="connsiteY748" fmla="*/ 775213 h 6858000"/>
              <a:gd name="connsiteX749" fmla="*/ 3963007 w 6780746"/>
              <a:gd name="connsiteY749" fmla="*/ 488832 h 6858000"/>
              <a:gd name="connsiteX750" fmla="*/ 3953821 w 6780746"/>
              <a:gd name="connsiteY750" fmla="*/ 475978 h 6858000"/>
              <a:gd name="connsiteX751" fmla="*/ 3899882 w 6780746"/>
              <a:gd name="connsiteY751" fmla="*/ 475978 h 6858000"/>
              <a:gd name="connsiteX752" fmla="*/ 3884550 w 6780746"/>
              <a:gd name="connsiteY752" fmla="*/ 488832 h 6858000"/>
              <a:gd name="connsiteX753" fmla="*/ 3833094 w 6780746"/>
              <a:gd name="connsiteY753" fmla="*/ 719390 h 6858000"/>
              <a:gd name="connsiteX754" fmla="*/ 3828749 w 6780746"/>
              <a:gd name="connsiteY754" fmla="*/ 719390 h 6858000"/>
              <a:gd name="connsiteX755" fmla="*/ 3776051 w 6780746"/>
              <a:gd name="connsiteY755" fmla="*/ 488832 h 6858000"/>
              <a:gd name="connsiteX756" fmla="*/ 3761340 w 6780746"/>
              <a:gd name="connsiteY756" fmla="*/ 475978 h 6858000"/>
              <a:gd name="connsiteX757" fmla="*/ 3707401 w 6780746"/>
              <a:gd name="connsiteY757" fmla="*/ 475978 h 6858000"/>
              <a:gd name="connsiteX758" fmla="*/ 3610389 w 6780746"/>
              <a:gd name="connsiteY758" fmla="*/ 475978 h 6858000"/>
              <a:gd name="connsiteX759" fmla="*/ 3589594 w 6780746"/>
              <a:gd name="connsiteY759" fmla="*/ 488211 h 6858000"/>
              <a:gd name="connsiteX760" fmla="*/ 3516035 w 6780746"/>
              <a:gd name="connsiteY760" fmla="*/ 618859 h 6858000"/>
              <a:gd name="connsiteX761" fmla="*/ 3516035 w 6780746"/>
              <a:gd name="connsiteY761" fmla="*/ 639102 h 6858000"/>
              <a:gd name="connsiteX762" fmla="*/ 3593877 w 6780746"/>
              <a:gd name="connsiteY762" fmla="*/ 775772 h 6858000"/>
              <a:gd name="connsiteX763" fmla="*/ 3603375 w 6780746"/>
              <a:gd name="connsiteY763" fmla="*/ 786204 h 6858000"/>
              <a:gd name="connsiteX764" fmla="*/ 3618397 w 6780746"/>
              <a:gd name="connsiteY764" fmla="*/ 788688 h 6858000"/>
              <a:gd name="connsiteX765" fmla="*/ 3671099 w 6780746"/>
              <a:gd name="connsiteY765" fmla="*/ 788688 h 6858000"/>
              <a:gd name="connsiteX766" fmla="*/ 3682148 w 6780746"/>
              <a:gd name="connsiteY766" fmla="*/ 784093 h 6858000"/>
              <a:gd name="connsiteX767" fmla="*/ 3681527 w 6780746"/>
              <a:gd name="connsiteY767" fmla="*/ 773350 h 6858000"/>
              <a:gd name="connsiteX768" fmla="*/ 3596298 w 6780746"/>
              <a:gd name="connsiteY768" fmla="*/ 628049 h 6858000"/>
              <a:gd name="connsiteX769" fmla="*/ 3596298 w 6780746"/>
              <a:gd name="connsiteY769" fmla="*/ 625565 h 6858000"/>
              <a:gd name="connsiteX770" fmla="*/ 3677865 w 6780746"/>
              <a:gd name="connsiteY770" fmla="*/ 491316 h 6858000"/>
              <a:gd name="connsiteX771" fmla="*/ 3679665 w 6780746"/>
              <a:gd name="connsiteY771" fmla="*/ 480263 h 6858000"/>
              <a:gd name="connsiteX772" fmla="*/ 3669857 w 6780746"/>
              <a:gd name="connsiteY772" fmla="*/ 475978 h 6858000"/>
              <a:gd name="connsiteX773" fmla="*/ 3610389 w 6780746"/>
              <a:gd name="connsiteY773" fmla="*/ 475978 h 6858000"/>
              <a:gd name="connsiteX774" fmla="*/ 3337083 w 6780746"/>
              <a:gd name="connsiteY774" fmla="*/ 475978 h 6858000"/>
              <a:gd name="connsiteX775" fmla="*/ 3262347 w 6780746"/>
              <a:gd name="connsiteY775" fmla="*/ 501755 h 6858000"/>
              <a:gd name="connsiteX776" fmla="*/ 3236049 w 6780746"/>
              <a:gd name="connsiteY776" fmla="*/ 575917 h 6858000"/>
              <a:gd name="connsiteX777" fmla="*/ 3236049 w 6780746"/>
              <a:gd name="connsiteY777" fmla="*/ 674675 h 6858000"/>
              <a:gd name="connsiteX778" fmla="*/ 3260176 w 6780746"/>
              <a:gd name="connsiteY778" fmla="*/ 748899 h 6858000"/>
              <a:gd name="connsiteX779" fmla="*/ 3331563 w 6780746"/>
              <a:gd name="connsiteY779" fmla="*/ 774676 h 6858000"/>
              <a:gd name="connsiteX780" fmla="*/ 3351782 w 6780746"/>
              <a:gd name="connsiteY780" fmla="*/ 774924 h 6858000"/>
              <a:gd name="connsiteX781" fmla="*/ 3387879 w 6780746"/>
              <a:gd name="connsiteY781" fmla="*/ 774924 h 6858000"/>
              <a:gd name="connsiteX782" fmla="*/ 3411758 w 6780746"/>
              <a:gd name="connsiteY782" fmla="*/ 774862 h 6858000"/>
              <a:gd name="connsiteX783" fmla="*/ 3414239 w 6780746"/>
              <a:gd name="connsiteY783" fmla="*/ 774862 h 6858000"/>
              <a:gd name="connsiteX784" fmla="*/ 3414239 w 6780746"/>
              <a:gd name="connsiteY784" fmla="*/ 787533 h 6858000"/>
              <a:gd name="connsiteX785" fmla="*/ 3405990 w 6780746"/>
              <a:gd name="connsiteY785" fmla="*/ 814863 h 6858000"/>
              <a:gd name="connsiteX786" fmla="*/ 3378080 w 6780746"/>
              <a:gd name="connsiteY786" fmla="*/ 823124 h 6858000"/>
              <a:gd name="connsiteX787" fmla="*/ 3273386 w 6780746"/>
              <a:gd name="connsiteY787" fmla="*/ 823124 h 6858000"/>
              <a:gd name="connsiteX788" fmla="*/ 3260486 w 6780746"/>
              <a:gd name="connsiteY788" fmla="*/ 835981 h 6858000"/>
              <a:gd name="connsiteX789" fmla="*/ 3260486 w 6780746"/>
              <a:gd name="connsiteY789" fmla="*/ 878279 h 6858000"/>
              <a:gd name="connsiteX790" fmla="*/ 3263277 w 6780746"/>
              <a:gd name="connsiteY790" fmla="*/ 887782 h 6858000"/>
              <a:gd name="connsiteX791" fmla="*/ 3273386 w 6780746"/>
              <a:gd name="connsiteY791" fmla="*/ 890577 h 6858000"/>
              <a:gd name="connsiteX792" fmla="*/ 3390981 w 6780746"/>
              <a:gd name="connsiteY792" fmla="*/ 890577 h 6858000"/>
              <a:gd name="connsiteX793" fmla="*/ 3465345 w 6780746"/>
              <a:gd name="connsiteY793" fmla="*/ 864801 h 6858000"/>
              <a:gd name="connsiteX794" fmla="*/ 3492015 w 6780746"/>
              <a:gd name="connsiteY794" fmla="*/ 791198 h 6858000"/>
              <a:gd name="connsiteX795" fmla="*/ 3492015 w 6780746"/>
              <a:gd name="connsiteY795" fmla="*/ 488836 h 6858000"/>
              <a:gd name="connsiteX796" fmla="*/ 3478494 w 6780746"/>
              <a:gd name="connsiteY796" fmla="*/ 475978 h 6858000"/>
              <a:gd name="connsiteX797" fmla="*/ 3337083 w 6780746"/>
              <a:gd name="connsiteY797" fmla="*/ 475978 h 6858000"/>
              <a:gd name="connsiteX798" fmla="*/ 5918882 w 6780746"/>
              <a:gd name="connsiteY798" fmla="*/ 410951 h 6858000"/>
              <a:gd name="connsiteX799" fmla="*/ 5910371 w 6780746"/>
              <a:gd name="connsiteY799" fmla="*/ 419520 h 6858000"/>
              <a:gd name="connsiteX800" fmla="*/ 5910371 w 6780746"/>
              <a:gd name="connsiteY800" fmla="*/ 472110 h 6858000"/>
              <a:gd name="connsiteX801" fmla="*/ 5904221 w 6780746"/>
              <a:gd name="connsiteY801" fmla="*/ 477636 h 6858000"/>
              <a:gd name="connsiteX802" fmla="*/ 5870552 w 6780746"/>
              <a:gd name="connsiteY802" fmla="*/ 477636 h 6858000"/>
              <a:gd name="connsiteX803" fmla="*/ 5861979 w 6780746"/>
              <a:gd name="connsiteY803" fmla="*/ 486205 h 6858000"/>
              <a:gd name="connsiteX804" fmla="*/ 5861979 w 6780746"/>
              <a:gd name="connsiteY804" fmla="*/ 508805 h 6858000"/>
              <a:gd name="connsiteX805" fmla="*/ 5870552 w 6780746"/>
              <a:gd name="connsiteY805" fmla="*/ 516753 h 6858000"/>
              <a:gd name="connsiteX806" fmla="*/ 5904221 w 6780746"/>
              <a:gd name="connsiteY806" fmla="*/ 516753 h 6858000"/>
              <a:gd name="connsiteX807" fmla="*/ 5910371 w 6780746"/>
              <a:gd name="connsiteY807" fmla="*/ 522279 h 6858000"/>
              <a:gd name="connsiteX808" fmla="*/ 5910371 w 6780746"/>
              <a:gd name="connsiteY808" fmla="*/ 700230 h 6858000"/>
              <a:gd name="connsiteX809" fmla="*/ 5935468 w 6780746"/>
              <a:gd name="connsiteY809" fmla="*/ 765984 h 6858000"/>
              <a:gd name="connsiteX810" fmla="*/ 6002744 w 6780746"/>
              <a:gd name="connsiteY810" fmla="*/ 789516 h 6858000"/>
              <a:gd name="connsiteX811" fmla="*/ 6032127 w 6780746"/>
              <a:gd name="connsiteY811" fmla="*/ 789516 h 6858000"/>
              <a:gd name="connsiteX812" fmla="*/ 6041321 w 6780746"/>
              <a:gd name="connsiteY812" fmla="*/ 781569 h 6858000"/>
              <a:gd name="connsiteX813" fmla="*/ 6041321 w 6780746"/>
              <a:gd name="connsiteY813" fmla="*/ 758968 h 6858000"/>
              <a:gd name="connsiteX814" fmla="*/ 6032127 w 6780746"/>
              <a:gd name="connsiteY814" fmla="*/ 750399 h 6858000"/>
              <a:gd name="connsiteX815" fmla="*/ 6008273 w 6780746"/>
              <a:gd name="connsiteY815" fmla="*/ 750399 h 6858000"/>
              <a:gd name="connsiteX816" fmla="*/ 5954414 w 6780746"/>
              <a:gd name="connsiteY816" fmla="*/ 698429 h 6858000"/>
              <a:gd name="connsiteX817" fmla="*/ 5954414 w 6780746"/>
              <a:gd name="connsiteY817" fmla="*/ 522279 h 6858000"/>
              <a:gd name="connsiteX818" fmla="*/ 5961123 w 6780746"/>
              <a:gd name="connsiteY818" fmla="*/ 516753 h 6858000"/>
              <a:gd name="connsiteX819" fmla="*/ 6025977 w 6780746"/>
              <a:gd name="connsiteY819" fmla="*/ 516753 h 6858000"/>
              <a:gd name="connsiteX820" fmla="*/ 6035171 w 6780746"/>
              <a:gd name="connsiteY820" fmla="*/ 508805 h 6858000"/>
              <a:gd name="connsiteX821" fmla="*/ 6035171 w 6780746"/>
              <a:gd name="connsiteY821" fmla="*/ 486205 h 6858000"/>
              <a:gd name="connsiteX822" fmla="*/ 6025977 w 6780746"/>
              <a:gd name="connsiteY822" fmla="*/ 477636 h 6858000"/>
              <a:gd name="connsiteX823" fmla="*/ 5961123 w 6780746"/>
              <a:gd name="connsiteY823" fmla="*/ 477636 h 6858000"/>
              <a:gd name="connsiteX824" fmla="*/ 5954414 w 6780746"/>
              <a:gd name="connsiteY824" fmla="*/ 472110 h 6858000"/>
              <a:gd name="connsiteX825" fmla="*/ 5954414 w 6780746"/>
              <a:gd name="connsiteY825" fmla="*/ 419520 h 6858000"/>
              <a:gd name="connsiteX826" fmla="*/ 5946463 w 6780746"/>
              <a:gd name="connsiteY826" fmla="*/ 410951 h 6858000"/>
              <a:gd name="connsiteX827" fmla="*/ 5918882 w 6780746"/>
              <a:gd name="connsiteY827" fmla="*/ 410951 h 6858000"/>
              <a:gd name="connsiteX828" fmla="*/ 6099401 w 6780746"/>
              <a:gd name="connsiteY828" fmla="*/ 360007 h 6858000"/>
              <a:gd name="connsiteX829" fmla="*/ 6091437 w 6780746"/>
              <a:gd name="connsiteY829" fmla="*/ 368613 h 6858000"/>
              <a:gd name="connsiteX830" fmla="*/ 6091437 w 6780746"/>
              <a:gd name="connsiteY830" fmla="*/ 426367 h 6858000"/>
              <a:gd name="connsiteX831" fmla="*/ 6099401 w 6780746"/>
              <a:gd name="connsiteY831" fmla="*/ 434974 h 6858000"/>
              <a:gd name="connsiteX832" fmla="*/ 6127646 w 6780746"/>
              <a:gd name="connsiteY832" fmla="*/ 434974 h 6858000"/>
              <a:gd name="connsiteX833" fmla="*/ 6136169 w 6780746"/>
              <a:gd name="connsiteY833" fmla="*/ 426367 h 6858000"/>
              <a:gd name="connsiteX834" fmla="*/ 6136169 w 6780746"/>
              <a:gd name="connsiteY834" fmla="*/ 368613 h 6858000"/>
              <a:gd name="connsiteX835" fmla="*/ 6127646 w 6780746"/>
              <a:gd name="connsiteY835" fmla="*/ 360007 h 6858000"/>
              <a:gd name="connsiteX836" fmla="*/ 6099401 w 6780746"/>
              <a:gd name="connsiteY836" fmla="*/ 360007 h 6858000"/>
              <a:gd name="connsiteX837" fmla="*/ 4127883 w 6780746"/>
              <a:gd name="connsiteY837" fmla="*/ 360007 h 6858000"/>
              <a:gd name="connsiteX838" fmla="*/ 4119919 w 6780746"/>
              <a:gd name="connsiteY838" fmla="*/ 368613 h 6858000"/>
              <a:gd name="connsiteX839" fmla="*/ 4119919 w 6780746"/>
              <a:gd name="connsiteY839" fmla="*/ 426367 h 6858000"/>
              <a:gd name="connsiteX840" fmla="*/ 4127883 w 6780746"/>
              <a:gd name="connsiteY840" fmla="*/ 434974 h 6858000"/>
              <a:gd name="connsiteX841" fmla="*/ 4156065 w 6780746"/>
              <a:gd name="connsiteY841" fmla="*/ 434974 h 6858000"/>
              <a:gd name="connsiteX842" fmla="*/ 4164651 w 6780746"/>
              <a:gd name="connsiteY842" fmla="*/ 426367 h 6858000"/>
              <a:gd name="connsiteX843" fmla="*/ 4164651 w 6780746"/>
              <a:gd name="connsiteY843" fmla="*/ 368613 h 6858000"/>
              <a:gd name="connsiteX844" fmla="*/ 4156065 w 6780746"/>
              <a:gd name="connsiteY844" fmla="*/ 360007 h 6858000"/>
              <a:gd name="connsiteX845" fmla="*/ 4127883 w 6780746"/>
              <a:gd name="connsiteY845" fmla="*/ 360007 h 6858000"/>
              <a:gd name="connsiteX846" fmla="*/ 6202327 w 6780746"/>
              <a:gd name="connsiteY846" fmla="*/ 359592 h 6858000"/>
              <a:gd name="connsiteX847" fmla="*/ 6193741 w 6780746"/>
              <a:gd name="connsiteY847" fmla="*/ 368161 h 6858000"/>
              <a:gd name="connsiteX848" fmla="*/ 6193741 w 6780746"/>
              <a:gd name="connsiteY848" fmla="*/ 780947 h 6858000"/>
              <a:gd name="connsiteX849" fmla="*/ 6202327 w 6780746"/>
              <a:gd name="connsiteY849" fmla="*/ 789516 h 6858000"/>
              <a:gd name="connsiteX850" fmla="*/ 6229950 w 6780746"/>
              <a:gd name="connsiteY850" fmla="*/ 789516 h 6858000"/>
              <a:gd name="connsiteX851" fmla="*/ 6238473 w 6780746"/>
              <a:gd name="connsiteY851" fmla="*/ 780947 h 6858000"/>
              <a:gd name="connsiteX852" fmla="*/ 6238473 w 6780746"/>
              <a:gd name="connsiteY852" fmla="*/ 368161 h 6858000"/>
              <a:gd name="connsiteX853" fmla="*/ 6229950 w 6780746"/>
              <a:gd name="connsiteY853" fmla="*/ 359592 h 6858000"/>
              <a:gd name="connsiteX854" fmla="*/ 6202327 w 6780746"/>
              <a:gd name="connsiteY854" fmla="*/ 359592 h 6858000"/>
              <a:gd name="connsiteX855" fmla="*/ 4621517 w 6780746"/>
              <a:gd name="connsiteY855" fmla="*/ 359592 h 6858000"/>
              <a:gd name="connsiteX856" fmla="*/ 4559079 w 6780746"/>
              <a:gd name="connsiteY856" fmla="*/ 382815 h 6858000"/>
              <a:gd name="connsiteX857" fmla="*/ 4537707 w 6780746"/>
              <a:gd name="connsiteY857" fmla="*/ 449501 h 6858000"/>
              <a:gd name="connsiteX858" fmla="*/ 4537707 w 6780746"/>
              <a:gd name="connsiteY858" fmla="*/ 472103 h 6858000"/>
              <a:gd name="connsiteX859" fmla="*/ 4531556 w 6780746"/>
              <a:gd name="connsiteY859" fmla="*/ 477629 h 6858000"/>
              <a:gd name="connsiteX860" fmla="*/ 4495460 w 6780746"/>
              <a:gd name="connsiteY860" fmla="*/ 477629 h 6858000"/>
              <a:gd name="connsiteX861" fmla="*/ 4486887 w 6780746"/>
              <a:gd name="connsiteY861" fmla="*/ 485577 h 6858000"/>
              <a:gd name="connsiteX862" fmla="*/ 4486887 w 6780746"/>
              <a:gd name="connsiteY862" fmla="*/ 508240 h 6858000"/>
              <a:gd name="connsiteX863" fmla="*/ 4495460 w 6780746"/>
              <a:gd name="connsiteY863" fmla="*/ 516747 h 6858000"/>
              <a:gd name="connsiteX864" fmla="*/ 4531556 w 6780746"/>
              <a:gd name="connsiteY864" fmla="*/ 516747 h 6858000"/>
              <a:gd name="connsiteX865" fmla="*/ 4537707 w 6780746"/>
              <a:gd name="connsiteY865" fmla="*/ 522273 h 6858000"/>
              <a:gd name="connsiteX866" fmla="*/ 4537707 w 6780746"/>
              <a:gd name="connsiteY866" fmla="*/ 780947 h 6858000"/>
              <a:gd name="connsiteX867" fmla="*/ 4546280 w 6780746"/>
              <a:gd name="connsiteY867" fmla="*/ 789516 h 6858000"/>
              <a:gd name="connsiteX868" fmla="*/ 4573182 w 6780746"/>
              <a:gd name="connsiteY868" fmla="*/ 789516 h 6858000"/>
              <a:gd name="connsiteX869" fmla="*/ 4582377 w 6780746"/>
              <a:gd name="connsiteY869" fmla="*/ 780947 h 6858000"/>
              <a:gd name="connsiteX870" fmla="*/ 4582377 w 6780746"/>
              <a:gd name="connsiteY870" fmla="*/ 522273 h 6858000"/>
              <a:gd name="connsiteX871" fmla="*/ 4587844 w 6780746"/>
              <a:gd name="connsiteY871" fmla="*/ 516747 h 6858000"/>
              <a:gd name="connsiteX872" fmla="*/ 4641709 w 6780746"/>
              <a:gd name="connsiteY872" fmla="*/ 516747 h 6858000"/>
              <a:gd name="connsiteX873" fmla="*/ 4650904 w 6780746"/>
              <a:gd name="connsiteY873" fmla="*/ 508240 h 6858000"/>
              <a:gd name="connsiteX874" fmla="*/ 4650904 w 6780746"/>
              <a:gd name="connsiteY874" fmla="*/ 485577 h 6858000"/>
              <a:gd name="connsiteX875" fmla="*/ 4641709 w 6780746"/>
              <a:gd name="connsiteY875" fmla="*/ 477629 h 6858000"/>
              <a:gd name="connsiteX876" fmla="*/ 4587844 w 6780746"/>
              <a:gd name="connsiteY876" fmla="*/ 477629 h 6858000"/>
              <a:gd name="connsiteX877" fmla="*/ 4582377 w 6780746"/>
              <a:gd name="connsiteY877" fmla="*/ 472103 h 6858000"/>
              <a:gd name="connsiteX878" fmla="*/ 4582377 w 6780746"/>
              <a:gd name="connsiteY878" fmla="*/ 451364 h 6858000"/>
              <a:gd name="connsiteX879" fmla="*/ 4592131 w 6780746"/>
              <a:gd name="connsiteY879" fmla="*/ 411253 h 6858000"/>
              <a:gd name="connsiteX880" fmla="*/ 4627047 w 6780746"/>
              <a:gd name="connsiteY880" fmla="*/ 398710 h 6858000"/>
              <a:gd name="connsiteX881" fmla="*/ 4642330 w 6780746"/>
              <a:gd name="connsiteY881" fmla="*/ 398710 h 6858000"/>
              <a:gd name="connsiteX882" fmla="*/ 4650904 w 6780746"/>
              <a:gd name="connsiteY882" fmla="*/ 390204 h 6858000"/>
              <a:gd name="connsiteX883" fmla="*/ 4650904 w 6780746"/>
              <a:gd name="connsiteY883" fmla="*/ 367540 h 6858000"/>
              <a:gd name="connsiteX884" fmla="*/ 4642330 w 6780746"/>
              <a:gd name="connsiteY884" fmla="*/ 359592 h 6858000"/>
              <a:gd name="connsiteX885" fmla="*/ 4621517 w 6780746"/>
              <a:gd name="connsiteY885" fmla="*/ 359592 h 6858000"/>
              <a:gd name="connsiteX886" fmla="*/ 0 w 6780746"/>
              <a:gd name="connsiteY886" fmla="*/ 0 h 6858000"/>
              <a:gd name="connsiteX887" fmla="*/ 6780746 w 6780746"/>
              <a:gd name="connsiteY887" fmla="*/ 0 h 6858000"/>
              <a:gd name="connsiteX888" fmla="*/ 6780746 w 6780746"/>
              <a:gd name="connsiteY888" fmla="*/ 6858000 h 6858000"/>
              <a:gd name="connsiteX889" fmla="*/ 0 w 6780746"/>
              <a:gd name="connsiteY88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</a:cxnLst>
            <a:rect l="l" t="t" r="r" b="b"/>
            <a:pathLst>
              <a:path w="6780746" h="6858000">
                <a:moveTo>
                  <a:pt x="6249562" y="919156"/>
                </a:moveTo>
                <a:cubicBezTo>
                  <a:pt x="6256073" y="919156"/>
                  <a:pt x="6261592" y="920974"/>
                  <a:pt x="6265994" y="924486"/>
                </a:cubicBezTo>
                <a:cubicBezTo>
                  <a:pt x="6270397" y="928060"/>
                  <a:pt x="6273311" y="932763"/>
                  <a:pt x="6274861" y="938657"/>
                </a:cubicBezTo>
                <a:cubicBezTo>
                  <a:pt x="6275419" y="941040"/>
                  <a:pt x="6275853" y="944739"/>
                  <a:pt x="6276163" y="949756"/>
                </a:cubicBezTo>
                <a:cubicBezTo>
                  <a:pt x="6276163" y="950320"/>
                  <a:pt x="6275853" y="950634"/>
                  <a:pt x="6275295" y="950634"/>
                </a:cubicBezTo>
                <a:cubicBezTo>
                  <a:pt x="6275295" y="950634"/>
                  <a:pt x="6275295" y="950634"/>
                  <a:pt x="6224016" y="950634"/>
                </a:cubicBezTo>
                <a:cubicBezTo>
                  <a:pt x="6223396" y="950634"/>
                  <a:pt x="6223148" y="950320"/>
                  <a:pt x="6223148" y="949756"/>
                </a:cubicBezTo>
                <a:cubicBezTo>
                  <a:pt x="6223396" y="944614"/>
                  <a:pt x="6224078" y="940350"/>
                  <a:pt x="6225132" y="937027"/>
                </a:cubicBezTo>
                <a:cubicBezTo>
                  <a:pt x="6226620" y="931634"/>
                  <a:pt x="6229472" y="927307"/>
                  <a:pt x="6233627" y="924047"/>
                </a:cubicBezTo>
                <a:cubicBezTo>
                  <a:pt x="6237843" y="920786"/>
                  <a:pt x="6243114" y="919156"/>
                  <a:pt x="6249562" y="919156"/>
                </a:cubicBezTo>
                <a:close/>
                <a:moveTo>
                  <a:pt x="6068524" y="919156"/>
                </a:moveTo>
                <a:cubicBezTo>
                  <a:pt x="6074811" y="919156"/>
                  <a:pt x="6080040" y="920964"/>
                  <a:pt x="6084211" y="924456"/>
                </a:cubicBezTo>
                <a:cubicBezTo>
                  <a:pt x="6088444" y="928010"/>
                  <a:pt x="6091121" y="932562"/>
                  <a:pt x="6092304" y="938111"/>
                </a:cubicBezTo>
                <a:cubicBezTo>
                  <a:pt x="6092926" y="940481"/>
                  <a:pt x="6093362" y="942975"/>
                  <a:pt x="6093549" y="945594"/>
                </a:cubicBezTo>
                <a:cubicBezTo>
                  <a:pt x="6093798" y="948275"/>
                  <a:pt x="6093922" y="952702"/>
                  <a:pt x="6093922" y="959000"/>
                </a:cubicBezTo>
                <a:cubicBezTo>
                  <a:pt x="6093922" y="965297"/>
                  <a:pt x="6093798" y="969787"/>
                  <a:pt x="6093549" y="972531"/>
                </a:cubicBezTo>
                <a:cubicBezTo>
                  <a:pt x="6093362" y="975212"/>
                  <a:pt x="6092989" y="977768"/>
                  <a:pt x="6092553" y="980200"/>
                </a:cubicBezTo>
                <a:cubicBezTo>
                  <a:pt x="6091370" y="985750"/>
                  <a:pt x="6088693" y="990239"/>
                  <a:pt x="6084585" y="993793"/>
                </a:cubicBezTo>
                <a:cubicBezTo>
                  <a:pt x="6080476" y="997347"/>
                  <a:pt x="6075123" y="999093"/>
                  <a:pt x="6068524" y="999093"/>
                </a:cubicBezTo>
                <a:cubicBezTo>
                  <a:pt x="6062237" y="999093"/>
                  <a:pt x="6056883" y="997347"/>
                  <a:pt x="6052463" y="993793"/>
                </a:cubicBezTo>
                <a:cubicBezTo>
                  <a:pt x="6048044" y="990239"/>
                  <a:pt x="6045056" y="985750"/>
                  <a:pt x="6043562" y="980200"/>
                </a:cubicBezTo>
                <a:cubicBezTo>
                  <a:pt x="6042068" y="976397"/>
                  <a:pt x="6041321" y="969351"/>
                  <a:pt x="6041321" y="959000"/>
                </a:cubicBezTo>
                <a:cubicBezTo>
                  <a:pt x="6041321" y="949584"/>
                  <a:pt x="6042130" y="942601"/>
                  <a:pt x="6043811" y="938111"/>
                </a:cubicBezTo>
                <a:cubicBezTo>
                  <a:pt x="6045616" y="932562"/>
                  <a:pt x="6048604" y="928010"/>
                  <a:pt x="6052775" y="924456"/>
                </a:cubicBezTo>
                <a:cubicBezTo>
                  <a:pt x="6056945" y="920964"/>
                  <a:pt x="6062237" y="919156"/>
                  <a:pt x="6068524" y="919156"/>
                </a:cubicBezTo>
                <a:close/>
                <a:moveTo>
                  <a:pt x="5866380" y="919156"/>
                </a:moveTo>
                <a:cubicBezTo>
                  <a:pt x="5872953" y="919156"/>
                  <a:pt x="5878471" y="920974"/>
                  <a:pt x="5882873" y="924486"/>
                </a:cubicBezTo>
                <a:cubicBezTo>
                  <a:pt x="5887276" y="928060"/>
                  <a:pt x="5890190" y="932763"/>
                  <a:pt x="5891678" y="938657"/>
                </a:cubicBezTo>
                <a:cubicBezTo>
                  <a:pt x="5892299" y="941040"/>
                  <a:pt x="5892733" y="944739"/>
                  <a:pt x="5893043" y="949756"/>
                </a:cubicBezTo>
                <a:cubicBezTo>
                  <a:pt x="5893043" y="950320"/>
                  <a:pt x="5892733" y="950634"/>
                  <a:pt x="5892175" y="950634"/>
                </a:cubicBezTo>
                <a:cubicBezTo>
                  <a:pt x="5892175" y="950634"/>
                  <a:pt x="5892175" y="950634"/>
                  <a:pt x="5840895" y="950634"/>
                </a:cubicBezTo>
                <a:cubicBezTo>
                  <a:pt x="5840275" y="950634"/>
                  <a:pt x="5840027" y="950320"/>
                  <a:pt x="5840027" y="949756"/>
                </a:cubicBezTo>
                <a:cubicBezTo>
                  <a:pt x="5840275" y="944614"/>
                  <a:pt x="5840957" y="940350"/>
                  <a:pt x="5842011" y="937027"/>
                </a:cubicBezTo>
                <a:cubicBezTo>
                  <a:pt x="5843499" y="931634"/>
                  <a:pt x="5846352" y="927307"/>
                  <a:pt x="5850506" y="924047"/>
                </a:cubicBezTo>
                <a:cubicBezTo>
                  <a:pt x="5854723" y="920786"/>
                  <a:pt x="5859993" y="919156"/>
                  <a:pt x="5866380" y="919156"/>
                </a:cubicBezTo>
                <a:close/>
                <a:moveTo>
                  <a:pt x="5245135" y="919156"/>
                </a:moveTo>
                <a:cubicBezTo>
                  <a:pt x="5251700" y="919156"/>
                  <a:pt x="5257150" y="920974"/>
                  <a:pt x="5261547" y="924486"/>
                </a:cubicBezTo>
                <a:cubicBezTo>
                  <a:pt x="5265945" y="928060"/>
                  <a:pt x="5268917" y="932763"/>
                  <a:pt x="5270403" y="938657"/>
                </a:cubicBezTo>
                <a:cubicBezTo>
                  <a:pt x="5271023" y="941040"/>
                  <a:pt x="5271456" y="944739"/>
                  <a:pt x="5271766" y="949756"/>
                </a:cubicBezTo>
                <a:cubicBezTo>
                  <a:pt x="5271766" y="950320"/>
                  <a:pt x="5271456" y="950634"/>
                  <a:pt x="5270837" y="950634"/>
                </a:cubicBezTo>
                <a:cubicBezTo>
                  <a:pt x="5270837" y="950634"/>
                  <a:pt x="5270837" y="950634"/>
                  <a:pt x="5219680" y="950634"/>
                </a:cubicBezTo>
                <a:cubicBezTo>
                  <a:pt x="5219060" y="950634"/>
                  <a:pt x="5218751" y="950320"/>
                  <a:pt x="5218751" y="949756"/>
                </a:cubicBezTo>
                <a:cubicBezTo>
                  <a:pt x="5219060" y="944614"/>
                  <a:pt x="5219742" y="940350"/>
                  <a:pt x="5220795" y="937027"/>
                </a:cubicBezTo>
                <a:cubicBezTo>
                  <a:pt x="5222281" y="931634"/>
                  <a:pt x="5225068" y="927307"/>
                  <a:pt x="5229279" y="924047"/>
                </a:cubicBezTo>
                <a:cubicBezTo>
                  <a:pt x="5233429" y="920786"/>
                  <a:pt x="5238755" y="919156"/>
                  <a:pt x="5245135" y="919156"/>
                </a:cubicBezTo>
                <a:close/>
                <a:moveTo>
                  <a:pt x="4816277" y="919156"/>
                </a:moveTo>
                <a:cubicBezTo>
                  <a:pt x="4822901" y="919156"/>
                  <a:pt x="4828400" y="920974"/>
                  <a:pt x="4832837" y="924486"/>
                </a:cubicBezTo>
                <a:cubicBezTo>
                  <a:pt x="4837274" y="928060"/>
                  <a:pt x="4840273" y="932763"/>
                  <a:pt x="4841773" y="938657"/>
                </a:cubicBezTo>
                <a:cubicBezTo>
                  <a:pt x="4842335" y="941040"/>
                  <a:pt x="4842835" y="944739"/>
                  <a:pt x="4843085" y="949756"/>
                </a:cubicBezTo>
                <a:cubicBezTo>
                  <a:pt x="4843085" y="950320"/>
                  <a:pt x="4842835" y="950634"/>
                  <a:pt x="4842211" y="950634"/>
                </a:cubicBezTo>
                <a:cubicBezTo>
                  <a:pt x="4842211" y="950634"/>
                  <a:pt x="4842211" y="950634"/>
                  <a:pt x="4790531" y="950634"/>
                </a:cubicBezTo>
                <a:cubicBezTo>
                  <a:pt x="4789968" y="950634"/>
                  <a:pt x="4789655" y="950320"/>
                  <a:pt x="4789655" y="949756"/>
                </a:cubicBezTo>
                <a:cubicBezTo>
                  <a:pt x="4789968" y="944614"/>
                  <a:pt x="4790655" y="940350"/>
                  <a:pt x="4791655" y="937027"/>
                </a:cubicBezTo>
                <a:cubicBezTo>
                  <a:pt x="4793218" y="931634"/>
                  <a:pt x="4796030" y="927307"/>
                  <a:pt x="4800279" y="924047"/>
                </a:cubicBezTo>
                <a:cubicBezTo>
                  <a:pt x="4804466" y="920786"/>
                  <a:pt x="4809778" y="919156"/>
                  <a:pt x="4816277" y="919156"/>
                </a:cubicBezTo>
                <a:close/>
                <a:moveTo>
                  <a:pt x="4489662" y="919156"/>
                </a:moveTo>
                <a:cubicBezTo>
                  <a:pt x="4496227" y="919156"/>
                  <a:pt x="4501677" y="920974"/>
                  <a:pt x="4506075" y="924486"/>
                </a:cubicBezTo>
                <a:cubicBezTo>
                  <a:pt x="4510472" y="928060"/>
                  <a:pt x="4513444" y="932763"/>
                  <a:pt x="4514931" y="938657"/>
                </a:cubicBezTo>
                <a:cubicBezTo>
                  <a:pt x="4515488" y="941040"/>
                  <a:pt x="4515984" y="944739"/>
                  <a:pt x="4516294" y="949756"/>
                </a:cubicBezTo>
                <a:cubicBezTo>
                  <a:pt x="4516294" y="950320"/>
                  <a:pt x="4515984" y="950634"/>
                  <a:pt x="4515364" y="950634"/>
                </a:cubicBezTo>
                <a:cubicBezTo>
                  <a:pt x="4515364" y="950634"/>
                  <a:pt x="4515364" y="950634"/>
                  <a:pt x="4464145" y="950634"/>
                </a:cubicBezTo>
                <a:cubicBezTo>
                  <a:pt x="4463588" y="950634"/>
                  <a:pt x="4463278" y="950320"/>
                  <a:pt x="4463278" y="949756"/>
                </a:cubicBezTo>
                <a:cubicBezTo>
                  <a:pt x="4463588" y="944614"/>
                  <a:pt x="4464269" y="940350"/>
                  <a:pt x="4465260" y="937027"/>
                </a:cubicBezTo>
                <a:cubicBezTo>
                  <a:pt x="4466808" y="931634"/>
                  <a:pt x="4469595" y="927307"/>
                  <a:pt x="4473807" y="924047"/>
                </a:cubicBezTo>
                <a:cubicBezTo>
                  <a:pt x="4477956" y="920786"/>
                  <a:pt x="4483283" y="919156"/>
                  <a:pt x="4489662" y="919156"/>
                </a:cubicBezTo>
                <a:close/>
                <a:moveTo>
                  <a:pt x="6150415" y="902588"/>
                </a:moveTo>
                <a:cubicBezTo>
                  <a:pt x="6148925" y="902588"/>
                  <a:pt x="6148180" y="903334"/>
                  <a:pt x="6148180" y="904825"/>
                </a:cubicBezTo>
                <a:cubicBezTo>
                  <a:pt x="6148180" y="904825"/>
                  <a:pt x="6148180" y="904825"/>
                  <a:pt x="6148180" y="1014252"/>
                </a:cubicBezTo>
                <a:cubicBezTo>
                  <a:pt x="6148180" y="1015744"/>
                  <a:pt x="6148925" y="1016489"/>
                  <a:pt x="6150415" y="1016489"/>
                </a:cubicBezTo>
                <a:cubicBezTo>
                  <a:pt x="6150415" y="1016489"/>
                  <a:pt x="6150415" y="1016489"/>
                  <a:pt x="6167421" y="1016489"/>
                </a:cubicBezTo>
                <a:cubicBezTo>
                  <a:pt x="6168911" y="1016489"/>
                  <a:pt x="6169718" y="1015744"/>
                  <a:pt x="6169718" y="1014252"/>
                </a:cubicBezTo>
                <a:cubicBezTo>
                  <a:pt x="6169718" y="1014252"/>
                  <a:pt x="6169718" y="1014252"/>
                  <a:pt x="6169718" y="904825"/>
                </a:cubicBezTo>
                <a:cubicBezTo>
                  <a:pt x="6169718" y="903334"/>
                  <a:pt x="6168911" y="902588"/>
                  <a:pt x="6167421" y="902588"/>
                </a:cubicBezTo>
                <a:cubicBezTo>
                  <a:pt x="6167421" y="902588"/>
                  <a:pt x="6167421" y="902588"/>
                  <a:pt x="6150415" y="902588"/>
                </a:cubicBezTo>
                <a:close/>
                <a:moveTo>
                  <a:pt x="5584040" y="902588"/>
                </a:moveTo>
                <a:cubicBezTo>
                  <a:pt x="5582673" y="902588"/>
                  <a:pt x="5581990" y="903085"/>
                  <a:pt x="5581990" y="904140"/>
                </a:cubicBezTo>
                <a:cubicBezTo>
                  <a:pt x="5581990" y="904140"/>
                  <a:pt x="5581990" y="904140"/>
                  <a:pt x="5582238" y="905010"/>
                </a:cubicBezTo>
                <a:cubicBezTo>
                  <a:pt x="5582238" y="905010"/>
                  <a:pt x="5582238" y="905010"/>
                  <a:pt x="5619631" y="1015960"/>
                </a:cubicBezTo>
                <a:cubicBezTo>
                  <a:pt x="5619817" y="1016705"/>
                  <a:pt x="5619817" y="1017139"/>
                  <a:pt x="5619631" y="1017326"/>
                </a:cubicBezTo>
                <a:cubicBezTo>
                  <a:pt x="5617582" y="1024652"/>
                  <a:pt x="5615407" y="1030115"/>
                  <a:pt x="5613171" y="1033779"/>
                </a:cubicBezTo>
                <a:cubicBezTo>
                  <a:pt x="5610935" y="1037442"/>
                  <a:pt x="5608078" y="1039925"/>
                  <a:pt x="5604662" y="1041291"/>
                </a:cubicBezTo>
                <a:cubicBezTo>
                  <a:pt x="5601183" y="1042657"/>
                  <a:pt x="5596463" y="1043402"/>
                  <a:pt x="5590499" y="1043526"/>
                </a:cubicBezTo>
                <a:cubicBezTo>
                  <a:pt x="5590499" y="1043526"/>
                  <a:pt x="5590499" y="1043526"/>
                  <a:pt x="5590065" y="1043526"/>
                </a:cubicBezTo>
                <a:cubicBezTo>
                  <a:pt x="5588574" y="1043526"/>
                  <a:pt x="5587829" y="1044271"/>
                  <a:pt x="5587829" y="1045762"/>
                </a:cubicBezTo>
                <a:cubicBezTo>
                  <a:pt x="5587829" y="1045762"/>
                  <a:pt x="5587829" y="1045762"/>
                  <a:pt x="5587829" y="1058986"/>
                </a:cubicBezTo>
                <a:cubicBezTo>
                  <a:pt x="5587829" y="1058986"/>
                  <a:pt x="5587829" y="1058986"/>
                  <a:pt x="5587829" y="1061221"/>
                </a:cubicBezTo>
                <a:lnTo>
                  <a:pt x="5589382" y="1061221"/>
                </a:lnTo>
                <a:cubicBezTo>
                  <a:pt x="5589382" y="1061221"/>
                  <a:pt x="5589382" y="1061221"/>
                  <a:pt x="5590935" y="1061221"/>
                </a:cubicBezTo>
                <a:cubicBezTo>
                  <a:pt x="5600997" y="1061221"/>
                  <a:pt x="5608761" y="1060166"/>
                  <a:pt x="5614289" y="1058117"/>
                </a:cubicBezTo>
                <a:cubicBezTo>
                  <a:pt x="5619817" y="1056006"/>
                  <a:pt x="5624290" y="1052467"/>
                  <a:pt x="5627706" y="1047438"/>
                </a:cubicBezTo>
                <a:cubicBezTo>
                  <a:pt x="5631185" y="1042471"/>
                  <a:pt x="5634601" y="1034772"/>
                  <a:pt x="5638017" y="1024466"/>
                </a:cubicBezTo>
                <a:cubicBezTo>
                  <a:pt x="5638017" y="1024466"/>
                  <a:pt x="5638017" y="1024466"/>
                  <a:pt x="5678889" y="905010"/>
                </a:cubicBezTo>
                <a:cubicBezTo>
                  <a:pt x="5679323" y="903395"/>
                  <a:pt x="5678702" y="902588"/>
                  <a:pt x="5677087" y="902588"/>
                </a:cubicBezTo>
                <a:cubicBezTo>
                  <a:pt x="5677087" y="902588"/>
                  <a:pt x="5677087" y="902588"/>
                  <a:pt x="5659323" y="902588"/>
                </a:cubicBezTo>
                <a:cubicBezTo>
                  <a:pt x="5658018" y="902588"/>
                  <a:pt x="5657086" y="903147"/>
                  <a:pt x="5656652" y="904327"/>
                </a:cubicBezTo>
                <a:cubicBezTo>
                  <a:pt x="5656652" y="904327"/>
                  <a:pt x="5656652" y="904327"/>
                  <a:pt x="5631557" y="988827"/>
                </a:cubicBezTo>
                <a:cubicBezTo>
                  <a:pt x="5631371" y="989138"/>
                  <a:pt x="5631185" y="989324"/>
                  <a:pt x="5630874" y="989324"/>
                </a:cubicBezTo>
                <a:cubicBezTo>
                  <a:pt x="5630563" y="989324"/>
                  <a:pt x="5630315" y="989138"/>
                  <a:pt x="5630191" y="988827"/>
                </a:cubicBezTo>
                <a:cubicBezTo>
                  <a:pt x="5630191" y="988827"/>
                  <a:pt x="5630191" y="988827"/>
                  <a:pt x="5604848" y="904327"/>
                </a:cubicBezTo>
                <a:cubicBezTo>
                  <a:pt x="5604413" y="903147"/>
                  <a:pt x="5603544" y="902588"/>
                  <a:pt x="5602177" y="902588"/>
                </a:cubicBezTo>
                <a:cubicBezTo>
                  <a:pt x="5602177" y="902588"/>
                  <a:pt x="5602177" y="902588"/>
                  <a:pt x="5584040" y="902588"/>
                </a:cubicBezTo>
                <a:close/>
                <a:moveTo>
                  <a:pt x="4120144" y="902588"/>
                </a:moveTo>
                <a:cubicBezTo>
                  <a:pt x="4118593" y="902588"/>
                  <a:pt x="4117848" y="903333"/>
                  <a:pt x="4117848" y="904823"/>
                </a:cubicBezTo>
                <a:cubicBezTo>
                  <a:pt x="4117848" y="904823"/>
                  <a:pt x="4117848" y="904823"/>
                  <a:pt x="4117848" y="981220"/>
                </a:cubicBezTo>
                <a:cubicBezTo>
                  <a:pt x="4117848" y="989101"/>
                  <a:pt x="4119709" y="995804"/>
                  <a:pt x="4123494" y="1001327"/>
                </a:cubicBezTo>
                <a:cubicBezTo>
                  <a:pt x="4127217" y="1006913"/>
                  <a:pt x="4132180" y="1011071"/>
                  <a:pt x="4138385" y="1013926"/>
                </a:cubicBezTo>
                <a:cubicBezTo>
                  <a:pt x="4144589" y="1016719"/>
                  <a:pt x="4151289" y="1018146"/>
                  <a:pt x="4158610" y="1018146"/>
                </a:cubicBezTo>
                <a:cubicBezTo>
                  <a:pt x="4171019" y="1018146"/>
                  <a:pt x="4180201" y="1014050"/>
                  <a:pt x="4186157" y="1005858"/>
                </a:cubicBezTo>
                <a:cubicBezTo>
                  <a:pt x="4186467" y="1005548"/>
                  <a:pt x="4186715" y="1005423"/>
                  <a:pt x="4186964" y="1005486"/>
                </a:cubicBezTo>
                <a:cubicBezTo>
                  <a:pt x="4187212" y="1005548"/>
                  <a:pt x="4187274" y="1005734"/>
                  <a:pt x="4187274" y="1006044"/>
                </a:cubicBezTo>
                <a:cubicBezTo>
                  <a:pt x="4187274" y="1006044"/>
                  <a:pt x="4187274" y="1006044"/>
                  <a:pt x="4187274" y="1014360"/>
                </a:cubicBezTo>
                <a:cubicBezTo>
                  <a:pt x="4187274" y="1015850"/>
                  <a:pt x="4188019" y="1016594"/>
                  <a:pt x="4189569" y="1016594"/>
                </a:cubicBezTo>
                <a:cubicBezTo>
                  <a:pt x="4189569" y="1016594"/>
                  <a:pt x="4189569" y="1016594"/>
                  <a:pt x="4206321" y="1016594"/>
                </a:cubicBezTo>
                <a:cubicBezTo>
                  <a:pt x="4207810" y="1016594"/>
                  <a:pt x="4208554" y="1015850"/>
                  <a:pt x="4208554" y="1014360"/>
                </a:cubicBezTo>
                <a:cubicBezTo>
                  <a:pt x="4208554" y="1014360"/>
                  <a:pt x="4208554" y="1014360"/>
                  <a:pt x="4208554" y="904823"/>
                </a:cubicBezTo>
                <a:cubicBezTo>
                  <a:pt x="4208554" y="903333"/>
                  <a:pt x="4207810" y="902588"/>
                  <a:pt x="4206321" y="902588"/>
                </a:cubicBezTo>
                <a:cubicBezTo>
                  <a:pt x="4206321" y="902588"/>
                  <a:pt x="4206321" y="902588"/>
                  <a:pt x="4189569" y="902588"/>
                </a:cubicBezTo>
                <a:cubicBezTo>
                  <a:pt x="4188019" y="902588"/>
                  <a:pt x="4187274" y="903333"/>
                  <a:pt x="4187274" y="904823"/>
                </a:cubicBezTo>
                <a:cubicBezTo>
                  <a:pt x="4187274" y="904823"/>
                  <a:pt x="4187274" y="904823"/>
                  <a:pt x="4187274" y="974455"/>
                </a:cubicBezTo>
                <a:cubicBezTo>
                  <a:pt x="4187274" y="982088"/>
                  <a:pt x="4185040" y="988170"/>
                  <a:pt x="4180573" y="992701"/>
                </a:cubicBezTo>
                <a:cubicBezTo>
                  <a:pt x="4176106" y="997293"/>
                  <a:pt x="4170150" y="999590"/>
                  <a:pt x="4162643" y="999590"/>
                </a:cubicBezTo>
                <a:cubicBezTo>
                  <a:pt x="4155198" y="999590"/>
                  <a:pt x="4149428" y="997293"/>
                  <a:pt x="4145333" y="992825"/>
                </a:cubicBezTo>
                <a:cubicBezTo>
                  <a:pt x="4141176" y="988357"/>
                  <a:pt x="4139129" y="982213"/>
                  <a:pt x="4139129" y="974455"/>
                </a:cubicBezTo>
                <a:cubicBezTo>
                  <a:pt x="4139129" y="974455"/>
                  <a:pt x="4139129" y="974455"/>
                  <a:pt x="4139129" y="904823"/>
                </a:cubicBezTo>
                <a:cubicBezTo>
                  <a:pt x="4139129" y="903333"/>
                  <a:pt x="4138385" y="902588"/>
                  <a:pt x="4136895" y="902588"/>
                </a:cubicBezTo>
                <a:cubicBezTo>
                  <a:pt x="4136895" y="902588"/>
                  <a:pt x="4136895" y="902588"/>
                  <a:pt x="4120144" y="902588"/>
                </a:cubicBezTo>
                <a:close/>
                <a:moveTo>
                  <a:pt x="5992581" y="901346"/>
                </a:moveTo>
                <a:cubicBezTo>
                  <a:pt x="5980942" y="901346"/>
                  <a:pt x="5971780" y="906619"/>
                  <a:pt x="5965094" y="917041"/>
                </a:cubicBezTo>
                <a:cubicBezTo>
                  <a:pt x="5964908" y="917351"/>
                  <a:pt x="5964722" y="917476"/>
                  <a:pt x="5964537" y="917413"/>
                </a:cubicBezTo>
                <a:cubicBezTo>
                  <a:pt x="5964289" y="917289"/>
                  <a:pt x="5964165" y="917041"/>
                  <a:pt x="5964165" y="916607"/>
                </a:cubicBezTo>
                <a:cubicBezTo>
                  <a:pt x="5964165" y="916607"/>
                  <a:pt x="5964165" y="916607"/>
                  <a:pt x="5964165" y="904758"/>
                </a:cubicBezTo>
                <a:cubicBezTo>
                  <a:pt x="5964165" y="903269"/>
                  <a:pt x="5963422" y="902524"/>
                  <a:pt x="5961936" y="902524"/>
                </a:cubicBezTo>
                <a:cubicBezTo>
                  <a:pt x="5961936" y="902524"/>
                  <a:pt x="5961936" y="902524"/>
                  <a:pt x="5944973" y="902524"/>
                </a:cubicBezTo>
                <a:cubicBezTo>
                  <a:pt x="5943488" y="902524"/>
                  <a:pt x="5942745" y="903269"/>
                  <a:pt x="5942745" y="904758"/>
                </a:cubicBezTo>
                <a:cubicBezTo>
                  <a:pt x="5942745" y="904758"/>
                  <a:pt x="5942745" y="904758"/>
                  <a:pt x="5942745" y="1014256"/>
                </a:cubicBezTo>
                <a:cubicBezTo>
                  <a:pt x="5942745" y="1015745"/>
                  <a:pt x="5943488" y="1016489"/>
                  <a:pt x="5944973" y="1016489"/>
                </a:cubicBezTo>
                <a:cubicBezTo>
                  <a:pt x="5944973" y="1016489"/>
                  <a:pt x="5944973" y="1016489"/>
                  <a:pt x="5961936" y="1016489"/>
                </a:cubicBezTo>
                <a:cubicBezTo>
                  <a:pt x="5963422" y="1016489"/>
                  <a:pt x="5964165" y="1015745"/>
                  <a:pt x="5964165" y="1014256"/>
                </a:cubicBezTo>
                <a:cubicBezTo>
                  <a:pt x="5964165" y="1014256"/>
                  <a:pt x="5964165" y="1014256"/>
                  <a:pt x="5964165" y="948867"/>
                </a:cubicBezTo>
                <a:cubicBezTo>
                  <a:pt x="5964165" y="941547"/>
                  <a:pt x="5966455" y="935591"/>
                  <a:pt x="5970975" y="931062"/>
                </a:cubicBezTo>
                <a:cubicBezTo>
                  <a:pt x="5975556" y="926471"/>
                  <a:pt x="5981313" y="924052"/>
                  <a:pt x="5988309" y="923804"/>
                </a:cubicBezTo>
                <a:cubicBezTo>
                  <a:pt x="5988309" y="923804"/>
                  <a:pt x="5988309" y="923804"/>
                  <a:pt x="5991467" y="923555"/>
                </a:cubicBezTo>
                <a:cubicBezTo>
                  <a:pt x="5994871" y="923555"/>
                  <a:pt x="5997843" y="924052"/>
                  <a:pt x="6000381" y="925106"/>
                </a:cubicBezTo>
                <a:cubicBezTo>
                  <a:pt x="6002053" y="925541"/>
                  <a:pt x="6002919" y="925106"/>
                  <a:pt x="6003043" y="923804"/>
                </a:cubicBezTo>
                <a:cubicBezTo>
                  <a:pt x="6003043" y="923804"/>
                  <a:pt x="6003043" y="923804"/>
                  <a:pt x="6006634" y="906991"/>
                </a:cubicBezTo>
                <a:cubicBezTo>
                  <a:pt x="6006944" y="905626"/>
                  <a:pt x="6006572" y="904758"/>
                  <a:pt x="6005519" y="904261"/>
                </a:cubicBezTo>
                <a:cubicBezTo>
                  <a:pt x="6001681" y="902338"/>
                  <a:pt x="5997348" y="901346"/>
                  <a:pt x="5992581" y="901346"/>
                </a:cubicBezTo>
                <a:close/>
                <a:moveTo>
                  <a:pt x="5528591" y="901346"/>
                </a:moveTo>
                <a:cubicBezTo>
                  <a:pt x="5515603" y="901346"/>
                  <a:pt x="5505164" y="904331"/>
                  <a:pt x="5497334" y="910239"/>
                </a:cubicBezTo>
                <a:cubicBezTo>
                  <a:pt x="5489442" y="916148"/>
                  <a:pt x="5485527" y="924109"/>
                  <a:pt x="5485527" y="934184"/>
                </a:cubicBezTo>
                <a:cubicBezTo>
                  <a:pt x="5485527" y="941336"/>
                  <a:pt x="5487515" y="947182"/>
                  <a:pt x="5491492" y="951785"/>
                </a:cubicBezTo>
                <a:cubicBezTo>
                  <a:pt x="5495469" y="956325"/>
                  <a:pt x="5500316" y="959870"/>
                  <a:pt x="5506033" y="962358"/>
                </a:cubicBezTo>
                <a:cubicBezTo>
                  <a:pt x="5511813" y="964783"/>
                  <a:pt x="5518959" y="967209"/>
                  <a:pt x="5527473" y="969634"/>
                </a:cubicBezTo>
                <a:cubicBezTo>
                  <a:pt x="5536173" y="971998"/>
                  <a:pt x="5542449" y="974299"/>
                  <a:pt x="5546364" y="976476"/>
                </a:cubicBezTo>
                <a:cubicBezTo>
                  <a:pt x="5550217" y="978653"/>
                  <a:pt x="5552143" y="981887"/>
                  <a:pt x="5552143" y="986240"/>
                </a:cubicBezTo>
                <a:cubicBezTo>
                  <a:pt x="5552143" y="990718"/>
                  <a:pt x="5550092" y="994450"/>
                  <a:pt x="5545867" y="997373"/>
                </a:cubicBezTo>
                <a:cubicBezTo>
                  <a:pt x="5541703" y="1000296"/>
                  <a:pt x="5536235" y="1001726"/>
                  <a:pt x="5529523" y="1001726"/>
                </a:cubicBezTo>
                <a:cubicBezTo>
                  <a:pt x="5522501" y="1001726"/>
                  <a:pt x="5516660" y="1000172"/>
                  <a:pt x="5512123" y="997000"/>
                </a:cubicBezTo>
                <a:cubicBezTo>
                  <a:pt x="5507587" y="993890"/>
                  <a:pt x="5505288" y="990221"/>
                  <a:pt x="5505288" y="985992"/>
                </a:cubicBezTo>
                <a:cubicBezTo>
                  <a:pt x="5505288" y="985992"/>
                  <a:pt x="5505288" y="985992"/>
                  <a:pt x="5505288" y="984872"/>
                </a:cubicBezTo>
                <a:cubicBezTo>
                  <a:pt x="5505288" y="983379"/>
                  <a:pt x="5504542" y="982633"/>
                  <a:pt x="5503051" y="982633"/>
                </a:cubicBezTo>
                <a:cubicBezTo>
                  <a:pt x="5503051" y="982633"/>
                  <a:pt x="5503051" y="982633"/>
                  <a:pt x="5486894" y="982633"/>
                </a:cubicBezTo>
                <a:cubicBezTo>
                  <a:pt x="5485402" y="982633"/>
                  <a:pt x="5484657" y="983379"/>
                  <a:pt x="5484657" y="984872"/>
                </a:cubicBezTo>
                <a:cubicBezTo>
                  <a:pt x="5484657" y="984872"/>
                  <a:pt x="5484657" y="984872"/>
                  <a:pt x="5484657" y="987360"/>
                </a:cubicBezTo>
                <a:cubicBezTo>
                  <a:pt x="5484657" y="993019"/>
                  <a:pt x="5486521" y="998244"/>
                  <a:pt x="5490249" y="1002970"/>
                </a:cubicBezTo>
                <a:cubicBezTo>
                  <a:pt x="5493978" y="1007697"/>
                  <a:pt x="5499260" y="1011367"/>
                  <a:pt x="5506033" y="1014103"/>
                </a:cubicBezTo>
                <a:cubicBezTo>
                  <a:pt x="5512869" y="1016777"/>
                  <a:pt x="5520761" y="1018146"/>
                  <a:pt x="5529710" y="1018146"/>
                </a:cubicBezTo>
                <a:cubicBezTo>
                  <a:pt x="5543070" y="1018146"/>
                  <a:pt x="5553697" y="1015098"/>
                  <a:pt x="5561713" y="1009127"/>
                </a:cubicBezTo>
                <a:cubicBezTo>
                  <a:pt x="5569667" y="1003157"/>
                  <a:pt x="5573707" y="995072"/>
                  <a:pt x="5573707" y="984872"/>
                </a:cubicBezTo>
                <a:cubicBezTo>
                  <a:pt x="5573707" y="977533"/>
                  <a:pt x="5571656" y="971625"/>
                  <a:pt x="5567617" y="967022"/>
                </a:cubicBezTo>
                <a:cubicBezTo>
                  <a:pt x="5563577" y="962482"/>
                  <a:pt x="5558730" y="959062"/>
                  <a:pt x="5552951" y="956698"/>
                </a:cubicBezTo>
                <a:cubicBezTo>
                  <a:pt x="5547172" y="954397"/>
                  <a:pt x="5539963" y="952034"/>
                  <a:pt x="5531325" y="949670"/>
                </a:cubicBezTo>
                <a:cubicBezTo>
                  <a:pt x="5522501" y="947120"/>
                  <a:pt x="5516101" y="944695"/>
                  <a:pt x="5512123" y="942456"/>
                </a:cubicBezTo>
                <a:cubicBezTo>
                  <a:pt x="5508146" y="940217"/>
                  <a:pt x="5506158" y="936921"/>
                  <a:pt x="5506158" y="932567"/>
                </a:cubicBezTo>
                <a:cubicBezTo>
                  <a:pt x="5506158" y="928213"/>
                  <a:pt x="5508208" y="924793"/>
                  <a:pt x="5512310" y="922243"/>
                </a:cubicBezTo>
                <a:cubicBezTo>
                  <a:pt x="5516473" y="919693"/>
                  <a:pt x="5521818" y="918449"/>
                  <a:pt x="5528405" y="918449"/>
                </a:cubicBezTo>
                <a:cubicBezTo>
                  <a:pt x="5535737" y="918449"/>
                  <a:pt x="5541517" y="919879"/>
                  <a:pt x="5545743" y="922802"/>
                </a:cubicBezTo>
                <a:cubicBezTo>
                  <a:pt x="5550030" y="925726"/>
                  <a:pt x="5552143" y="929333"/>
                  <a:pt x="5552143" y="933686"/>
                </a:cubicBezTo>
                <a:cubicBezTo>
                  <a:pt x="5552143" y="933686"/>
                  <a:pt x="5552143" y="933686"/>
                  <a:pt x="5552143" y="934370"/>
                </a:cubicBezTo>
                <a:cubicBezTo>
                  <a:pt x="5552143" y="935863"/>
                  <a:pt x="5552889" y="936609"/>
                  <a:pt x="5554380" y="936609"/>
                </a:cubicBezTo>
                <a:cubicBezTo>
                  <a:pt x="5554380" y="936609"/>
                  <a:pt x="5554380" y="936609"/>
                  <a:pt x="5570102" y="936609"/>
                </a:cubicBezTo>
                <a:cubicBezTo>
                  <a:pt x="5571594" y="936609"/>
                  <a:pt x="5572339" y="935863"/>
                  <a:pt x="5572339" y="934370"/>
                </a:cubicBezTo>
                <a:cubicBezTo>
                  <a:pt x="5572339" y="934370"/>
                  <a:pt x="5572339" y="934370"/>
                  <a:pt x="5572339" y="933686"/>
                </a:cubicBezTo>
                <a:cubicBezTo>
                  <a:pt x="5572339" y="927591"/>
                  <a:pt x="5570537" y="921994"/>
                  <a:pt x="5566995" y="917081"/>
                </a:cubicBezTo>
                <a:cubicBezTo>
                  <a:pt x="5563391" y="912167"/>
                  <a:pt x="5558233" y="908311"/>
                  <a:pt x="5551584" y="905513"/>
                </a:cubicBezTo>
                <a:cubicBezTo>
                  <a:pt x="5544935" y="902776"/>
                  <a:pt x="5537291" y="901346"/>
                  <a:pt x="5528591" y="901346"/>
                </a:cubicBezTo>
                <a:close/>
                <a:moveTo>
                  <a:pt x="4615739" y="901346"/>
                </a:moveTo>
                <a:cubicBezTo>
                  <a:pt x="4604087" y="901346"/>
                  <a:pt x="4594866" y="906619"/>
                  <a:pt x="4588074" y="917041"/>
                </a:cubicBezTo>
                <a:cubicBezTo>
                  <a:pt x="4587949" y="917351"/>
                  <a:pt x="4587763" y="917476"/>
                  <a:pt x="4587513" y="917413"/>
                </a:cubicBezTo>
                <a:cubicBezTo>
                  <a:pt x="4587326" y="917289"/>
                  <a:pt x="4587202" y="917041"/>
                  <a:pt x="4587202" y="916607"/>
                </a:cubicBezTo>
                <a:cubicBezTo>
                  <a:pt x="4587202" y="916607"/>
                  <a:pt x="4587202" y="916607"/>
                  <a:pt x="4587202" y="904758"/>
                </a:cubicBezTo>
                <a:cubicBezTo>
                  <a:pt x="4587202" y="903269"/>
                  <a:pt x="4586454" y="902524"/>
                  <a:pt x="4584959" y="902524"/>
                </a:cubicBezTo>
                <a:cubicBezTo>
                  <a:pt x="4584959" y="902524"/>
                  <a:pt x="4584959" y="902524"/>
                  <a:pt x="4567824" y="902524"/>
                </a:cubicBezTo>
                <a:cubicBezTo>
                  <a:pt x="4566329" y="902524"/>
                  <a:pt x="4565581" y="903269"/>
                  <a:pt x="4565581" y="904758"/>
                </a:cubicBezTo>
                <a:cubicBezTo>
                  <a:pt x="4565581" y="904758"/>
                  <a:pt x="4565581" y="904758"/>
                  <a:pt x="4565581" y="1014256"/>
                </a:cubicBezTo>
                <a:cubicBezTo>
                  <a:pt x="4565581" y="1015745"/>
                  <a:pt x="4566329" y="1016489"/>
                  <a:pt x="4567824" y="1016489"/>
                </a:cubicBezTo>
                <a:cubicBezTo>
                  <a:pt x="4567824" y="1016489"/>
                  <a:pt x="4567824" y="1016489"/>
                  <a:pt x="4584959" y="1016489"/>
                </a:cubicBezTo>
                <a:cubicBezTo>
                  <a:pt x="4586454" y="1016489"/>
                  <a:pt x="4587202" y="1015745"/>
                  <a:pt x="4587202" y="1014256"/>
                </a:cubicBezTo>
                <a:cubicBezTo>
                  <a:pt x="4587202" y="1014256"/>
                  <a:pt x="4587202" y="1014256"/>
                  <a:pt x="4587202" y="948867"/>
                </a:cubicBezTo>
                <a:cubicBezTo>
                  <a:pt x="4587202" y="941547"/>
                  <a:pt x="4589445" y="935591"/>
                  <a:pt x="4594056" y="931062"/>
                </a:cubicBezTo>
                <a:cubicBezTo>
                  <a:pt x="4598604" y="926471"/>
                  <a:pt x="4604461" y="924052"/>
                  <a:pt x="4611501" y="923804"/>
                </a:cubicBezTo>
                <a:cubicBezTo>
                  <a:pt x="4611501" y="923804"/>
                  <a:pt x="4611501" y="923804"/>
                  <a:pt x="4614617" y="923555"/>
                </a:cubicBezTo>
                <a:cubicBezTo>
                  <a:pt x="4618106" y="923555"/>
                  <a:pt x="4621097" y="924052"/>
                  <a:pt x="4623652" y="925106"/>
                </a:cubicBezTo>
                <a:cubicBezTo>
                  <a:pt x="4625272" y="925541"/>
                  <a:pt x="4626207" y="925106"/>
                  <a:pt x="4626331" y="923804"/>
                </a:cubicBezTo>
                <a:cubicBezTo>
                  <a:pt x="4626331" y="923804"/>
                  <a:pt x="4626331" y="923804"/>
                  <a:pt x="4629945" y="906991"/>
                </a:cubicBezTo>
                <a:cubicBezTo>
                  <a:pt x="4630194" y="905626"/>
                  <a:pt x="4629821" y="904758"/>
                  <a:pt x="4628824" y="904261"/>
                </a:cubicBezTo>
                <a:cubicBezTo>
                  <a:pt x="4624898" y="902338"/>
                  <a:pt x="4620536" y="901346"/>
                  <a:pt x="4615739" y="901346"/>
                </a:cubicBezTo>
                <a:close/>
                <a:moveTo>
                  <a:pt x="6376741" y="900931"/>
                </a:moveTo>
                <a:cubicBezTo>
                  <a:pt x="6364208" y="900931"/>
                  <a:pt x="6354715" y="905025"/>
                  <a:pt x="6348263" y="913275"/>
                </a:cubicBezTo>
                <a:cubicBezTo>
                  <a:pt x="6348139" y="913585"/>
                  <a:pt x="6347953" y="913647"/>
                  <a:pt x="6347705" y="913461"/>
                </a:cubicBezTo>
                <a:cubicBezTo>
                  <a:pt x="6347518" y="913337"/>
                  <a:pt x="6347395" y="913089"/>
                  <a:pt x="6347395" y="912841"/>
                </a:cubicBezTo>
                <a:cubicBezTo>
                  <a:pt x="6347395" y="912841"/>
                  <a:pt x="6347395" y="912841"/>
                  <a:pt x="6347395" y="904777"/>
                </a:cubicBezTo>
                <a:cubicBezTo>
                  <a:pt x="6347395" y="903288"/>
                  <a:pt x="6346650" y="902544"/>
                  <a:pt x="6345161" y="902544"/>
                </a:cubicBezTo>
                <a:cubicBezTo>
                  <a:pt x="6345161" y="902544"/>
                  <a:pt x="6345161" y="902544"/>
                  <a:pt x="6328161" y="902544"/>
                </a:cubicBezTo>
                <a:cubicBezTo>
                  <a:pt x="6326672" y="902544"/>
                  <a:pt x="6325865" y="903288"/>
                  <a:pt x="6325865" y="904777"/>
                </a:cubicBezTo>
                <a:cubicBezTo>
                  <a:pt x="6325865" y="904777"/>
                  <a:pt x="6325865" y="904777"/>
                  <a:pt x="6325865" y="1014256"/>
                </a:cubicBezTo>
                <a:cubicBezTo>
                  <a:pt x="6325865" y="1015745"/>
                  <a:pt x="6326672" y="1016489"/>
                  <a:pt x="6328161" y="1016489"/>
                </a:cubicBezTo>
                <a:cubicBezTo>
                  <a:pt x="6328161" y="1016489"/>
                  <a:pt x="6328161" y="1016489"/>
                  <a:pt x="6345161" y="1016489"/>
                </a:cubicBezTo>
                <a:cubicBezTo>
                  <a:pt x="6346650" y="1016489"/>
                  <a:pt x="6347395" y="1015745"/>
                  <a:pt x="6347395" y="1014256"/>
                </a:cubicBezTo>
                <a:cubicBezTo>
                  <a:pt x="6347395" y="1014256"/>
                  <a:pt x="6347395" y="1014256"/>
                  <a:pt x="6347395" y="944413"/>
                </a:cubicBezTo>
                <a:cubicBezTo>
                  <a:pt x="6347395" y="937094"/>
                  <a:pt x="6349628" y="931077"/>
                  <a:pt x="6354095" y="926487"/>
                </a:cubicBezTo>
                <a:cubicBezTo>
                  <a:pt x="6358624" y="921835"/>
                  <a:pt x="6364332" y="919540"/>
                  <a:pt x="6371343" y="919540"/>
                </a:cubicBezTo>
                <a:cubicBezTo>
                  <a:pt x="6378540" y="919540"/>
                  <a:pt x="6384248" y="921835"/>
                  <a:pt x="6388591" y="926487"/>
                </a:cubicBezTo>
                <a:cubicBezTo>
                  <a:pt x="6392934" y="931077"/>
                  <a:pt x="6395105" y="937156"/>
                  <a:pt x="6395105" y="944599"/>
                </a:cubicBezTo>
                <a:cubicBezTo>
                  <a:pt x="6395105" y="944599"/>
                  <a:pt x="6395105" y="944599"/>
                  <a:pt x="6395105" y="1014256"/>
                </a:cubicBezTo>
                <a:cubicBezTo>
                  <a:pt x="6395105" y="1015745"/>
                  <a:pt x="6395850" y="1016489"/>
                  <a:pt x="6397339" y="1016489"/>
                </a:cubicBezTo>
                <a:cubicBezTo>
                  <a:pt x="6397339" y="1016489"/>
                  <a:pt x="6397339" y="1016489"/>
                  <a:pt x="6414339" y="1016489"/>
                </a:cubicBezTo>
                <a:cubicBezTo>
                  <a:pt x="6415828" y="1016489"/>
                  <a:pt x="6416572" y="1015745"/>
                  <a:pt x="6416572" y="1014256"/>
                </a:cubicBezTo>
                <a:cubicBezTo>
                  <a:pt x="6416572" y="1014256"/>
                  <a:pt x="6416572" y="1014256"/>
                  <a:pt x="6416572" y="940381"/>
                </a:cubicBezTo>
                <a:cubicBezTo>
                  <a:pt x="6416572" y="928286"/>
                  <a:pt x="6413036" y="918671"/>
                  <a:pt x="6405839" y="911600"/>
                </a:cubicBezTo>
                <a:cubicBezTo>
                  <a:pt x="6398704" y="904467"/>
                  <a:pt x="6388963" y="900931"/>
                  <a:pt x="6376741" y="900931"/>
                </a:cubicBezTo>
                <a:close/>
                <a:moveTo>
                  <a:pt x="6249501" y="900931"/>
                </a:moveTo>
                <a:cubicBezTo>
                  <a:pt x="6237977" y="900931"/>
                  <a:pt x="6228251" y="903906"/>
                  <a:pt x="6220196" y="909856"/>
                </a:cubicBezTo>
                <a:cubicBezTo>
                  <a:pt x="6212142" y="915806"/>
                  <a:pt x="6206752" y="923924"/>
                  <a:pt x="6204088" y="934274"/>
                </a:cubicBezTo>
                <a:cubicBezTo>
                  <a:pt x="6202415" y="939914"/>
                  <a:pt x="6201610" y="948218"/>
                  <a:pt x="6201610" y="959064"/>
                </a:cubicBezTo>
                <a:cubicBezTo>
                  <a:pt x="6201610" y="971583"/>
                  <a:pt x="6203407" y="982243"/>
                  <a:pt x="6207000" y="991043"/>
                </a:cubicBezTo>
                <a:cubicBezTo>
                  <a:pt x="6210717" y="999844"/>
                  <a:pt x="6216293" y="1006661"/>
                  <a:pt x="6223728" y="1011433"/>
                </a:cubicBezTo>
                <a:cubicBezTo>
                  <a:pt x="6231224" y="1016205"/>
                  <a:pt x="6240393" y="1018560"/>
                  <a:pt x="6251235" y="1018560"/>
                </a:cubicBezTo>
                <a:cubicBezTo>
                  <a:pt x="6260962" y="1018560"/>
                  <a:pt x="6269636" y="1016639"/>
                  <a:pt x="6277318" y="1012734"/>
                </a:cubicBezTo>
                <a:cubicBezTo>
                  <a:pt x="6285000" y="1008892"/>
                  <a:pt x="6290948" y="1003624"/>
                  <a:pt x="6295099" y="996869"/>
                </a:cubicBezTo>
                <a:cubicBezTo>
                  <a:pt x="6295718" y="995815"/>
                  <a:pt x="6295471" y="994885"/>
                  <a:pt x="6294417" y="993956"/>
                </a:cubicBezTo>
                <a:cubicBezTo>
                  <a:pt x="6294417" y="993956"/>
                  <a:pt x="6294417" y="993956"/>
                  <a:pt x="6281655" y="985465"/>
                </a:cubicBezTo>
                <a:cubicBezTo>
                  <a:pt x="6280477" y="984412"/>
                  <a:pt x="6279487" y="984660"/>
                  <a:pt x="6278743" y="986147"/>
                </a:cubicBezTo>
                <a:cubicBezTo>
                  <a:pt x="6272795" y="995257"/>
                  <a:pt x="6264307" y="999782"/>
                  <a:pt x="6253280" y="999782"/>
                </a:cubicBezTo>
                <a:cubicBezTo>
                  <a:pt x="6245659" y="999782"/>
                  <a:pt x="6239402" y="998108"/>
                  <a:pt x="6234384" y="994762"/>
                </a:cubicBezTo>
                <a:cubicBezTo>
                  <a:pt x="6229365" y="991415"/>
                  <a:pt x="6226082" y="986767"/>
                  <a:pt x="6224409" y="980755"/>
                </a:cubicBezTo>
                <a:cubicBezTo>
                  <a:pt x="6223542" y="978090"/>
                  <a:pt x="6223108" y="974186"/>
                  <a:pt x="6223108" y="969166"/>
                </a:cubicBezTo>
                <a:cubicBezTo>
                  <a:pt x="6223108" y="968546"/>
                  <a:pt x="6223356" y="968236"/>
                  <a:pt x="6223975" y="968236"/>
                </a:cubicBezTo>
                <a:cubicBezTo>
                  <a:pt x="6223975" y="968236"/>
                  <a:pt x="6223975" y="968236"/>
                  <a:pt x="6295347" y="968236"/>
                </a:cubicBezTo>
                <a:cubicBezTo>
                  <a:pt x="6296833" y="968236"/>
                  <a:pt x="6297577" y="967493"/>
                  <a:pt x="6297577" y="966005"/>
                </a:cubicBezTo>
                <a:cubicBezTo>
                  <a:pt x="6297701" y="958382"/>
                  <a:pt x="6297515" y="951565"/>
                  <a:pt x="6296895" y="945430"/>
                </a:cubicBezTo>
                <a:cubicBezTo>
                  <a:pt x="6295223" y="930803"/>
                  <a:pt x="6290700" y="919772"/>
                  <a:pt x="6283265" y="912211"/>
                </a:cubicBezTo>
                <a:cubicBezTo>
                  <a:pt x="6275769" y="904650"/>
                  <a:pt x="6264555" y="900931"/>
                  <a:pt x="6249501" y="900931"/>
                </a:cubicBezTo>
                <a:close/>
                <a:moveTo>
                  <a:pt x="6063513" y="900931"/>
                </a:moveTo>
                <a:cubicBezTo>
                  <a:pt x="6053641" y="900931"/>
                  <a:pt x="6045073" y="903661"/>
                  <a:pt x="6037871" y="909058"/>
                </a:cubicBezTo>
                <a:cubicBezTo>
                  <a:pt x="6030607" y="914516"/>
                  <a:pt x="6025578" y="921712"/>
                  <a:pt x="6022721" y="930707"/>
                </a:cubicBezTo>
                <a:cubicBezTo>
                  <a:pt x="6020486" y="937406"/>
                  <a:pt x="6019369" y="946959"/>
                  <a:pt x="6019369" y="959365"/>
                </a:cubicBezTo>
                <a:cubicBezTo>
                  <a:pt x="6019369" y="971027"/>
                  <a:pt x="6020362" y="980084"/>
                  <a:pt x="6022287" y="986659"/>
                </a:cubicBezTo>
                <a:cubicBezTo>
                  <a:pt x="6025267" y="996522"/>
                  <a:pt x="6030669" y="1003966"/>
                  <a:pt x="6038492" y="1009053"/>
                </a:cubicBezTo>
                <a:cubicBezTo>
                  <a:pt x="6046377" y="1014139"/>
                  <a:pt x="6055131" y="1016683"/>
                  <a:pt x="6064879" y="1016683"/>
                </a:cubicBezTo>
                <a:cubicBezTo>
                  <a:pt x="6076986" y="1016683"/>
                  <a:pt x="6086175" y="1013023"/>
                  <a:pt x="6092446" y="1005703"/>
                </a:cubicBezTo>
                <a:cubicBezTo>
                  <a:pt x="6092756" y="1005393"/>
                  <a:pt x="6093005" y="1005331"/>
                  <a:pt x="6093191" y="1005455"/>
                </a:cubicBezTo>
                <a:cubicBezTo>
                  <a:pt x="6093439" y="1005641"/>
                  <a:pt x="6093563" y="1005827"/>
                  <a:pt x="6093563" y="1006137"/>
                </a:cubicBezTo>
                <a:cubicBezTo>
                  <a:pt x="6093563" y="1006137"/>
                  <a:pt x="6093563" y="1006137"/>
                  <a:pt x="6093563" y="1010169"/>
                </a:cubicBezTo>
                <a:cubicBezTo>
                  <a:pt x="6093563" y="1021397"/>
                  <a:pt x="6090707" y="1029337"/>
                  <a:pt x="6085057" y="1034051"/>
                </a:cubicBezTo>
                <a:cubicBezTo>
                  <a:pt x="6079345" y="1038766"/>
                  <a:pt x="6070156" y="1041061"/>
                  <a:pt x="6057491" y="1041061"/>
                </a:cubicBezTo>
                <a:cubicBezTo>
                  <a:pt x="6053455" y="1041061"/>
                  <a:pt x="6050350" y="1040999"/>
                  <a:pt x="6048301" y="1040875"/>
                </a:cubicBezTo>
                <a:cubicBezTo>
                  <a:pt x="6047495" y="1040689"/>
                  <a:pt x="6046936" y="1040875"/>
                  <a:pt x="6046501" y="1041309"/>
                </a:cubicBezTo>
                <a:cubicBezTo>
                  <a:pt x="6046066" y="1041743"/>
                  <a:pt x="6045818" y="1042301"/>
                  <a:pt x="6045818" y="1042860"/>
                </a:cubicBezTo>
                <a:cubicBezTo>
                  <a:pt x="6045818" y="1042860"/>
                  <a:pt x="6045818" y="1042860"/>
                  <a:pt x="6045135" y="1058306"/>
                </a:cubicBezTo>
                <a:cubicBezTo>
                  <a:pt x="6045135" y="1059794"/>
                  <a:pt x="6045880" y="1060663"/>
                  <a:pt x="6047370" y="1060787"/>
                </a:cubicBezTo>
                <a:cubicBezTo>
                  <a:pt x="6052461" y="1061097"/>
                  <a:pt x="6056187" y="1061221"/>
                  <a:pt x="6058608" y="1061221"/>
                </a:cubicBezTo>
                <a:cubicBezTo>
                  <a:pt x="6075744" y="1061221"/>
                  <a:pt x="6089466" y="1057375"/>
                  <a:pt x="6099710" y="1049621"/>
                </a:cubicBezTo>
                <a:cubicBezTo>
                  <a:pt x="6109954" y="1041805"/>
                  <a:pt x="6115046" y="1028903"/>
                  <a:pt x="6115046" y="1010851"/>
                </a:cubicBezTo>
                <a:cubicBezTo>
                  <a:pt x="6115046" y="1010851"/>
                  <a:pt x="6115046" y="1010851"/>
                  <a:pt x="6115046" y="904963"/>
                </a:cubicBezTo>
                <a:cubicBezTo>
                  <a:pt x="6115046" y="903475"/>
                  <a:pt x="6114301" y="902730"/>
                  <a:pt x="6112811" y="902730"/>
                </a:cubicBezTo>
                <a:cubicBezTo>
                  <a:pt x="6112811" y="902730"/>
                  <a:pt x="6112811" y="902730"/>
                  <a:pt x="6095799" y="902730"/>
                </a:cubicBezTo>
                <a:cubicBezTo>
                  <a:pt x="6094309" y="902730"/>
                  <a:pt x="6093563" y="903475"/>
                  <a:pt x="6093563" y="904963"/>
                </a:cubicBezTo>
                <a:cubicBezTo>
                  <a:pt x="6093563" y="904963"/>
                  <a:pt x="6093563" y="904963"/>
                  <a:pt x="6093563" y="911911"/>
                </a:cubicBezTo>
                <a:cubicBezTo>
                  <a:pt x="6093563" y="912159"/>
                  <a:pt x="6093439" y="912345"/>
                  <a:pt x="6093191" y="912469"/>
                </a:cubicBezTo>
                <a:cubicBezTo>
                  <a:pt x="6093005" y="912531"/>
                  <a:pt x="6092756" y="912407"/>
                  <a:pt x="6092446" y="912097"/>
                </a:cubicBezTo>
                <a:cubicBezTo>
                  <a:pt x="6085430" y="904653"/>
                  <a:pt x="6075744" y="900931"/>
                  <a:pt x="6063513" y="900931"/>
                </a:cubicBezTo>
                <a:close/>
                <a:moveTo>
                  <a:pt x="5866524" y="900931"/>
                </a:moveTo>
                <a:cubicBezTo>
                  <a:pt x="5855013" y="900931"/>
                  <a:pt x="5845245" y="903906"/>
                  <a:pt x="5837156" y="909856"/>
                </a:cubicBezTo>
                <a:cubicBezTo>
                  <a:pt x="5829067" y="915806"/>
                  <a:pt x="5823654" y="923924"/>
                  <a:pt x="5820978" y="934274"/>
                </a:cubicBezTo>
                <a:cubicBezTo>
                  <a:pt x="5819298" y="939914"/>
                  <a:pt x="5818489" y="948218"/>
                  <a:pt x="5818489" y="959064"/>
                </a:cubicBezTo>
                <a:cubicBezTo>
                  <a:pt x="5818489" y="971583"/>
                  <a:pt x="5820294" y="982243"/>
                  <a:pt x="5823903" y="991043"/>
                </a:cubicBezTo>
                <a:cubicBezTo>
                  <a:pt x="5827636" y="999844"/>
                  <a:pt x="5833236" y="1006661"/>
                  <a:pt x="5840703" y="1011433"/>
                </a:cubicBezTo>
                <a:cubicBezTo>
                  <a:pt x="5848231" y="1016205"/>
                  <a:pt x="5857440" y="1018560"/>
                  <a:pt x="5868329" y="1018560"/>
                </a:cubicBezTo>
                <a:cubicBezTo>
                  <a:pt x="5878097" y="1018560"/>
                  <a:pt x="5886808" y="1016639"/>
                  <a:pt x="5894524" y="1012734"/>
                </a:cubicBezTo>
                <a:cubicBezTo>
                  <a:pt x="5902239" y="1008892"/>
                  <a:pt x="5908212" y="1003624"/>
                  <a:pt x="5912381" y="996869"/>
                </a:cubicBezTo>
                <a:cubicBezTo>
                  <a:pt x="5912941" y="995815"/>
                  <a:pt x="5912755" y="994885"/>
                  <a:pt x="5911697" y="993956"/>
                </a:cubicBezTo>
                <a:cubicBezTo>
                  <a:pt x="5911697" y="993956"/>
                  <a:pt x="5911697" y="993956"/>
                  <a:pt x="5898879" y="985465"/>
                </a:cubicBezTo>
                <a:cubicBezTo>
                  <a:pt x="5897697" y="984412"/>
                  <a:pt x="5896702" y="984660"/>
                  <a:pt x="5895955" y="986147"/>
                </a:cubicBezTo>
                <a:cubicBezTo>
                  <a:pt x="5889981" y="995257"/>
                  <a:pt x="5881457" y="999782"/>
                  <a:pt x="5870382" y="999782"/>
                </a:cubicBezTo>
                <a:cubicBezTo>
                  <a:pt x="5862729" y="999782"/>
                  <a:pt x="5856382" y="998108"/>
                  <a:pt x="5851405" y="994762"/>
                </a:cubicBezTo>
                <a:cubicBezTo>
                  <a:pt x="5846365" y="991415"/>
                  <a:pt x="5843067" y="986767"/>
                  <a:pt x="5841387" y="980755"/>
                </a:cubicBezTo>
                <a:cubicBezTo>
                  <a:pt x="5840516" y="978090"/>
                  <a:pt x="5840080" y="974186"/>
                  <a:pt x="5840080" y="969166"/>
                </a:cubicBezTo>
                <a:cubicBezTo>
                  <a:pt x="5840080" y="968546"/>
                  <a:pt x="5840329" y="968236"/>
                  <a:pt x="5840951" y="968236"/>
                </a:cubicBezTo>
                <a:cubicBezTo>
                  <a:pt x="5840951" y="968236"/>
                  <a:pt x="5840951" y="968236"/>
                  <a:pt x="5912568" y="968236"/>
                </a:cubicBezTo>
                <a:cubicBezTo>
                  <a:pt x="5914061" y="968236"/>
                  <a:pt x="5914870" y="967493"/>
                  <a:pt x="5914870" y="966005"/>
                </a:cubicBezTo>
                <a:cubicBezTo>
                  <a:pt x="5914995" y="958382"/>
                  <a:pt x="5914746" y="951565"/>
                  <a:pt x="5914186" y="945430"/>
                </a:cubicBezTo>
                <a:cubicBezTo>
                  <a:pt x="5912506" y="930803"/>
                  <a:pt x="5907963" y="919772"/>
                  <a:pt x="5900497" y="912211"/>
                </a:cubicBezTo>
                <a:cubicBezTo>
                  <a:pt x="5892968" y="904650"/>
                  <a:pt x="5881706" y="900931"/>
                  <a:pt x="5866524" y="900931"/>
                </a:cubicBezTo>
                <a:close/>
                <a:moveTo>
                  <a:pt x="5751260" y="900931"/>
                </a:moveTo>
                <a:cubicBezTo>
                  <a:pt x="5738727" y="900931"/>
                  <a:pt x="5729235" y="905025"/>
                  <a:pt x="5722844" y="913275"/>
                </a:cubicBezTo>
                <a:cubicBezTo>
                  <a:pt x="5722658" y="913585"/>
                  <a:pt x="5722472" y="913647"/>
                  <a:pt x="5722286" y="913461"/>
                </a:cubicBezTo>
                <a:cubicBezTo>
                  <a:pt x="5722037" y="913337"/>
                  <a:pt x="5721914" y="913089"/>
                  <a:pt x="5721914" y="912841"/>
                </a:cubicBezTo>
                <a:cubicBezTo>
                  <a:pt x="5721914" y="912841"/>
                  <a:pt x="5721914" y="912841"/>
                  <a:pt x="5721914" y="904777"/>
                </a:cubicBezTo>
                <a:cubicBezTo>
                  <a:pt x="5721914" y="903288"/>
                  <a:pt x="5721169" y="902544"/>
                  <a:pt x="5719680" y="902544"/>
                </a:cubicBezTo>
                <a:cubicBezTo>
                  <a:pt x="5719680" y="902544"/>
                  <a:pt x="5719680" y="902544"/>
                  <a:pt x="5702680" y="902544"/>
                </a:cubicBezTo>
                <a:cubicBezTo>
                  <a:pt x="5701191" y="902544"/>
                  <a:pt x="5700447" y="903288"/>
                  <a:pt x="5700447" y="904777"/>
                </a:cubicBezTo>
                <a:cubicBezTo>
                  <a:pt x="5700447" y="904777"/>
                  <a:pt x="5700447" y="904777"/>
                  <a:pt x="5700447" y="1014256"/>
                </a:cubicBezTo>
                <a:cubicBezTo>
                  <a:pt x="5700447" y="1015745"/>
                  <a:pt x="5701191" y="1016489"/>
                  <a:pt x="5702680" y="1016489"/>
                </a:cubicBezTo>
                <a:cubicBezTo>
                  <a:pt x="5702680" y="1016489"/>
                  <a:pt x="5702680" y="1016489"/>
                  <a:pt x="5719680" y="1016489"/>
                </a:cubicBezTo>
                <a:cubicBezTo>
                  <a:pt x="5721169" y="1016489"/>
                  <a:pt x="5721914" y="1015745"/>
                  <a:pt x="5721914" y="1014256"/>
                </a:cubicBezTo>
                <a:cubicBezTo>
                  <a:pt x="5721914" y="1014256"/>
                  <a:pt x="5721914" y="1014256"/>
                  <a:pt x="5721914" y="944413"/>
                </a:cubicBezTo>
                <a:cubicBezTo>
                  <a:pt x="5721914" y="937094"/>
                  <a:pt x="5724147" y="931077"/>
                  <a:pt x="5728614" y="926487"/>
                </a:cubicBezTo>
                <a:cubicBezTo>
                  <a:pt x="5733143" y="921835"/>
                  <a:pt x="5738851" y="919540"/>
                  <a:pt x="5745862" y="919540"/>
                </a:cubicBezTo>
                <a:cubicBezTo>
                  <a:pt x="5753059" y="919540"/>
                  <a:pt x="5758767" y="921835"/>
                  <a:pt x="5763110" y="926487"/>
                </a:cubicBezTo>
                <a:cubicBezTo>
                  <a:pt x="5767453" y="931077"/>
                  <a:pt x="5769624" y="937156"/>
                  <a:pt x="5769624" y="944599"/>
                </a:cubicBezTo>
                <a:cubicBezTo>
                  <a:pt x="5769624" y="944599"/>
                  <a:pt x="5769624" y="944599"/>
                  <a:pt x="5769624" y="1014256"/>
                </a:cubicBezTo>
                <a:cubicBezTo>
                  <a:pt x="5769624" y="1015745"/>
                  <a:pt x="5770369" y="1016489"/>
                  <a:pt x="5771858" y="1016489"/>
                </a:cubicBezTo>
                <a:cubicBezTo>
                  <a:pt x="5771858" y="1016489"/>
                  <a:pt x="5771858" y="1016489"/>
                  <a:pt x="5788858" y="1016489"/>
                </a:cubicBezTo>
                <a:cubicBezTo>
                  <a:pt x="5790409" y="1016489"/>
                  <a:pt x="5791153" y="1015745"/>
                  <a:pt x="5791153" y="1014256"/>
                </a:cubicBezTo>
                <a:cubicBezTo>
                  <a:pt x="5791153" y="1014256"/>
                  <a:pt x="5791153" y="1014256"/>
                  <a:pt x="5791153" y="940381"/>
                </a:cubicBezTo>
                <a:cubicBezTo>
                  <a:pt x="5791153" y="928286"/>
                  <a:pt x="5787555" y="918671"/>
                  <a:pt x="5780358" y="911600"/>
                </a:cubicBezTo>
                <a:cubicBezTo>
                  <a:pt x="5773223" y="904467"/>
                  <a:pt x="5763482" y="900931"/>
                  <a:pt x="5751260" y="900931"/>
                </a:cubicBezTo>
                <a:close/>
                <a:moveTo>
                  <a:pt x="5371929" y="900931"/>
                </a:moveTo>
                <a:cubicBezTo>
                  <a:pt x="5359396" y="900931"/>
                  <a:pt x="5349903" y="905025"/>
                  <a:pt x="5343451" y="913275"/>
                </a:cubicBezTo>
                <a:cubicBezTo>
                  <a:pt x="5343327" y="913585"/>
                  <a:pt x="5343141" y="913647"/>
                  <a:pt x="5342893" y="913461"/>
                </a:cubicBezTo>
                <a:cubicBezTo>
                  <a:pt x="5342707" y="913337"/>
                  <a:pt x="5342582" y="913089"/>
                  <a:pt x="5342582" y="912841"/>
                </a:cubicBezTo>
                <a:cubicBezTo>
                  <a:pt x="5342582" y="912841"/>
                  <a:pt x="5342582" y="912841"/>
                  <a:pt x="5342582" y="904777"/>
                </a:cubicBezTo>
                <a:cubicBezTo>
                  <a:pt x="5342582" y="903288"/>
                  <a:pt x="5341838" y="902544"/>
                  <a:pt x="5340349" y="902544"/>
                </a:cubicBezTo>
                <a:cubicBezTo>
                  <a:pt x="5340349" y="902544"/>
                  <a:pt x="5340349" y="902544"/>
                  <a:pt x="5323287" y="902544"/>
                </a:cubicBezTo>
                <a:cubicBezTo>
                  <a:pt x="5321798" y="902544"/>
                  <a:pt x="5321054" y="903288"/>
                  <a:pt x="5321054" y="904777"/>
                </a:cubicBezTo>
                <a:cubicBezTo>
                  <a:pt x="5321054" y="904777"/>
                  <a:pt x="5321054" y="904777"/>
                  <a:pt x="5321054" y="1014256"/>
                </a:cubicBezTo>
                <a:cubicBezTo>
                  <a:pt x="5321054" y="1015745"/>
                  <a:pt x="5321798" y="1016489"/>
                  <a:pt x="5323287" y="1016489"/>
                </a:cubicBezTo>
                <a:cubicBezTo>
                  <a:pt x="5323287" y="1016489"/>
                  <a:pt x="5323287" y="1016489"/>
                  <a:pt x="5340349" y="1016489"/>
                </a:cubicBezTo>
                <a:cubicBezTo>
                  <a:pt x="5341838" y="1016489"/>
                  <a:pt x="5342582" y="1015745"/>
                  <a:pt x="5342582" y="1014256"/>
                </a:cubicBezTo>
                <a:cubicBezTo>
                  <a:pt x="5342582" y="1014256"/>
                  <a:pt x="5342582" y="1014256"/>
                  <a:pt x="5342582" y="944413"/>
                </a:cubicBezTo>
                <a:cubicBezTo>
                  <a:pt x="5342582" y="937094"/>
                  <a:pt x="5344816" y="931077"/>
                  <a:pt x="5349283" y="926487"/>
                </a:cubicBezTo>
                <a:cubicBezTo>
                  <a:pt x="5353750" y="921835"/>
                  <a:pt x="5359520" y="919540"/>
                  <a:pt x="5366531" y="919540"/>
                </a:cubicBezTo>
                <a:cubicBezTo>
                  <a:pt x="5373728" y="919540"/>
                  <a:pt x="5379436" y="921835"/>
                  <a:pt x="5383779" y="926487"/>
                </a:cubicBezTo>
                <a:cubicBezTo>
                  <a:pt x="5388122" y="931077"/>
                  <a:pt x="5390293" y="937156"/>
                  <a:pt x="5390293" y="944599"/>
                </a:cubicBezTo>
                <a:cubicBezTo>
                  <a:pt x="5390293" y="944599"/>
                  <a:pt x="5390293" y="944599"/>
                  <a:pt x="5390293" y="1014256"/>
                </a:cubicBezTo>
                <a:cubicBezTo>
                  <a:pt x="5390293" y="1015745"/>
                  <a:pt x="5391038" y="1016489"/>
                  <a:pt x="5392527" y="1016489"/>
                </a:cubicBezTo>
                <a:cubicBezTo>
                  <a:pt x="5392527" y="1016489"/>
                  <a:pt x="5392527" y="1016489"/>
                  <a:pt x="5409527" y="1016489"/>
                </a:cubicBezTo>
                <a:cubicBezTo>
                  <a:pt x="5411015" y="1016489"/>
                  <a:pt x="5411760" y="1015745"/>
                  <a:pt x="5411760" y="1014256"/>
                </a:cubicBezTo>
                <a:cubicBezTo>
                  <a:pt x="5411760" y="1014256"/>
                  <a:pt x="5411760" y="1014256"/>
                  <a:pt x="5411760" y="940381"/>
                </a:cubicBezTo>
                <a:cubicBezTo>
                  <a:pt x="5411760" y="928286"/>
                  <a:pt x="5408224" y="918671"/>
                  <a:pt x="5401027" y="911600"/>
                </a:cubicBezTo>
                <a:cubicBezTo>
                  <a:pt x="5393830" y="904467"/>
                  <a:pt x="5384151" y="900931"/>
                  <a:pt x="5371929" y="900931"/>
                </a:cubicBezTo>
                <a:close/>
                <a:moveTo>
                  <a:pt x="5245073" y="900931"/>
                </a:moveTo>
                <a:cubicBezTo>
                  <a:pt x="5233604" y="900931"/>
                  <a:pt x="5223809" y="903906"/>
                  <a:pt x="5215749" y="909856"/>
                </a:cubicBezTo>
                <a:cubicBezTo>
                  <a:pt x="5207690" y="915806"/>
                  <a:pt x="5202359" y="923924"/>
                  <a:pt x="5199631" y="934274"/>
                </a:cubicBezTo>
                <a:cubicBezTo>
                  <a:pt x="5198019" y="939914"/>
                  <a:pt x="5197213" y="948218"/>
                  <a:pt x="5197213" y="959064"/>
                </a:cubicBezTo>
                <a:cubicBezTo>
                  <a:pt x="5197213" y="971583"/>
                  <a:pt x="5198949" y="982243"/>
                  <a:pt x="5202545" y="991043"/>
                </a:cubicBezTo>
                <a:cubicBezTo>
                  <a:pt x="5206264" y="999844"/>
                  <a:pt x="5211906" y="1006661"/>
                  <a:pt x="5219345" y="1011433"/>
                </a:cubicBezTo>
                <a:cubicBezTo>
                  <a:pt x="5226784" y="1016205"/>
                  <a:pt x="5235959" y="1018560"/>
                  <a:pt x="5246870" y="1018560"/>
                </a:cubicBezTo>
                <a:cubicBezTo>
                  <a:pt x="5256541" y="1018560"/>
                  <a:pt x="5265221" y="1016639"/>
                  <a:pt x="5272907" y="1012734"/>
                </a:cubicBezTo>
                <a:cubicBezTo>
                  <a:pt x="5280595" y="1008892"/>
                  <a:pt x="5286546" y="1003624"/>
                  <a:pt x="5290762" y="996869"/>
                </a:cubicBezTo>
                <a:cubicBezTo>
                  <a:pt x="5291319" y="995815"/>
                  <a:pt x="5291072" y="994885"/>
                  <a:pt x="5290080" y="993956"/>
                </a:cubicBezTo>
                <a:cubicBezTo>
                  <a:pt x="5290080" y="993956"/>
                  <a:pt x="5290080" y="993956"/>
                  <a:pt x="5277309" y="985465"/>
                </a:cubicBezTo>
                <a:cubicBezTo>
                  <a:pt x="5276069" y="984412"/>
                  <a:pt x="5275139" y="984660"/>
                  <a:pt x="5274395" y="986147"/>
                </a:cubicBezTo>
                <a:cubicBezTo>
                  <a:pt x="5268444" y="995257"/>
                  <a:pt x="5259889" y="999782"/>
                  <a:pt x="5248854" y="999782"/>
                </a:cubicBezTo>
                <a:cubicBezTo>
                  <a:pt x="5241291" y="999782"/>
                  <a:pt x="5234967" y="998108"/>
                  <a:pt x="5229946" y="994762"/>
                </a:cubicBezTo>
                <a:cubicBezTo>
                  <a:pt x="5224986" y="991415"/>
                  <a:pt x="5221639" y="986767"/>
                  <a:pt x="5220027" y="980755"/>
                </a:cubicBezTo>
                <a:cubicBezTo>
                  <a:pt x="5219097" y="978090"/>
                  <a:pt x="5218663" y="974186"/>
                  <a:pt x="5218663" y="969166"/>
                </a:cubicBezTo>
                <a:cubicBezTo>
                  <a:pt x="5218663" y="968546"/>
                  <a:pt x="5218973" y="968236"/>
                  <a:pt x="5219593" y="968236"/>
                </a:cubicBezTo>
                <a:cubicBezTo>
                  <a:pt x="5219593" y="968236"/>
                  <a:pt x="5219593" y="968236"/>
                  <a:pt x="5290948" y="968236"/>
                </a:cubicBezTo>
                <a:cubicBezTo>
                  <a:pt x="5292435" y="968236"/>
                  <a:pt x="5293179" y="967493"/>
                  <a:pt x="5293179" y="966005"/>
                </a:cubicBezTo>
                <a:cubicBezTo>
                  <a:pt x="5293303" y="958382"/>
                  <a:pt x="5293117" y="951565"/>
                  <a:pt x="5292497" y="945430"/>
                </a:cubicBezTo>
                <a:cubicBezTo>
                  <a:pt x="5290886" y="930803"/>
                  <a:pt x="5286298" y="919772"/>
                  <a:pt x="5278859" y="912211"/>
                </a:cubicBezTo>
                <a:cubicBezTo>
                  <a:pt x="5271419" y="904650"/>
                  <a:pt x="5260137" y="900931"/>
                  <a:pt x="5245073" y="900931"/>
                </a:cubicBezTo>
                <a:close/>
                <a:moveTo>
                  <a:pt x="5066310" y="900931"/>
                </a:moveTo>
                <a:cubicBezTo>
                  <a:pt x="5053771" y="900931"/>
                  <a:pt x="5044211" y="904901"/>
                  <a:pt x="5037630" y="912841"/>
                </a:cubicBezTo>
                <a:cubicBezTo>
                  <a:pt x="5037320" y="913089"/>
                  <a:pt x="5037072" y="913213"/>
                  <a:pt x="5036823" y="913027"/>
                </a:cubicBezTo>
                <a:cubicBezTo>
                  <a:pt x="5036637" y="912903"/>
                  <a:pt x="5036513" y="912655"/>
                  <a:pt x="5036513" y="912345"/>
                </a:cubicBezTo>
                <a:cubicBezTo>
                  <a:pt x="5036513" y="912345"/>
                  <a:pt x="5036513" y="912345"/>
                  <a:pt x="5036513" y="904777"/>
                </a:cubicBezTo>
                <a:cubicBezTo>
                  <a:pt x="5036513" y="903288"/>
                  <a:pt x="5035768" y="902544"/>
                  <a:pt x="5034278" y="902544"/>
                </a:cubicBezTo>
                <a:cubicBezTo>
                  <a:pt x="5034278" y="902544"/>
                  <a:pt x="5034278" y="902544"/>
                  <a:pt x="5017269" y="902544"/>
                </a:cubicBezTo>
                <a:cubicBezTo>
                  <a:pt x="5015717" y="902544"/>
                  <a:pt x="5014972" y="903288"/>
                  <a:pt x="5014972" y="904777"/>
                </a:cubicBezTo>
                <a:cubicBezTo>
                  <a:pt x="5014972" y="904777"/>
                  <a:pt x="5014972" y="904777"/>
                  <a:pt x="5014972" y="1014256"/>
                </a:cubicBezTo>
                <a:cubicBezTo>
                  <a:pt x="5014972" y="1015745"/>
                  <a:pt x="5015717" y="1016489"/>
                  <a:pt x="5017269" y="1016489"/>
                </a:cubicBezTo>
                <a:cubicBezTo>
                  <a:pt x="5017269" y="1016489"/>
                  <a:pt x="5017269" y="1016489"/>
                  <a:pt x="5034278" y="1016489"/>
                </a:cubicBezTo>
                <a:cubicBezTo>
                  <a:pt x="5035768" y="1016489"/>
                  <a:pt x="5036513" y="1015745"/>
                  <a:pt x="5036513" y="1014256"/>
                </a:cubicBezTo>
                <a:cubicBezTo>
                  <a:pt x="5036513" y="1014256"/>
                  <a:pt x="5036513" y="1014256"/>
                  <a:pt x="5036513" y="943483"/>
                </a:cubicBezTo>
                <a:cubicBezTo>
                  <a:pt x="5036513" y="936163"/>
                  <a:pt x="5038561" y="930333"/>
                  <a:pt x="5042659" y="926053"/>
                </a:cubicBezTo>
                <a:cubicBezTo>
                  <a:pt x="5046756" y="921711"/>
                  <a:pt x="5052281" y="919540"/>
                  <a:pt x="5059172" y="919540"/>
                </a:cubicBezTo>
                <a:cubicBezTo>
                  <a:pt x="5066000" y="919540"/>
                  <a:pt x="5071525" y="921711"/>
                  <a:pt x="5075622" y="926115"/>
                </a:cubicBezTo>
                <a:cubicBezTo>
                  <a:pt x="5079719" y="930519"/>
                  <a:pt x="5081768" y="936473"/>
                  <a:pt x="5081768" y="943917"/>
                </a:cubicBezTo>
                <a:cubicBezTo>
                  <a:pt x="5081768" y="943917"/>
                  <a:pt x="5081768" y="943917"/>
                  <a:pt x="5081768" y="1014256"/>
                </a:cubicBezTo>
                <a:cubicBezTo>
                  <a:pt x="5081768" y="1015745"/>
                  <a:pt x="5082513" y="1016489"/>
                  <a:pt x="5084003" y="1016489"/>
                </a:cubicBezTo>
                <a:cubicBezTo>
                  <a:pt x="5084003" y="1016489"/>
                  <a:pt x="5084003" y="1016489"/>
                  <a:pt x="5100826" y="1016489"/>
                </a:cubicBezTo>
                <a:cubicBezTo>
                  <a:pt x="5102316" y="1016489"/>
                  <a:pt x="5103061" y="1015745"/>
                  <a:pt x="5103061" y="1014256"/>
                </a:cubicBezTo>
                <a:cubicBezTo>
                  <a:pt x="5103061" y="1014256"/>
                  <a:pt x="5103061" y="1014256"/>
                  <a:pt x="5103061" y="943483"/>
                </a:cubicBezTo>
                <a:cubicBezTo>
                  <a:pt x="5103061" y="936163"/>
                  <a:pt x="5105233" y="930333"/>
                  <a:pt x="5109579" y="926053"/>
                </a:cubicBezTo>
                <a:cubicBezTo>
                  <a:pt x="5113924" y="921711"/>
                  <a:pt x="5119511" y="919540"/>
                  <a:pt x="5126340" y="919540"/>
                </a:cubicBezTo>
                <a:cubicBezTo>
                  <a:pt x="5133231" y="919540"/>
                  <a:pt x="5138755" y="921711"/>
                  <a:pt x="5142853" y="926115"/>
                </a:cubicBezTo>
                <a:cubicBezTo>
                  <a:pt x="5146950" y="930519"/>
                  <a:pt x="5148998" y="936473"/>
                  <a:pt x="5148998" y="943917"/>
                </a:cubicBezTo>
                <a:cubicBezTo>
                  <a:pt x="5148998" y="943917"/>
                  <a:pt x="5148998" y="943917"/>
                  <a:pt x="5148998" y="1014256"/>
                </a:cubicBezTo>
                <a:cubicBezTo>
                  <a:pt x="5148998" y="1015745"/>
                  <a:pt x="5149743" y="1016489"/>
                  <a:pt x="5151233" y="1016489"/>
                </a:cubicBezTo>
                <a:cubicBezTo>
                  <a:pt x="5151233" y="1016489"/>
                  <a:pt x="5151233" y="1016489"/>
                  <a:pt x="5168056" y="1016489"/>
                </a:cubicBezTo>
                <a:cubicBezTo>
                  <a:pt x="5169546" y="1016489"/>
                  <a:pt x="5170291" y="1015745"/>
                  <a:pt x="5170291" y="1014256"/>
                </a:cubicBezTo>
                <a:cubicBezTo>
                  <a:pt x="5170291" y="1014256"/>
                  <a:pt x="5170291" y="1014256"/>
                  <a:pt x="5170291" y="939451"/>
                </a:cubicBezTo>
                <a:cubicBezTo>
                  <a:pt x="5170291" y="927355"/>
                  <a:pt x="5167001" y="917927"/>
                  <a:pt x="5160421" y="911166"/>
                </a:cubicBezTo>
                <a:cubicBezTo>
                  <a:pt x="5153840" y="904343"/>
                  <a:pt x="5144901" y="900931"/>
                  <a:pt x="5133541" y="900931"/>
                </a:cubicBezTo>
                <a:cubicBezTo>
                  <a:pt x="5126340" y="900931"/>
                  <a:pt x="5119822" y="902358"/>
                  <a:pt x="5113924" y="905211"/>
                </a:cubicBezTo>
                <a:cubicBezTo>
                  <a:pt x="5108027" y="908003"/>
                  <a:pt x="5103309" y="912345"/>
                  <a:pt x="5099708" y="918175"/>
                </a:cubicBezTo>
                <a:cubicBezTo>
                  <a:pt x="5099274" y="918796"/>
                  <a:pt x="5098777" y="918796"/>
                  <a:pt x="5098343" y="918175"/>
                </a:cubicBezTo>
                <a:cubicBezTo>
                  <a:pt x="5095363" y="912531"/>
                  <a:pt x="5091204" y="908251"/>
                  <a:pt x="5085803" y="905336"/>
                </a:cubicBezTo>
                <a:cubicBezTo>
                  <a:pt x="5080402" y="902420"/>
                  <a:pt x="5073946" y="900931"/>
                  <a:pt x="5066310" y="900931"/>
                </a:cubicBezTo>
                <a:close/>
                <a:moveTo>
                  <a:pt x="4816215" y="900931"/>
                </a:moveTo>
                <a:cubicBezTo>
                  <a:pt x="4804704" y="900931"/>
                  <a:pt x="4794873" y="903906"/>
                  <a:pt x="4786784" y="909856"/>
                </a:cubicBezTo>
                <a:cubicBezTo>
                  <a:pt x="4778696" y="915806"/>
                  <a:pt x="4773282" y="923924"/>
                  <a:pt x="4770607" y="934274"/>
                </a:cubicBezTo>
                <a:cubicBezTo>
                  <a:pt x="4768989" y="939914"/>
                  <a:pt x="4768118" y="948218"/>
                  <a:pt x="4768118" y="959064"/>
                </a:cubicBezTo>
                <a:cubicBezTo>
                  <a:pt x="4768118" y="971583"/>
                  <a:pt x="4769922" y="982243"/>
                  <a:pt x="4773531" y="991043"/>
                </a:cubicBezTo>
                <a:cubicBezTo>
                  <a:pt x="4777265" y="999844"/>
                  <a:pt x="4782864" y="1006661"/>
                  <a:pt x="4790393" y="1011433"/>
                </a:cubicBezTo>
                <a:cubicBezTo>
                  <a:pt x="4797860" y="1016205"/>
                  <a:pt x="4807068" y="1018560"/>
                  <a:pt x="4818019" y="1018560"/>
                </a:cubicBezTo>
                <a:cubicBezTo>
                  <a:pt x="4827726" y="1018560"/>
                  <a:pt x="4836437" y="1016639"/>
                  <a:pt x="4844152" y="1012734"/>
                </a:cubicBezTo>
                <a:cubicBezTo>
                  <a:pt x="4851868" y="1008892"/>
                  <a:pt x="4857841" y="1003624"/>
                  <a:pt x="4862010" y="996869"/>
                </a:cubicBezTo>
                <a:cubicBezTo>
                  <a:pt x="4862632" y="995815"/>
                  <a:pt x="4862383" y="994885"/>
                  <a:pt x="4861325" y="993956"/>
                </a:cubicBezTo>
                <a:cubicBezTo>
                  <a:pt x="4861325" y="993956"/>
                  <a:pt x="4861325" y="993956"/>
                  <a:pt x="4848570" y="985465"/>
                </a:cubicBezTo>
                <a:cubicBezTo>
                  <a:pt x="4847326" y="984412"/>
                  <a:pt x="4846392" y="984660"/>
                  <a:pt x="4845646" y="986147"/>
                </a:cubicBezTo>
                <a:cubicBezTo>
                  <a:pt x="4839672" y="995257"/>
                  <a:pt x="4831086" y="999782"/>
                  <a:pt x="4820011" y="999782"/>
                </a:cubicBezTo>
                <a:cubicBezTo>
                  <a:pt x="4812419" y="999782"/>
                  <a:pt x="4806073" y="998108"/>
                  <a:pt x="4801033" y="994762"/>
                </a:cubicBezTo>
                <a:cubicBezTo>
                  <a:pt x="4796055" y="991415"/>
                  <a:pt x="4792695" y="986767"/>
                  <a:pt x="4791078" y="980755"/>
                </a:cubicBezTo>
                <a:cubicBezTo>
                  <a:pt x="4790144" y="978090"/>
                  <a:pt x="4789709" y="974186"/>
                  <a:pt x="4789709" y="969166"/>
                </a:cubicBezTo>
                <a:cubicBezTo>
                  <a:pt x="4789709" y="968546"/>
                  <a:pt x="4790020" y="968236"/>
                  <a:pt x="4790580" y="968236"/>
                </a:cubicBezTo>
                <a:cubicBezTo>
                  <a:pt x="4790580" y="968236"/>
                  <a:pt x="4790580" y="968236"/>
                  <a:pt x="4862259" y="968236"/>
                </a:cubicBezTo>
                <a:cubicBezTo>
                  <a:pt x="4863752" y="968236"/>
                  <a:pt x="4864499" y="967493"/>
                  <a:pt x="4864499" y="966005"/>
                </a:cubicBezTo>
                <a:cubicBezTo>
                  <a:pt x="4864623" y="958382"/>
                  <a:pt x="4864436" y="951565"/>
                  <a:pt x="4863814" y="945430"/>
                </a:cubicBezTo>
                <a:cubicBezTo>
                  <a:pt x="4862197" y="930803"/>
                  <a:pt x="4857592" y="919772"/>
                  <a:pt x="4850126" y="912211"/>
                </a:cubicBezTo>
                <a:cubicBezTo>
                  <a:pt x="4842659" y="904650"/>
                  <a:pt x="4831335" y="900931"/>
                  <a:pt x="4816215" y="900931"/>
                </a:cubicBezTo>
                <a:close/>
                <a:moveTo>
                  <a:pt x="4700950" y="900931"/>
                </a:moveTo>
                <a:cubicBezTo>
                  <a:pt x="4688418" y="900931"/>
                  <a:pt x="4678925" y="905025"/>
                  <a:pt x="4672473" y="913275"/>
                </a:cubicBezTo>
                <a:cubicBezTo>
                  <a:pt x="4672349" y="913585"/>
                  <a:pt x="4672162" y="913647"/>
                  <a:pt x="4671976" y="913461"/>
                </a:cubicBezTo>
                <a:cubicBezTo>
                  <a:pt x="4671728" y="913337"/>
                  <a:pt x="4671604" y="913089"/>
                  <a:pt x="4671604" y="912841"/>
                </a:cubicBezTo>
                <a:cubicBezTo>
                  <a:pt x="4671604" y="912841"/>
                  <a:pt x="4671604" y="912841"/>
                  <a:pt x="4671604" y="904777"/>
                </a:cubicBezTo>
                <a:cubicBezTo>
                  <a:pt x="4671604" y="903288"/>
                  <a:pt x="4670860" y="902544"/>
                  <a:pt x="4669371" y="902544"/>
                </a:cubicBezTo>
                <a:cubicBezTo>
                  <a:pt x="4669371" y="902544"/>
                  <a:pt x="4669371" y="902544"/>
                  <a:pt x="4652371" y="902544"/>
                </a:cubicBezTo>
                <a:cubicBezTo>
                  <a:pt x="4650882" y="902544"/>
                  <a:pt x="4650075" y="903288"/>
                  <a:pt x="4650075" y="904777"/>
                </a:cubicBezTo>
                <a:cubicBezTo>
                  <a:pt x="4650075" y="904777"/>
                  <a:pt x="4650075" y="904777"/>
                  <a:pt x="4650075" y="1014256"/>
                </a:cubicBezTo>
                <a:cubicBezTo>
                  <a:pt x="4650075" y="1015745"/>
                  <a:pt x="4650882" y="1016489"/>
                  <a:pt x="4652371" y="1016489"/>
                </a:cubicBezTo>
                <a:cubicBezTo>
                  <a:pt x="4652371" y="1016489"/>
                  <a:pt x="4652371" y="1016489"/>
                  <a:pt x="4669371" y="1016489"/>
                </a:cubicBezTo>
                <a:cubicBezTo>
                  <a:pt x="4670860" y="1016489"/>
                  <a:pt x="4671604" y="1015745"/>
                  <a:pt x="4671604" y="1014256"/>
                </a:cubicBezTo>
                <a:cubicBezTo>
                  <a:pt x="4671604" y="1014256"/>
                  <a:pt x="4671604" y="1014256"/>
                  <a:pt x="4671604" y="944413"/>
                </a:cubicBezTo>
                <a:cubicBezTo>
                  <a:pt x="4671604" y="937094"/>
                  <a:pt x="4673838" y="931077"/>
                  <a:pt x="4678305" y="926487"/>
                </a:cubicBezTo>
                <a:cubicBezTo>
                  <a:pt x="4682834" y="921835"/>
                  <a:pt x="4688542" y="919540"/>
                  <a:pt x="4695553" y="919540"/>
                </a:cubicBezTo>
                <a:cubicBezTo>
                  <a:pt x="4702749" y="919540"/>
                  <a:pt x="4708457" y="921835"/>
                  <a:pt x="4712801" y="926487"/>
                </a:cubicBezTo>
                <a:cubicBezTo>
                  <a:pt x="4717143" y="931077"/>
                  <a:pt x="4719315" y="937156"/>
                  <a:pt x="4719315" y="944599"/>
                </a:cubicBezTo>
                <a:cubicBezTo>
                  <a:pt x="4719315" y="944599"/>
                  <a:pt x="4719315" y="944599"/>
                  <a:pt x="4719315" y="1014256"/>
                </a:cubicBezTo>
                <a:cubicBezTo>
                  <a:pt x="4719315" y="1015745"/>
                  <a:pt x="4720060" y="1016489"/>
                  <a:pt x="4721549" y="1016489"/>
                </a:cubicBezTo>
                <a:cubicBezTo>
                  <a:pt x="4721549" y="1016489"/>
                  <a:pt x="4721549" y="1016489"/>
                  <a:pt x="4738548" y="1016489"/>
                </a:cubicBezTo>
                <a:cubicBezTo>
                  <a:pt x="4740037" y="1016489"/>
                  <a:pt x="4740782" y="1015745"/>
                  <a:pt x="4740782" y="1014256"/>
                </a:cubicBezTo>
                <a:cubicBezTo>
                  <a:pt x="4740782" y="1014256"/>
                  <a:pt x="4740782" y="1014256"/>
                  <a:pt x="4740782" y="940381"/>
                </a:cubicBezTo>
                <a:cubicBezTo>
                  <a:pt x="4740782" y="928286"/>
                  <a:pt x="4737245" y="918671"/>
                  <a:pt x="4730048" y="911600"/>
                </a:cubicBezTo>
                <a:cubicBezTo>
                  <a:pt x="4722913" y="904467"/>
                  <a:pt x="4713173" y="900931"/>
                  <a:pt x="4700950" y="900931"/>
                </a:cubicBezTo>
                <a:close/>
                <a:moveTo>
                  <a:pt x="4489600" y="900931"/>
                </a:moveTo>
                <a:cubicBezTo>
                  <a:pt x="4478131" y="900931"/>
                  <a:pt x="4468336" y="903906"/>
                  <a:pt x="4460277" y="909856"/>
                </a:cubicBezTo>
                <a:cubicBezTo>
                  <a:pt x="4452217" y="915806"/>
                  <a:pt x="4446886" y="923924"/>
                  <a:pt x="4444158" y="934274"/>
                </a:cubicBezTo>
                <a:cubicBezTo>
                  <a:pt x="4442546" y="939914"/>
                  <a:pt x="4441740" y="948218"/>
                  <a:pt x="4441740" y="959064"/>
                </a:cubicBezTo>
                <a:cubicBezTo>
                  <a:pt x="4441740" y="971583"/>
                  <a:pt x="4443476" y="982243"/>
                  <a:pt x="4447071" y="991043"/>
                </a:cubicBezTo>
                <a:cubicBezTo>
                  <a:pt x="4450791" y="999844"/>
                  <a:pt x="4456371" y="1006661"/>
                  <a:pt x="4463872" y="1011433"/>
                </a:cubicBezTo>
                <a:cubicBezTo>
                  <a:pt x="4471311" y="1016205"/>
                  <a:pt x="4480486" y="1018560"/>
                  <a:pt x="4491397" y="1018560"/>
                </a:cubicBezTo>
                <a:cubicBezTo>
                  <a:pt x="4501069" y="1018560"/>
                  <a:pt x="4509748" y="1016639"/>
                  <a:pt x="4517435" y="1012734"/>
                </a:cubicBezTo>
                <a:cubicBezTo>
                  <a:pt x="4525122" y="1008892"/>
                  <a:pt x="4531074" y="1003624"/>
                  <a:pt x="4535227" y="996869"/>
                </a:cubicBezTo>
                <a:cubicBezTo>
                  <a:pt x="4535847" y="995815"/>
                  <a:pt x="4535599" y="994885"/>
                  <a:pt x="4534545" y="993956"/>
                </a:cubicBezTo>
                <a:cubicBezTo>
                  <a:pt x="4534545" y="993956"/>
                  <a:pt x="4534545" y="993956"/>
                  <a:pt x="4521837" y="985465"/>
                </a:cubicBezTo>
                <a:cubicBezTo>
                  <a:pt x="4520597" y="984412"/>
                  <a:pt x="4519667" y="984660"/>
                  <a:pt x="4518923" y="986147"/>
                </a:cubicBezTo>
                <a:cubicBezTo>
                  <a:pt x="4512971" y="995257"/>
                  <a:pt x="4504416" y="999782"/>
                  <a:pt x="4493382" y="999782"/>
                </a:cubicBezTo>
                <a:cubicBezTo>
                  <a:pt x="4485818" y="999782"/>
                  <a:pt x="4479494" y="998108"/>
                  <a:pt x="4474473" y="994762"/>
                </a:cubicBezTo>
                <a:cubicBezTo>
                  <a:pt x="4469513" y="991415"/>
                  <a:pt x="4466166" y="986767"/>
                  <a:pt x="4464554" y="980755"/>
                </a:cubicBezTo>
                <a:cubicBezTo>
                  <a:pt x="4463624" y="978090"/>
                  <a:pt x="4463190" y="974186"/>
                  <a:pt x="4463190" y="969166"/>
                </a:cubicBezTo>
                <a:cubicBezTo>
                  <a:pt x="4463190" y="968546"/>
                  <a:pt x="4463500" y="968236"/>
                  <a:pt x="4464058" y="968236"/>
                </a:cubicBezTo>
                <a:cubicBezTo>
                  <a:pt x="4464058" y="968236"/>
                  <a:pt x="4464058" y="968236"/>
                  <a:pt x="4535475" y="968236"/>
                </a:cubicBezTo>
                <a:cubicBezTo>
                  <a:pt x="4536963" y="968236"/>
                  <a:pt x="4537707" y="967493"/>
                  <a:pt x="4537707" y="966005"/>
                </a:cubicBezTo>
                <a:cubicBezTo>
                  <a:pt x="4537831" y="958382"/>
                  <a:pt x="4537645" y="951565"/>
                  <a:pt x="4537025" y="945430"/>
                </a:cubicBezTo>
                <a:cubicBezTo>
                  <a:pt x="4535413" y="930803"/>
                  <a:pt x="4530826" y="919772"/>
                  <a:pt x="4523387" y="912211"/>
                </a:cubicBezTo>
                <a:cubicBezTo>
                  <a:pt x="4515947" y="904650"/>
                  <a:pt x="4504664" y="900931"/>
                  <a:pt x="4489600" y="900931"/>
                </a:cubicBezTo>
                <a:close/>
                <a:moveTo>
                  <a:pt x="4291736" y="900931"/>
                </a:moveTo>
                <a:cubicBezTo>
                  <a:pt x="4279203" y="900931"/>
                  <a:pt x="4269710" y="905025"/>
                  <a:pt x="4263258" y="913275"/>
                </a:cubicBezTo>
                <a:cubicBezTo>
                  <a:pt x="4263134" y="913585"/>
                  <a:pt x="4262948" y="913647"/>
                  <a:pt x="4262700" y="913461"/>
                </a:cubicBezTo>
                <a:cubicBezTo>
                  <a:pt x="4262452" y="913337"/>
                  <a:pt x="4262389" y="913089"/>
                  <a:pt x="4262389" y="912841"/>
                </a:cubicBezTo>
                <a:cubicBezTo>
                  <a:pt x="4262389" y="912841"/>
                  <a:pt x="4262389" y="912841"/>
                  <a:pt x="4262389" y="904777"/>
                </a:cubicBezTo>
                <a:cubicBezTo>
                  <a:pt x="4262389" y="903288"/>
                  <a:pt x="4261645" y="902544"/>
                  <a:pt x="4260156" y="902544"/>
                </a:cubicBezTo>
                <a:cubicBezTo>
                  <a:pt x="4260156" y="902544"/>
                  <a:pt x="4260156" y="902544"/>
                  <a:pt x="4243094" y="902544"/>
                </a:cubicBezTo>
                <a:cubicBezTo>
                  <a:pt x="4241605" y="902544"/>
                  <a:pt x="4240861" y="903288"/>
                  <a:pt x="4240861" y="904777"/>
                </a:cubicBezTo>
                <a:cubicBezTo>
                  <a:pt x="4240861" y="904777"/>
                  <a:pt x="4240861" y="904777"/>
                  <a:pt x="4240861" y="1014256"/>
                </a:cubicBezTo>
                <a:cubicBezTo>
                  <a:pt x="4240861" y="1015745"/>
                  <a:pt x="4241605" y="1016489"/>
                  <a:pt x="4243094" y="1016489"/>
                </a:cubicBezTo>
                <a:cubicBezTo>
                  <a:pt x="4243094" y="1016489"/>
                  <a:pt x="4243094" y="1016489"/>
                  <a:pt x="4260156" y="1016489"/>
                </a:cubicBezTo>
                <a:cubicBezTo>
                  <a:pt x="4261645" y="1016489"/>
                  <a:pt x="4262389" y="1015745"/>
                  <a:pt x="4262389" y="1014256"/>
                </a:cubicBezTo>
                <a:cubicBezTo>
                  <a:pt x="4262389" y="1014256"/>
                  <a:pt x="4262389" y="1014256"/>
                  <a:pt x="4262389" y="944413"/>
                </a:cubicBezTo>
                <a:cubicBezTo>
                  <a:pt x="4262389" y="937094"/>
                  <a:pt x="4264623" y="931077"/>
                  <a:pt x="4269090" y="926487"/>
                </a:cubicBezTo>
                <a:cubicBezTo>
                  <a:pt x="4273557" y="921835"/>
                  <a:pt x="4279327" y="919540"/>
                  <a:pt x="4286338" y="919540"/>
                </a:cubicBezTo>
                <a:cubicBezTo>
                  <a:pt x="4293535" y="919540"/>
                  <a:pt x="4299243" y="921835"/>
                  <a:pt x="4303586" y="926487"/>
                </a:cubicBezTo>
                <a:cubicBezTo>
                  <a:pt x="4307929" y="931077"/>
                  <a:pt x="4310100" y="937156"/>
                  <a:pt x="4310100" y="944599"/>
                </a:cubicBezTo>
                <a:cubicBezTo>
                  <a:pt x="4310100" y="944599"/>
                  <a:pt x="4310100" y="944599"/>
                  <a:pt x="4310100" y="1014256"/>
                </a:cubicBezTo>
                <a:cubicBezTo>
                  <a:pt x="4310100" y="1015745"/>
                  <a:pt x="4310845" y="1016489"/>
                  <a:pt x="4312334" y="1016489"/>
                </a:cubicBezTo>
                <a:cubicBezTo>
                  <a:pt x="4312334" y="1016489"/>
                  <a:pt x="4312334" y="1016489"/>
                  <a:pt x="4329334" y="1016489"/>
                </a:cubicBezTo>
                <a:cubicBezTo>
                  <a:pt x="4330822" y="1016489"/>
                  <a:pt x="4331567" y="1015745"/>
                  <a:pt x="4331567" y="1014256"/>
                </a:cubicBezTo>
                <a:cubicBezTo>
                  <a:pt x="4331567" y="1014256"/>
                  <a:pt x="4331567" y="1014256"/>
                  <a:pt x="4331567" y="940381"/>
                </a:cubicBezTo>
                <a:cubicBezTo>
                  <a:pt x="4331567" y="928286"/>
                  <a:pt x="4327969" y="918671"/>
                  <a:pt x="4320834" y="911600"/>
                </a:cubicBezTo>
                <a:cubicBezTo>
                  <a:pt x="4313637" y="904467"/>
                  <a:pt x="4303958" y="900931"/>
                  <a:pt x="4291736" y="900931"/>
                </a:cubicBezTo>
                <a:close/>
                <a:moveTo>
                  <a:pt x="4373883" y="872767"/>
                </a:moveTo>
                <a:cubicBezTo>
                  <a:pt x="4372389" y="872767"/>
                  <a:pt x="4371641" y="873512"/>
                  <a:pt x="4371641" y="875003"/>
                </a:cubicBezTo>
                <a:cubicBezTo>
                  <a:pt x="4371641" y="875003"/>
                  <a:pt x="4371641" y="875003"/>
                  <a:pt x="4371641" y="901458"/>
                </a:cubicBezTo>
                <a:cubicBezTo>
                  <a:pt x="4371641" y="902079"/>
                  <a:pt x="4371330" y="902327"/>
                  <a:pt x="4370769" y="902327"/>
                </a:cubicBezTo>
                <a:cubicBezTo>
                  <a:pt x="4370769" y="902327"/>
                  <a:pt x="4370769" y="902327"/>
                  <a:pt x="4357066" y="902327"/>
                </a:cubicBezTo>
                <a:cubicBezTo>
                  <a:pt x="4355571" y="902327"/>
                  <a:pt x="4354761" y="903134"/>
                  <a:pt x="4354761" y="904625"/>
                </a:cubicBezTo>
                <a:cubicBezTo>
                  <a:pt x="4354761" y="904625"/>
                  <a:pt x="4354761" y="904625"/>
                  <a:pt x="4354761" y="917852"/>
                </a:cubicBezTo>
                <a:cubicBezTo>
                  <a:pt x="4354761" y="919343"/>
                  <a:pt x="4355571" y="920088"/>
                  <a:pt x="4357066" y="920088"/>
                </a:cubicBezTo>
                <a:cubicBezTo>
                  <a:pt x="4357066" y="920088"/>
                  <a:pt x="4357066" y="920088"/>
                  <a:pt x="4370769" y="920088"/>
                </a:cubicBezTo>
                <a:cubicBezTo>
                  <a:pt x="4371330" y="920088"/>
                  <a:pt x="4371641" y="920398"/>
                  <a:pt x="4371641" y="920957"/>
                </a:cubicBezTo>
                <a:cubicBezTo>
                  <a:pt x="4371641" y="920957"/>
                  <a:pt x="4371641" y="920957"/>
                  <a:pt x="4371641" y="987964"/>
                </a:cubicBezTo>
                <a:cubicBezTo>
                  <a:pt x="4371641" y="999080"/>
                  <a:pt x="4374568" y="1006657"/>
                  <a:pt x="4380299" y="1010755"/>
                </a:cubicBezTo>
                <a:cubicBezTo>
                  <a:pt x="4386091" y="1014854"/>
                  <a:pt x="4394687" y="1016903"/>
                  <a:pt x="4406085" y="1016903"/>
                </a:cubicBezTo>
                <a:cubicBezTo>
                  <a:pt x="4408141" y="1016903"/>
                  <a:pt x="4411629" y="1016779"/>
                  <a:pt x="4416425" y="1016468"/>
                </a:cubicBezTo>
                <a:cubicBezTo>
                  <a:pt x="4417920" y="1016468"/>
                  <a:pt x="4418667" y="1015723"/>
                  <a:pt x="4418667" y="1014233"/>
                </a:cubicBezTo>
                <a:cubicBezTo>
                  <a:pt x="4418667" y="1014233"/>
                  <a:pt x="4418667" y="1014233"/>
                  <a:pt x="4418667" y="1000322"/>
                </a:cubicBezTo>
                <a:cubicBezTo>
                  <a:pt x="4418667" y="998832"/>
                  <a:pt x="4417920" y="998087"/>
                  <a:pt x="4416425" y="998087"/>
                </a:cubicBezTo>
                <a:cubicBezTo>
                  <a:pt x="4416425" y="998087"/>
                  <a:pt x="4416425" y="998087"/>
                  <a:pt x="4409885" y="998087"/>
                </a:cubicBezTo>
                <a:cubicBezTo>
                  <a:pt x="4403905" y="998087"/>
                  <a:pt x="4399483" y="996720"/>
                  <a:pt x="4396618" y="993926"/>
                </a:cubicBezTo>
                <a:cubicBezTo>
                  <a:pt x="4393753" y="991193"/>
                  <a:pt x="4392320" y="986660"/>
                  <a:pt x="4392320" y="980388"/>
                </a:cubicBezTo>
                <a:cubicBezTo>
                  <a:pt x="4392320" y="980388"/>
                  <a:pt x="4392320" y="980388"/>
                  <a:pt x="4392320" y="920957"/>
                </a:cubicBezTo>
                <a:cubicBezTo>
                  <a:pt x="4392320" y="920398"/>
                  <a:pt x="4392632" y="920088"/>
                  <a:pt x="4393255" y="920088"/>
                </a:cubicBezTo>
                <a:cubicBezTo>
                  <a:pt x="4393255" y="920088"/>
                  <a:pt x="4393255" y="920088"/>
                  <a:pt x="4417546" y="920088"/>
                </a:cubicBezTo>
                <a:cubicBezTo>
                  <a:pt x="4419041" y="920088"/>
                  <a:pt x="4419789" y="919343"/>
                  <a:pt x="4419789" y="917852"/>
                </a:cubicBezTo>
                <a:cubicBezTo>
                  <a:pt x="4419789" y="917852"/>
                  <a:pt x="4419789" y="917852"/>
                  <a:pt x="4419789" y="904625"/>
                </a:cubicBezTo>
                <a:cubicBezTo>
                  <a:pt x="4419789" y="903134"/>
                  <a:pt x="4419041" y="902327"/>
                  <a:pt x="4417546" y="902327"/>
                </a:cubicBezTo>
                <a:cubicBezTo>
                  <a:pt x="4417546" y="902327"/>
                  <a:pt x="4417546" y="902327"/>
                  <a:pt x="4393255" y="902327"/>
                </a:cubicBezTo>
                <a:cubicBezTo>
                  <a:pt x="4392632" y="902327"/>
                  <a:pt x="4392320" y="902079"/>
                  <a:pt x="4392320" y="901458"/>
                </a:cubicBezTo>
                <a:cubicBezTo>
                  <a:pt x="4392320" y="901458"/>
                  <a:pt x="4392320" y="901458"/>
                  <a:pt x="4392320" y="875003"/>
                </a:cubicBezTo>
                <a:cubicBezTo>
                  <a:pt x="4392320" y="873512"/>
                  <a:pt x="4391573" y="872767"/>
                  <a:pt x="4390078" y="872767"/>
                </a:cubicBezTo>
                <a:cubicBezTo>
                  <a:pt x="4390078" y="872767"/>
                  <a:pt x="4390078" y="872767"/>
                  <a:pt x="4373883" y="872767"/>
                </a:cubicBezTo>
                <a:close/>
                <a:moveTo>
                  <a:pt x="4895021" y="859927"/>
                </a:moveTo>
                <a:cubicBezTo>
                  <a:pt x="4893532" y="859927"/>
                  <a:pt x="4892787" y="860670"/>
                  <a:pt x="4892787" y="862157"/>
                </a:cubicBezTo>
                <a:cubicBezTo>
                  <a:pt x="4892787" y="862157"/>
                  <a:pt x="4892787" y="862157"/>
                  <a:pt x="4892787" y="1014258"/>
                </a:cubicBezTo>
                <a:cubicBezTo>
                  <a:pt x="4892787" y="1015746"/>
                  <a:pt x="4893532" y="1016489"/>
                  <a:pt x="4895021" y="1016489"/>
                </a:cubicBezTo>
                <a:cubicBezTo>
                  <a:pt x="4895021" y="1016489"/>
                  <a:pt x="4895021" y="1016489"/>
                  <a:pt x="4912021" y="1016489"/>
                </a:cubicBezTo>
                <a:cubicBezTo>
                  <a:pt x="4913509" y="1016489"/>
                  <a:pt x="4914254" y="1015746"/>
                  <a:pt x="4914254" y="1014258"/>
                </a:cubicBezTo>
                <a:cubicBezTo>
                  <a:pt x="4914254" y="1014258"/>
                  <a:pt x="4914254" y="1014258"/>
                  <a:pt x="4914254" y="944496"/>
                </a:cubicBezTo>
                <a:cubicBezTo>
                  <a:pt x="4914254" y="937186"/>
                  <a:pt x="4916550" y="931176"/>
                  <a:pt x="4921017" y="926591"/>
                </a:cubicBezTo>
                <a:cubicBezTo>
                  <a:pt x="4925484" y="921945"/>
                  <a:pt x="4931254" y="919652"/>
                  <a:pt x="4938265" y="919652"/>
                </a:cubicBezTo>
                <a:cubicBezTo>
                  <a:pt x="4945399" y="919652"/>
                  <a:pt x="4951170" y="921945"/>
                  <a:pt x="4955513" y="926591"/>
                </a:cubicBezTo>
                <a:cubicBezTo>
                  <a:pt x="4959794" y="931176"/>
                  <a:pt x="4961965" y="937248"/>
                  <a:pt x="4961965" y="944682"/>
                </a:cubicBezTo>
                <a:cubicBezTo>
                  <a:pt x="4961965" y="944682"/>
                  <a:pt x="4961965" y="944682"/>
                  <a:pt x="4961965" y="1014258"/>
                </a:cubicBezTo>
                <a:cubicBezTo>
                  <a:pt x="4961965" y="1015746"/>
                  <a:pt x="4962709" y="1016489"/>
                  <a:pt x="4964199" y="1016489"/>
                </a:cubicBezTo>
                <a:cubicBezTo>
                  <a:pt x="4964199" y="1016489"/>
                  <a:pt x="4964199" y="1016489"/>
                  <a:pt x="4981260" y="1016489"/>
                </a:cubicBezTo>
                <a:cubicBezTo>
                  <a:pt x="4982749" y="1016489"/>
                  <a:pt x="4983494" y="1015746"/>
                  <a:pt x="4983494" y="1014258"/>
                </a:cubicBezTo>
                <a:cubicBezTo>
                  <a:pt x="4983494" y="1014258"/>
                  <a:pt x="4983494" y="1014258"/>
                  <a:pt x="4983494" y="940469"/>
                </a:cubicBezTo>
                <a:cubicBezTo>
                  <a:pt x="4983494" y="928388"/>
                  <a:pt x="4979895" y="918785"/>
                  <a:pt x="4972761" y="911722"/>
                </a:cubicBezTo>
                <a:cubicBezTo>
                  <a:pt x="4965563" y="904597"/>
                  <a:pt x="4955885" y="901066"/>
                  <a:pt x="4943600" y="901066"/>
                </a:cubicBezTo>
                <a:cubicBezTo>
                  <a:pt x="4931068" y="901066"/>
                  <a:pt x="4921575" y="905155"/>
                  <a:pt x="4915185" y="913395"/>
                </a:cubicBezTo>
                <a:cubicBezTo>
                  <a:pt x="4914999" y="913705"/>
                  <a:pt x="4914813" y="913767"/>
                  <a:pt x="4914626" y="913581"/>
                </a:cubicBezTo>
                <a:cubicBezTo>
                  <a:pt x="4914378" y="913457"/>
                  <a:pt x="4914254" y="913209"/>
                  <a:pt x="4914254" y="912961"/>
                </a:cubicBezTo>
                <a:cubicBezTo>
                  <a:pt x="4914254" y="912961"/>
                  <a:pt x="4914254" y="912961"/>
                  <a:pt x="4914254" y="862157"/>
                </a:cubicBezTo>
                <a:cubicBezTo>
                  <a:pt x="4914254" y="860670"/>
                  <a:pt x="4913509" y="859927"/>
                  <a:pt x="4912021" y="859927"/>
                </a:cubicBezTo>
                <a:cubicBezTo>
                  <a:pt x="4912021" y="859927"/>
                  <a:pt x="4912021" y="859927"/>
                  <a:pt x="4895021" y="859927"/>
                </a:cubicBezTo>
                <a:close/>
                <a:moveTo>
                  <a:pt x="6159363" y="855785"/>
                </a:moveTo>
                <a:cubicBezTo>
                  <a:pt x="6155159" y="855785"/>
                  <a:pt x="6151707" y="857103"/>
                  <a:pt x="6148946" y="859864"/>
                </a:cubicBezTo>
                <a:cubicBezTo>
                  <a:pt x="6146248" y="862563"/>
                  <a:pt x="6144867" y="866014"/>
                  <a:pt x="6144867" y="870281"/>
                </a:cubicBezTo>
                <a:cubicBezTo>
                  <a:pt x="6144867" y="874486"/>
                  <a:pt x="6146248" y="877938"/>
                  <a:pt x="6148946" y="880699"/>
                </a:cubicBezTo>
                <a:cubicBezTo>
                  <a:pt x="6151707" y="883397"/>
                  <a:pt x="6155159" y="884778"/>
                  <a:pt x="6159363" y="884778"/>
                </a:cubicBezTo>
                <a:cubicBezTo>
                  <a:pt x="6163631" y="884778"/>
                  <a:pt x="6167082" y="883397"/>
                  <a:pt x="6169843" y="880699"/>
                </a:cubicBezTo>
                <a:cubicBezTo>
                  <a:pt x="6172542" y="877938"/>
                  <a:pt x="6173860" y="874486"/>
                  <a:pt x="6173860" y="870281"/>
                </a:cubicBezTo>
                <a:cubicBezTo>
                  <a:pt x="6173860" y="866014"/>
                  <a:pt x="6172542" y="862563"/>
                  <a:pt x="6169843" y="859864"/>
                </a:cubicBezTo>
                <a:cubicBezTo>
                  <a:pt x="6167082" y="857103"/>
                  <a:pt x="6163631" y="855785"/>
                  <a:pt x="6159363" y="855785"/>
                </a:cubicBezTo>
                <a:close/>
                <a:moveTo>
                  <a:pt x="3349368" y="543490"/>
                </a:moveTo>
                <a:cubicBezTo>
                  <a:pt x="3349368" y="543490"/>
                  <a:pt x="3349368" y="543490"/>
                  <a:pt x="3406786" y="543490"/>
                </a:cubicBezTo>
                <a:cubicBezTo>
                  <a:pt x="3411673" y="543490"/>
                  <a:pt x="3414148" y="545725"/>
                  <a:pt x="3414148" y="550258"/>
                </a:cubicBezTo>
                <a:cubicBezTo>
                  <a:pt x="3414148" y="550258"/>
                  <a:pt x="3414148" y="550258"/>
                  <a:pt x="3414148" y="696849"/>
                </a:cubicBezTo>
                <a:cubicBezTo>
                  <a:pt x="3414148" y="702499"/>
                  <a:pt x="3409508" y="707093"/>
                  <a:pt x="3403816" y="706969"/>
                </a:cubicBezTo>
                <a:cubicBezTo>
                  <a:pt x="3392122" y="706783"/>
                  <a:pt x="3395030" y="706597"/>
                  <a:pt x="3371952" y="706597"/>
                </a:cubicBezTo>
                <a:cubicBezTo>
                  <a:pt x="3371952" y="706597"/>
                  <a:pt x="3371952" y="706597"/>
                  <a:pt x="3349368" y="706597"/>
                </a:cubicBezTo>
                <a:cubicBezTo>
                  <a:pt x="3336313" y="706597"/>
                  <a:pt x="3327156" y="703927"/>
                  <a:pt x="3321897" y="698587"/>
                </a:cubicBezTo>
                <a:cubicBezTo>
                  <a:pt x="3316576" y="693310"/>
                  <a:pt x="3313916" y="684121"/>
                  <a:pt x="3313916" y="671020"/>
                </a:cubicBezTo>
                <a:cubicBezTo>
                  <a:pt x="3313916" y="671020"/>
                  <a:pt x="3313916" y="671020"/>
                  <a:pt x="3313916" y="579688"/>
                </a:cubicBezTo>
                <a:cubicBezTo>
                  <a:pt x="3313916" y="566587"/>
                  <a:pt x="3316576" y="557274"/>
                  <a:pt x="3321897" y="551748"/>
                </a:cubicBezTo>
                <a:cubicBezTo>
                  <a:pt x="3327156" y="546284"/>
                  <a:pt x="3336313" y="543490"/>
                  <a:pt x="3349368" y="543490"/>
                </a:cubicBezTo>
                <a:close/>
                <a:moveTo>
                  <a:pt x="4771779" y="516982"/>
                </a:moveTo>
                <a:cubicBezTo>
                  <a:pt x="4771779" y="516982"/>
                  <a:pt x="4771779" y="516982"/>
                  <a:pt x="4814573" y="516982"/>
                </a:cubicBezTo>
                <a:cubicBezTo>
                  <a:pt x="4848748" y="516982"/>
                  <a:pt x="4865865" y="534493"/>
                  <a:pt x="4865865" y="569515"/>
                </a:cubicBezTo>
                <a:cubicBezTo>
                  <a:pt x="4865865" y="569515"/>
                  <a:pt x="4865865" y="569515"/>
                  <a:pt x="4865865" y="697989"/>
                </a:cubicBezTo>
                <a:cubicBezTo>
                  <a:pt x="4865865" y="733072"/>
                  <a:pt x="4848748" y="750583"/>
                  <a:pt x="4814573" y="750583"/>
                </a:cubicBezTo>
                <a:cubicBezTo>
                  <a:pt x="4814573" y="750583"/>
                  <a:pt x="4814573" y="750583"/>
                  <a:pt x="4771779" y="750583"/>
                </a:cubicBezTo>
                <a:cubicBezTo>
                  <a:pt x="4737605" y="750583"/>
                  <a:pt x="4720487" y="733072"/>
                  <a:pt x="4720487" y="697989"/>
                </a:cubicBezTo>
                <a:cubicBezTo>
                  <a:pt x="4720487" y="697989"/>
                  <a:pt x="4720487" y="697989"/>
                  <a:pt x="4720487" y="569515"/>
                </a:cubicBezTo>
                <a:cubicBezTo>
                  <a:pt x="4720487" y="534493"/>
                  <a:pt x="4737605" y="516982"/>
                  <a:pt x="4771779" y="516982"/>
                </a:cubicBezTo>
                <a:close/>
                <a:moveTo>
                  <a:pt x="5681233" y="516568"/>
                </a:moveTo>
                <a:cubicBezTo>
                  <a:pt x="5681233" y="516568"/>
                  <a:pt x="5681233" y="516568"/>
                  <a:pt x="5766845" y="516568"/>
                </a:cubicBezTo>
                <a:cubicBezTo>
                  <a:pt x="5770943" y="516568"/>
                  <a:pt x="5772929" y="518434"/>
                  <a:pt x="5772929" y="522103"/>
                </a:cubicBezTo>
                <a:cubicBezTo>
                  <a:pt x="5772929" y="522103"/>
                  <a:pt x="5772929" y="522103"/>
                  <a:pt x="5772929" y="694240"/>
                </a:cubicBezTo>
                <a:cubicBezTo>
                  <a:pt x="5772929" y="712213"/>
                  <a:pt x="5768087" y="726081"/>
                  <a:pt x="5758278" y="735907"/>
                </a:cubicBezTo>
                <a:cubicBezTo>
                  <a:pt x="5748469" y="745670"/>
                  <a:pt x="5734438" y="750583"/>
                  <a:pt x="5716062" y="750583"/>
                </a:cubicBezTo>
                <a:cubicBezTo>
                  <a:pt x="5716062" y="750583"/>
                  <a:pt x="5716062" y="750583"/>
                  <a:pt x="5681233" y="750583"/>
                </a:cubicBezTo>
                <a:cubicBezTo>
                  <a:pt x="5647399" y="750583"/>
                  <a:pt x="5630450" y="732797"/>
                  <a:pt x="5630450" y="697287"/>
                </a:cubicBezTo>
                <a:cubicBezTo>
                  <a:pt x="5630450" y="697287"/>
                  <a:pt x="5630450" y="697287"/>
                  <a:pt x="5630450" y="569864"/>
                </a:cubicBezTo>
                <a:cubicBezTo>
                  <a:pt x="5630450" y="534354"/>
                  <a:pt x="5647399" y="516568"/>
                  <a:pt x="5681233" y="516568"/>
                </a:cubicBezTo>
                <a:close/>
                <a:moveTo>
                  <a:pt x="6370553" y="477635"/>
                </a:moveTo>
                <a:cubicBezTo>
                  <a:pt x="6363229" y="477635"/>
                  <a:pt x="6358325" y="480305"/>
                  <a:pt x="6355903" y="485583"/>
                </a:cubicBezTo>
                <a:cubicBezTo>
                  <a:pt x="6355903" y="485583"/>
                  <a:pt x="6355903" y="485583"/>
                  <a:pt x="6269059" y="622554"/>
                </a:cubicBezTo>
                <a:cubicBezTo>
                  <a:pt x="6266637" y="627087"/>
                  <a:pt x="6266637" y="631372"/>
                  <a:pt x="6269059" y="635407"/>
                </a:cubicBezTo>
                <a:cubicBezTo>
                  <a:pt x="6269059" y="635407"/>
                  <a:pt x="6269059" y="635407"/>
                  <a:pt x="6363229" y="780948"/>
                </a:cubicBezTo>
                <a:cubicBezTo>
                  <a:pt x="6366891" y="786722"/>
                  <a:pt x="6372602" y="789516"/>
                  <a:pt x="6380361" y="789516"/>
                </a:cubicBezTo>
                <a:cubicBezTo>
                  <a:pt x="6380361" y="789516"/>
                  <a:pt x="6380361" y="789516"/>
                  <a:pt x="6409041" y="789516"/>
                </a:cubicBezTo>
                <a:cubicBezTo>
                  <a:pt x="6412331" y="789516"/>
                  <a:pt x="6414566" y="788647"/>
                  <a:pt x="6415807" y="786784"/>
                </a:cubicBezTo>
                <a:cubicBezTo>
                  <a:pt x="6416987" y="784983"/>
                  <a:pt x="6416800" y="782624"/>
                  <a:pt x="6415186" y="779768"/>
                </a:cubicBezTo>
                <a:cubicBezTo>
                  <a:pt x="6415186" y="779768"/>
                  <a:pt x="6415186" y="779768"/>
                  <a:pt x="6316112" y="629322"/>
                </a:cubicBezTo>
                <a:cubicBezTo>
                  <a:pt x="6316112" y="629322"/>
                  <a:pt x="6316112" y="629322"/>
                  <a:pt x="6316112" y="626839"/>
                </a:cubicBezTo>
                <a:cubicBezTo>
                  <a:pt x="6316112" y="626839"/>
                  <a:pt x="6316112" y="626839"/>
                  <a:pt x="6405999" y="487445"/>
                </a:cubicBezTo>
                <a:cubicBezTo>
                  <a:pt x="6408048" y="484589"/>
                  <a:pt x="6408544" y="482230"/>
                  <a:pt x="6407551" y="480367"/>
                </a:cubicBezTo>
                <a:cubicBezTo>
                  <a:pt x="6406558" y="478566"/>
                  <a:pt x="6404385" y="477635"/>
                  <a:pt x="6401095" y="477635"/>
                </a:cubicBezTo>
                <a:cubicBezTo>
                  <a:pt x="6401095" y="477635"/>
                  <a:pt x="6401095" y="477635"/>
                  <a:pt x="6370553" y="477635"/>
                </a:cubicBezTo>
                <a:close/>
                <a:moveTo>
                  <a:pt x="6099401" y="477635"/>
                </a:moveTo>
                <a:cubicBezTo>
                  <a:pt x="6094113" y="477635"/>
                  <a:pt x="6091437" y="480491"/>
                  <a:pt x="6091437" y="486204"/>
                </a:cubicBezTo>
                <a:cubicBezTo>
                  <a:pt x="6091437" y="486204"/>
                  <a:pt x="6091437" y="486204"/>
                  <a:pt x="6091437" y="781010"/>
                </a:cubicBezTo>
                <a:cubicBezTo>
                  <a:pt x="6091437" y="786722"/>
                  <a:pt x="6094299" y="789516"/>
                  <a:pt x="6100023" y="789516"/>
                </a:cubicBezTo>
                <a:cubicBezTo>
                  <a:pt x="6100023" y="789516"/>
                  <a:pt x="6100023" y="789516"/>
                  <a:pt x="6127646" y="789516"/>
                </a:cubicBezTo>
                <a:cubicBezTo>
                  <a:pt x="6133307" y="789516"/>
                  <a:pt x="6136169" y="786722"/>
                  <a:pt x="6136169" y="781010"/>
                </a:cubicBezTo>
                <a:cubicBezTo>
                  <a:pt x="6136169" y="781010"/>
                  <a:pt x="6136169" y="781010"/>
                  <a:pt x="6136169" y="486204"/>
                </a:cubicBezTo>
                <a:cubicBezTo>
                  <a:pt x="6136169" y="480491"/>
                  <a:pt x="6133307" y="477635"/>
                  <a:pt x="6127646" y="477635"/>
                </a:cubicBezTo>
                <a:cubicBezTo>
                  <a:pt x="6127646" y="477635"/>
                  <a:pt x="6127646" y="477635"/>
                  <a:pt x="6099401" y="477635"/>
                </a:cubicBezTo>
                <a:close/>
                <a:moveTo>
                  <a:pt x="5676308" y="477635"/>
                </a:moveTo>
                <a:cubicBezTo>
                  <a:pt x="5648162" y="477635"/>
                  <a:pt x="5626043" y="485583"/>
                  <a:pt x="5609950" y="501478"/>
                </a:cubicBezTo>
                <a:cubicBezTo>
                  <a:pt x="5593795" y="517373"/>
                  <a:pt x="5585718" y="539602"/>
                  <a:pt x="5585718" y="568163"/>
                </a:cubicBezTo>
                <a:cubicBezTo>
                  <a:pt x="5585718" y="568163"/>
                  <a:pt x="5585718" y="568163"/>
                  <a:pt x="5585718" y="699050"/>
                </a:cubicBezTo>
                <a:cubicBezTo>
                  <a:pt x="5585718" y="727550"/>
                  <a:pt x="5593795" y="749778"/>
                  <a:pt x="5609950" y="765674"/>
                </a:cubicBezTo>
                <a:cubicBezTo>
                  <a:pt x="5626043" y="781569"/>
                  <a:pt x="5648162" y="789516"/>
                  <a:pt x="5676308" y="789516"/>
                </a:cubicBezTo>
                <a:cubicBezTo>
                  <a:pt x="5676308" y="789516"/>
                  <a:pt x="5676308" y="789516"/>
                  <a:pt x="5708121" y="789516"/>
                </a:cubicBezTo>
                <a:cubicBezTo>
                  <a:pt x="5739560" y="789516"/>
                  <a:pt x="5760375" y="778712"/>
                  <a:pt x="5770564" y="757105"/>
                </a:cubicBezTo>
                <a:cubicBezTo>
                  <a:pt x="5770564" y="757105"/>
                  <a:pt x="5770564" y="757105"/>
                  <a:pt x="5772988" y="757105"/>
                </a:cubicBezTo>
                <a:cubicBezTo>
                  <a:pt x="5772988" y="757105"/>
                  <a:pt x="5772988" y="757105"/>
                  <a:pt x="5772988" y="781010"/>
                </a:cubicBezTo>
                <a:cubicBezTo>
                  <a:pt x="5772988" y="786722"/>
                  <a:pt x="5775846" y="789516"/>
                  <a:pt x="5781562" y="789516"/>
                </a:cubicBezTo>
                <a:cubicBezTo>
                  <a:pt x="5781562" y="789516"/>
                  <a:pt x="5781562" y="789516"/>
                  <a:pt x="5809149" y="789516"/>
                </a:cubicBezTo>
                <a:cubicBezTo>
                  <a:pt x="5814803" y="789516"/>
                  <a:pt x="5817661" y="786722"/>
                  <a:pt x="5817661" y="781010"/>
                </a:cubicBezTo>
                <a:cubicBezTo>
                  <a:pt x="5817661" y="781010"/>
                  <a:pt x="5817661" y="781010"/>
                  <a:pt x="5817661" y="486204"/>
                </a:cubicBezTo>
                <a:cubicBezTo>
                  <a:pt x="5817661" y="480491"/>
                  <a:pt x="5814803" y="477635"/>
                  <a:pt x="5809149" y="477635"/>
                </a:cubicBezTo>
                <a:cubicBezTo>
                  <a:pt x="5809149" y="477635"/>
                  <a:pt x="5809149" y="477635"/>
                  <a:pt x="5676308" y="477635"/>
                </a:cubicBezTo>
                <a:close/>
                <a:moveTo>
                  <a:pt x="5151101" y="477635"/>
                </a:moveTo>
                <a:cubicBezTo>
                  <a:pt x="5145394" y="477635"/>
                  <a:pt x="5142541" y="480491"/>
                  <a:pt x="5142541" y="486204"/>
                </a:cubicBezTo>
                <a:cubicBezTo>
                  <a:pt x="5142541" y="486204"/>
                  <a:pt x="5142541" y="486204"/>
                  <a:pt x="5142541" y="780948"/>
                </a:cubicBezTo>
                <a:cubicBezTo>
                  <a:pt x="5142541" y="786722"/>
                  <a:pt x="5145394" y="789516"/>
                  <a:pt x="5151101" y="789516"/>
                </a:cubicBezTo>
                <a:cubicBezTo>
                  <a:pt x="5151101" y="789516"/>
                  <a:pt x="5151101" y="789516"/>
                  <a:pt x="5178582" y="789516"/>
                </a:cubicBezTo>
                <a:cubicBezTo>
                  <a:pt x="5184289" y="789516"/>
                  <a:pt x="5187142" y="786722"/>
                  <a:pt x="5187142" y="780948"/>
                </a:cubicBezTo>
                <a:cubicBezTo>
                  <a:pt x="5187142" y="780948"/>
                  <a:pt x="5187142" y="780948"/>
                  <a:pt x="5187142" y="573068"/>
                </a:cubicBezTo>
                <a:cubicBezTo>
                  <a:pt x="5187142" y="555124"/>
                  <a:pt x="5192043" y="541278"/>
                  <a:pt x="5201782" y="531468"/>
                </a:cubicBezTo>
                <a:cubicBezTo>
                  <a:pt x="5211583" y="521657"/>
                  <a:pt x="5225603" y="516814"/>
                  <a:pt x="5243965" y="516814"/>
                </a:cubicBezTo>
                <a:cubicBezTo>
                  <a:pt x="5243965" y="516814"/>
                  <a:pt x="5243965" y="516814"/>
                  <a:pt x="5266545" y="516814"/>
                </a:cubicBezTo>
                <a:cubicBezTo>
                  <a:pt x="5300787" y="516814"/>
                  <a:pt x="5317908" y="534510"/>
                  <a:pt x="5317908" y="569964"/>
                </a:cubicBezTo>
                <a:cubicBezTo>
                  <a:pt x="5317908" y="569964"/>
                  <a:pt x="5317908" y="569964"/>
                  <a:pt x="5317908" y="780948"/>
                </a:cubicBezTo>
                <a:cubicBezTo>
                  <a:pt x="5317908" y="786722"/>
                  <a:pt x="5320761" y="789516"/>
                  <a:pt x="5326469" y="789516"/>
                </a:cubicBezTo>
                <a:cubicBezTo>
                  <a:pt x="5326469" y="789516"/>
                  <a:pt x="5326469" y="789516"/>
                  <a:pt x="5353949" y="789516"/>
                </a:cubicBezTo>
                <a:cubicBezTo>
                  <a:pt x="5359656" y="789516"/>
                  <a:pt x="5362509" y="786722"/>
                  <a:pt x="5362509" y="780948"/>
                </a:cubicBezTo>
                <a:cubicBezTo>
                  <a:pt x="5362509" y="780948"/>
                  <a:pt x="5362509" y="780948"/>
                  <a:pt x="5362509" y="574869"/>
                </a:cubicBezTo>
                <a:cubicBezTo>
                  <a:pt x="5362509" y="556925"/>
                  <a:pt x="5367472" y="542768"/>
                  <a:pt x="5377459" y="532399"/>
                </a:cubicBezTo>
                <a:cubicBezTo>
                  <a:pt x="5387447" y="521968"/>
                  <a:pt x="5401591" y="516814"/>
                  <a:pt x="5419952" y="516814"/>
                </a:cubicBezTo>
                <a:cubicBezTo>
                  <a:pt x="5419952" y="516814"/>
                  <a:pt x="5419952" y="516814"/>
                  <a:pt x="5440113" y="516814"/>
                </a:cubicBezTo>
                <a:cubicBezTo>
                  <a:pt x="5474293" y="516814"/>
                  <a:pt x="5491414" y="534510"/>
                  <a:pt x="5491414" y="569964"/>
                </a:cubicBezTo>
                <a:cubicBezTo>
                  <a:pt x="5491414" y="569964"/>
                  <a:pt x="5491414" y="569964"/>
                  <a:pt x="5491414" y="780948"/>
                </a:cubicBezTo>
                <a:cubicBezTo>
                  <a:pt x="5491414" y="786722"/>
                  <a:pt x="5494268" y="789516"/>
                  <a:pt x="5499975" y="789516"/>
                </a:cubicBezTo>
                <a:cubicBezTo>
                  <a:pt x="5499975" y="789516"/>
                  <a:pt x="5499975" y="789516"/>
                  <a:pt x="5527455" y="789516"/>
                </a:cubicBezTo>
                <a:cubicBezTo>
                  <a:pt x="5533162" y="789516"/>
                  <a:pt x="5536016" y="786722"/>
                  <a:pt x="5536016" y="780948"/>
                </a:cubicBezTo>
                <a:cubicBezTo>
                  <a:pt x="5536016" y="780948"/>
                  <a:pt x="5536016" y="780948"/>
                  <a:pt x="5536016" y="568163"/>
                </a:cubicBezTo>
                <a:cubicBezTo>
                  <a:pt x="5536016" y="539602"/>
                  <a:pt x="5528262" y="517373"/>
                  <a:pt x="5512815" y="501478"/>
                </a:cubicBezTo>
                <a:cubicBezTo>
                  <a:pt x="5497307" y="485583"/>
                  <a:pt x="5475720" y="477635"/>
                  <a:pt x="5448053" y="477635"/>
                </a:cubicBezTo>
                <a:cubicBezTo>
                  <a:pt x="5448053" y="477635"/>
                  <a:pt x="5448053" y="477635"/>
                  <a:pt x="5426652" y="477635"/>
                </a:cubicBezTo>
                <a:cubicBezTo>
                  <a:pt x="5411143" y="477635"/>
                  <a:pt x="5396380" y="481236"/>
                  <a:pt x="5382360" y="488315"/>
                </a:cubicBezTo>
                <a:cubicBezTo>
                  <a:pt x="5368279" y="495455"/>
                  <a:pt x="5357981" y="505762"/>
                  <a:pt x="5351530" y="519236"/>
                </a:cubicBezTo>
                <a:cubicBezTo>
                  <a:pt x="5337634" y="491481"/>
                  <a:pt x="5312759" y="477635"/>
                  <a:pt x="5276966" y="477635"/>
                </a:cubicBezTo>
                <a:cubicBezTo>
                  <a:pt x="5276966" y="477635"/>
                  <a:pt x="5276966" y="477635"/>
                  <a:pt x="5254324" y="477635"/>
                </a:cubicBezTo>
                <a:cubicBezTo>
                  <a:pt x="5222563" y="477635"/>
                  <a:pt x="5200976" y="488439"/>
                  <a:pt x="5189562" y="510046"/>
                </a:cubicBezTo>
                <a:cubicBezTo>
                  <a:pt x="5189562" y="510046"/>
                  <a:pt x="5189562" y="510046"/>
                  <a:pt x="5187142" y="510046"/>
                </a:cubicBezTo>
                <a:cubicBezTo>
                  <a:pt x="5187142" y="510046"/>
                  <a:pt x="5187142" y="510046"/>
                  <a:pt x="5187142" y="486204"/>
                </a:cubicBezTo>
                <a:cubicBezTo>
                  <a:pt x="5187142" y="480491"/>
                  <a:pt x="5184289" y="477635"/>
                  <a:pt x="5178582" y="477635"/>
                </a:cubicBezTo>
                <a:cubicBezTo>
                  <a:pt x="5178582" y="477635"/>
                  <a:pt x="5178582" y="477635"/>
                  <a:pt x="5151101" y="477635"/>
                </a:cubicBezTo>
                <a:close/>
                <a:moveTo>
                  <a:pt x="4967124" y="477635"/>
                </a:moveTo>
                <a:cubicBezTo>
                  <a:pt x="4961429" y="477635"/>
                  <a:pt x="4958643" y="480491"/>
                  <a:pt x="4958643" y="486204"/>
                </a:cubicBezTo>
                <a:cubicBezTo>
                  <a:pt x="4958643" y="486204"/>
                  <a:pt x="4958643" y="486204"/>
                  <a:pt x="4958643" y="780948"/>
                </a:cubicBezTo>
                <a:cubicBezTo>
                  <a:pt x="4958643" y="786722"/>
                  <a:pt x="4961429" y="789516"/>
                  <a:pt x="4967124" y="789516"/>
                </a:cubicBezTo>
                <a:cubicBezTo>
                  <a:pt x="4967124" y="789516"/>
                  <a:pt x="4967124" y="789516"/>
                  <a:pt x="4994608" y="789516"/>
                </a:cubicBezTo>
                <a:cubicBezTo>
                  <a:pt x="5000241" y="789516"/>
                  <a:pt x="5003089" y="786722"/>
                  <a:pt x="5003089" y="780948"/>
                </a:cubicBezTo>
                <a:cubicBezTo>
                  <a:pt x="5003089" y="780948"/>
                  <a:pt x="5003089" y="780948"/>
                  <a:pt x="5003089" y="578532"/>
                </a:cubicBezTo>
                <a:cubicBezTo>
                  <a:pt x="5003089" y="559409"/>
                  <a:pt x="5007979" y="544320"/>
                  <a:pt x="5017759" y="533330"/>
                </a:cubicBezTo>
                <a:cubicBezTo>
                  <a:pt x="5027540" y="522278"/>
                  <a:pt x="5041530" y="516814"/>
                  <a:pt x="5059853" y="516814"/>
                </a:cubicBezTo>
                <a:cubicBezTo>
                  <a:pt x="5059853" y="516814"/>
                  <a:pt x="5059853" y="516814"/>
                  <a:pt x="5092785" y="516814"/>
                </a:cubicBezTo>
                <a:cubicBezTo>
                  <a:pt x="5095570" y="517187"/>
                  <a:pt x="5097613" y="516690"/>
                  <a:pt x="5098851" y="515262"/>
                </a:cubicBezTo>
                <a:cubicBezTo>
                  <a:pt x="5100089" y="513834"/>
                  <a:pt x="5100708" y="511661"/>
                  <a:pt x="5100708" y="508805"/>
                </a:cubicBezTo>
                <a:cubicBezTo>
                  <a:pt x="5100708" y="508805"/>
                  <a:pt x="5100708" y="508805"/>
                  <a:pt x="5100708" y="486204"/>
                </a:cubicBezTo>
                <a:cubicBezTo>
                  <a:pt x="5100708" y="480491"/>
                  <a:pt x="5098046" y="477635"/>
                  <a:pt x="5092785" y="477635"/>
                </a:cubicBezTo>
                <a:cubicBezTo>
                  <a:pt x="5092785" y="477635"/>
                  <a:pt x="5092785" y="477635"/>
                  <a:pt x="5068952" y="477635"/>
                </a:cubicBezTo>
                <a:cubicBezTo>
                  <a:pt x="5053539" y="477635"/>
                  <a:pt x="5040106" y="480926"/>
                  <a:pt x="5028716" y="487445"/>
                </a:cubicBezTo>
                <a:cubicBezTo>
                  <a:pt x="5017326" y="493965"/>
                  <a:pt x="5009650" y="501726"/>
                  <a:pt x="5005565" y="510667"/>
                </a:cubicBezTo>
                <a:cubicBezTo>
                  <a:pt x="5005565" y="510667"/>
                  <a:pt x="5005565" y="510667"/>
                  <a:pt x="5003089" y="510667"/>
                </a:cubicBezTo>
                <a:cubicBezTo>
                  <a:pt x="5003089" y="510667"/>
                  <a:pt x="5003089" y="510667"/>
                  <a:pt x="5003089" y="486204"/>
                </a:cubicBezTo>
                <a:cubicBezTo>
                  <a:pt x="5003089" y="480491"/>
                  <a:pt x="5000241" y="477635"/>
                  <a:pt x="4994608" y="477635"/>
                </a:cubicBezTo>
                <a:cubicBezTo>
                  <a:pt x="4994608" y="477635"/>
                  <a:pt x="4994608" y="477635"/>
                  <a:pt x="4967124" y="477635"/>
                </a:cubicBezTo>
                <a:close/>
                <a:moveTo>
                  <a:pt x="4766895" y="477635"/>
                </a:moveTo>
                <a:cubicBezTo>
                  <a:pt x="4738816" y="477635"/>
                  <a:pt x="4716749" y="485583"/>
                  <a:pt x="4700695" y="501478"/>
                </a:cubicBezTo>
                <a:cubicBezTo>
                  <a:pt x="4684579" y="517373"/>
                  <a:pt x="4676583" y="539602"/>
                  <a:pt x="4676583" y="568163"/>
                </a:cubicBezTo>
                <a:cubicBezTo>
                  <a:pt x="4676583" y="568163"/>
                  <a:pt x="4676583" y="568163"/>
                  <a:pt x="4676583" y="699050"/>
                </a:cubicBezTo>
                <a:cubicBezTo>
                  <a:pt x="4676583" y="727550"/>
                  <a:pt x="4684579" y="749778"/>
                  <a:pt x="4700695" y="765674"/>
                </a:cubicBezTo>
                <a:cubicBezTo>
                  <a:pt x="4716749" y="781569"/>
                  <a:pt x="4738816" y="789516"/>
                  <a:pt x="4766895" y="789516"/>
                </a:cubicBezTo>
                <a:cubicBezTo>
                  <a:pt x="4766895" y="789516"/>
                  <a:pt x="4766895" y="789516"/>
                  <a:pt x="4819395" y="789516"/>
                </a:cubicBezTo>
                <a:cubicBezTo>
                  <a:pt x="4847474" y="789516"/>
                  <a:pt x="4869603" y="781569"/>
                  <a:pt x="4885657" y="765674"/>
                </a:cubicBezTo>
                <a:cubicBezTo>
                  <a:pt x="4901711" y="749778"/>
                  <a:pt x="4909769" y="727550"/>
                  <a:pt x="4909769" y="699050"/>
                </a:cubicBezTo>
                <a:cubicBezTo>
                  <a:pt x="4909769" y="699050"/>
                  <a:pt x="4909769" y="699050"/>
                  <a:pt x="4909769" y="568163"/>
                </a:cubicBezTo>
                <a:cubicBezTo>
                  <a:pt x="4909769" y="539602"/>
                  <a:pt x="4901711" y="517373"/>
                  <a:pt x="4885657" y="501478"/>
                </a:cubicBezTo>
                <a:cubicBezTo>
                  <a:pt x="4869603" y="485583"/>
                  <a:pt x="4847474" y="477635"/>
                  <a:pt x="4819395" y="477635"/>
                </a:cubicBezTo>
                <a:cubicBezTo>
                  <a:pt x="4819395" y="477635"/>
                  <a:pt x="4819395" y="477635"/>
                  <a:pt x="4766895" y="477635"/>
                </a:cubicBezTo>
                <a:close/>
                <a:moveTo>
                  <a:pt x="4230782" y="477635"/>
                </a:moveTo>
                <a:cubicBezTo>
                  <a:pt x="4225076" y="477635"/>
                  <a:pt x="4222223" y="480491"/>
                  <a:pt x="4222223" y="486204"/>
                </a:cubicBezTo>
                <a:cubicBezTo>
                  <a:pt x="4222223" y="486204"/>
                  <a:pt x="4222223" y="486204"/>
                  <a:pt x="4222223" y="780948"/>
                </a:cubicBezTo>
                <a:cubicBezTo>
                  <a:pt x="4222223" y="786722"/>
                  <a:pt x="4225076" y="789516"/>
                  <a:pt x="4230782" y="789516"/>
                </a:cubicBezTo>
                <a:cubicBezTo>
                  <a:pt x="4230782" y="789516"/>
                  <a:pt x="4230782" y="789516"/>
                  <a:pt x="4258258" y="789516"/>
                </a:cubicBezTo>
                <a:cubicBezTo>
                  <a:pt x="4263964" y="789516"/>
                  <a:pt x="4266817" y="786722"/>
                  <a:pt x="4266817" y="780948"/>
                </a:cubicBezTo>
                <a:cubicBezTo>
                  <a:pt x="4266817" y="780948"/>
                  <a:pt x="4266817" y="780948"/>
                  <a:pt x="4266817" y="573068"/>
                </a:cubicBezTo>
                <a:cubicBezTo>
                  <a:pt x="4266817" y="555124"/>
                  <a:pt x="4271717" y="541278"/>
                  <a:pt x="4281454" y="531468"/>
                </a:cubicBezTo>
                <a:cubicBezTo>
                  <a:pt x="4291253" y="521657"/>
                  <a:pt x="4305270" y="516814"/>
                  <a:pt x="4323629" y="516814"/>
                </a:cubicBezTo>
                <a:cubicBezTo>
                  <a:pt x="4323629" y="516814"/>
                  <a:pt x="4323629" y="516814"/>
                  <a:pt x="4357865" y="516814"/>
                </a:cubicBezTo>
                <a:cubicBezTo>
                  <a:pt x="4392040" y="516814"/>
                  <a:pt x="4409158" y="534510"/>
                  <a:pt x="4409158" y="569964"/>
                </a:cubicBezTo>
                <a:cubicBezTo>
                  <a:pt x="4409158" y="569964"/>
                  <a:pt x="4409158" y="569964"/>
                  <a:pt x="4409158" y="780948"/>
                </a:cubicBezTo>
                <a:cubicBezTo>
                  <a:pt x="4409158" y="786722"/>
                  <a:pt x="4412011" y="789516"/>
                  <a:pt x="4417717" y="789516"/>
                </a:cubicBezTo>
                <a:cubicBezTo>
                  <a:pt x="4417717" y="789516"/>
                  <a:pt x="4417717" y="789516"/>
                  <a:pt x="4445193" y="789516"/>
                </a:cubicBezTo>
                <a:cubicBezTo>
                  <a:pt x="4450899" y="789516"/>
                  <a:pt x="4453752" y="786722"/>
                  <a:pt x="4453752" y="780948"/>
                </a:cubicBezTo>
                <a:cubicBezTo>
                  <a:pt x="4453752" y="780948"/>
                  <a:pt x="4453752" y="780948"/>
                  <a:pt x="4453752" y="568163"/>
                </a:cubicBezTo>
                <a:cubicBezTo>
                  <a:pt x="4453752" y="539602"/>
                  <a:pt x="4445999" y="517373"/>
                  <a:pt x="4430556" y="501478"/>
                </a:cubicBezTo>
                <a:cubicBezTo>
                  <a:pt x="4415050" y="485583"/>
                  <a:pt x="4393466" y="477635"/>
                  <a:pt x="4365804" y="477635"/>
                </a:cubicBezTo>
                <a:cubicBezTo>
                  <a:pt x="4365804" y="477635"/>
                  <a:pt x="4365804" y="477635"/>
                  <a:pt x="4331568" y="477635"/>
                </a:cubicBezTo>
                <a:cubicBezTo>
                  <a:pt x="4300185" y="477635"/>
                  <a:pt x="4279407" y="488439"/>
                  <a:pt x="4269235" y="510046"/>
                </a:cubicBezTo>
                <a:cubicBezTo>
                  <a:pt x="4269235" y="510046"/>
                  <a:pt x="4269235" y="510046"/>
                  <a:pt x="4266817" y="510046"/>
                </a:cubicBezTo>
                <a:cubicBezTo>
                  <a:pt x="4266817" y="510046"/>
                  <a:pt x="4266817" y="510046"/>
                  <a:pt x="4266817" y="486204"/>
                </a:cubicBezTo>
                <a:cubicBezTo>
                  <a:pt x="4266817" y="480491"/>
                  <a:pt x="4263964" y="477635"/>
                  <a:pt x="4258258" y="477635"/>
                </a:cubicBezTo>
                <a:cubicBezTo>
                  <a:pt x="4258258" y="477635"/>
                  <a:pt x="4258258" y="477635"/>
                  <a:pt x="4230782" y="477635"/>
                </a:cubicBezTo>
                <a:close/>
                <a:moveTo>
                  <a:pt x="4127883" y="477635"/>
                </a:moveTo>
                <a:cubicBezTo>
                  <a:pt x="4122532" y="477635"/>
                  <a:pt x="4119919" y="480491"/>
                  <a:pt x="4119919" y="486204"/>
                </a:cubicBezTo>
                <a:cubicBezTo>
                  <a:pt x="4119919" y="486204"/>
                  <a:pt x="4119919" y="486204"/>
                  <a:pt x="4119919" y="781010"/>
                </a:cubicBezTo>
                <a:cubicBezTo>
                  <a:pt x="4119919" y="786722"/>
                  <a:pt x="4122781" y="789516"/>
                  <a:pt x="4128504" y="789516"/>
                </a:cubicBezTo>
                <a:cubicBezTo>
                  <a:pt x="4128504" y="789516"/>
                  <a:pt x="4128504" y="789516"/>
                  <a:pt x="4156065" y="789516"/>
                </a:cubicBezTo>
                <a:cubicBezTo>
                  <a:pt x="4161789" y="789516"/>
                  <a:pt x="4164651" y="786722"/>
                  <a:pt x="4164651" y="781010"/>
                </a:cubicBezTo>
                <a:cubicBezTo>
                  <a:pt x="4164651" y="781010"/>
                  <a:pt x="4164651" y="781010"/>
                  <a:pt x="4164651" y="486204"/>
                </a:cubicBezTo>
                <a:cubicBezTo>
                  <a:pt x="4164651" y="480491"/>
                  <a:pt x="4161789" y="477635"/>
                  <a:pt x="4156065" y="477635"/>
                </a:cubicBezTo>
                <a:cubicBezTo>
                  <a:pt x="4156065" y="477635"/>
                  <a:pt x="4156065" y="477635"/>
                  <a:pt x="4127883" y="477635"/>
                </a:cubicBezTo>
                <a:close/>
                <a:moveTo>
                  <a:pt x="3707401" y="475978"/>
                </a:moveTo>
                <a:cubicBezTo>
                  <a:pt x="3698835" y="475978"/>
                  <a:pt x="3695794" y="480263"/>
                  <a:pt x="3698215" y="488832"/>
                </a:cubicBezTo>
                <a:cubicBezTo>
                  <a:pt x="3698215" y="488832"/>
                  <a:pt x="3698215" y="488832"/>
                  <a:pt x="3774871" y="775213"/>
                </a:cubicBezTo>
                <a:cubicBezTo>
                  <a:pt x="3777292" y="784217"/>
                  <a:pt x="3782817" y="788688"/>
                  <a:pt x="3791382" y="788688"/>
                </a:cubicBezTo>
                <a:cubicBezTo>
                  <a:pt x="3791382" y="788688"/>
                  <a:pt x="3791382" y="788688"/>
                  <a:pt x="3869219" y="788688"/>
                </a:cubicBezTo>
                <a:cubicBezTo>
                  <a:pt x="3878653" y="788688"/>
                  <a:pt x="3884116" y="784217"/>
                  <a:pt x="3885791" y="775213"/>
                </a:cubicBezTo>
                <a:cubicBezTo>
                  <a:pt x="3885791" y="775213"/>
                  <a:pt x="3885791" y="775213"/>
                  <a:pt x="3963007" y="488832"/>
                </a:cubicBezTo>
                <a:cubicBezTo>
                  <a:pt x="3965428" y="480263"/>
                  <a:pt x="3962386" y="475978"/>
                  <a:pt x="3953821" y="475978"/>
                </a:cubicBezTo>
                <a:cubicBezTo>
                  <a:pt x="3953821" y="475978"/>
                  <a:pt x="3953821" y="475978"/>
                  <a:pt x="3899882" y="475978"/>
                </a:cubicBezTo>
                <a:cubicBezTo>
                  <a:pt x="3891316" y="475978"/>
                  <a:pt x="3886164" y="480263"/>
                  <a:pt x="3884550" y="488832"/>
                </a:cubicBezTo>
                <a:cubicBezTo>
                  <a:pt x="3884550" y="488832"/>
                  <a:pt x="3884550" y="488832"/>
                  <a:pt x="3833094" y="719390"/>
                </a:cubicBezTo>
                <a:cubicBezTo>
                  <a:pt x="3833094" y="719390"/>
                  <a:pt x="3833094" y="719390"/>
                  <a:pt x="3828749" y="719390"/>
                </a:cubicBezTo>
                <a:cubicBezTo>
                  <a:pt x="3828749" y="719390"/>
                  <a:pt x="3828749" y="719390"/>
                  <a:pt x="3776051" y="488832"/>
                </a:cubicBezTo>
                <a:cubicBezTo>
                  <a:pt x="3774437" y="480263"/>
                  <a:pt x="3769533" y="475978"/>
                  <a:pt x="3761340" y="475978"/>
                </a:cubicBezTo>
                <a:cubicBezTo>
                  <a:pt x="3761340" y="475978"/>
                  <a:pt x="3761340" y="475978"/>
                  <a:pt x="3707401" y="475978"/>
                </a:cubicBezTo>
                <a:close/>
                <a:moveTo>
                  <a:pt x="3610389" y="475978"/>
                </a:moveTo>
                <a:cubicBezTo>
                  <a:pt x="3601016" y="475978"/>
                  <a:pt x="3594063" y="480077"/>
                  <a:pt x="3589594" y="488211"/>
                </a:cubicBezTo>
                <a:cubicBezTo>
                  <a:pt x="3589594" y="488211"/>
                  <a:pt x="3589594" y="488211"/>
                  <a:pt x="3516035" y="618859"/>
                </a:cubicBezTo>
                <a:cubicBezTo>
                  <a:pt x="3512310" y="625813"/>
                  <a:pt x="3512310" y="632520"/>
                  <a:pt x="3516035" y="639102"/>
                </a:cubicBezTo>
                <a:cubicBezTo>
                  <a:pt x="3516035" y="639102"/>
                  <a:pt x="3516035" y="639102"/>
                  <a:pt x="3593877" y="775772"/>
                </a:cubicBezTo>
                <a:cubicBezTo>
                  <a:pt x="3597105" y="781112"/>
                  <a:pt x="3600333" y="784590"/>
                  <a:pt x="3603375" y="786204"/>
                </a:cubicBezTo>
                <a:cubicBezTo>
                  <a:pt x="3606416" y="787881"/>
                  <a:pt x="3611444" y="788688"/>
                  <a:pt x="3618397" y="788688"/>
                </a:cubicBezTo>
                <a:cubicBezTo>
                  <a:pt x="3618397" y="788688"/>
                  <a:pt x="3618397" y="788688"/>
                  <a:pt x="3671099" y="788688"/>
                </a:cubicBezTo>
                <a:cubicBezTo>
                  <a:pt x="3676375" y="788688"/>
                  <a:pt x="3680100" y="787135"/>
                  <a:pt x="3682148" y="784093"/>
                </a:cubicBezTo>
                <a:cubicBezTo>
                  <a:pt x="3684197" y="780988"/>
                  <a:pt x="3683948" y="777449"/>
                  <a:pt x="3681527" y="773350"/>
                </a:cubicBezTo>
                <a:cubicBezTo>
                  <a:pt x="3681527" y="773350"/>
                  <a:pt x="3681527" y="773350"/>
                  <a:pt x="3596298" y="628049"/>
                </a:cubicBezTo>
                <a:cubicBezTo>
                  <a:pt x="3596298" y="628049"/>
                  <a:pt x="3596298" y="628049"/>
                  <a:pt x="3596298" y="625565"/>
                </a:cubicBezTo>
                <a:cubicBezTo>
                  <a:pt x="3596298" y="625565"/>
                  <a:pt x="3596298" y="625565"/>
                  <a:pt x="3677865" y="491316"/>
                </a:cubicBezTo>
                <a:cubicBezTo>
                  <a:pt x="3680658" y="486845"/>
                  <a:pt x="3681279" y="483119"/>
                  <a:pt x="3679665" y="480263"/>
                </a:cubicBezTo>
                <a:cubicBezTo>
                  <a:pt x="3678051" y="477407"/>
                  <a:pt x="3674761" y="475978"/>
                  <a:pt x="3669857" y="475978"/>
                </a:cubicBezTo>
                <a:cubicBezTo>
                  <a:pt x="3669857" y="475978"/>
                  <a:pt x="3669857" y="475978"/>
                  <a:pt x="3610389" y="475978"/>
                </a:cubicBezTo>
                <a:close/>
                <a:moveTo>
                  <a:pt x="3337083" y="475978"/>
                </a:moveTo>
                <a:cubicBezTo>
                  <a:pt x="3304832" y="475978"/>
                  <a:pt x="3279899" y="484550"/>
                  <a:pt x="3262347" y="501755"/>
                </a:cubicBezTo>
                <a:cubicBezTo>
                  <a:pt x="3244794" y="518898"/>
                  <a:pt x="3236049" y="543681"/>
                  <a:pt x="3236049" y="575917"/>
                </a:cubicBezTo>
                <a:cubicBezTo>
                  <a:pt x="3236049" y="575917"/>
                  <a:pt x="3236049" y="575917"/>
                  <a:pt x="3236049" y="674675"/>
                </a:cubicBezTo>
                <a:cubicBezTo>
                  <a:pt x="3236049" y="706974"/>
                  <a:pt x="3244050" y="731694"/>
                  <a:pt x="3260176" y="748899"/>
                </a:cubicBezTo>
                <a:cubicBezTo>
                  <a:pt x="3276301" y="766042"/>
                  <a:pt x="3300118" y="774676"/>
                  <a:pt x="3331563" y="774676"/>
                </a:cubicBezTo>
                <a:cubicBezTo>
                  <a:pt x="3331563" y="774676"/>
                  <a:pt x="3331563" y="774676"/>
                  <a:pt x="3351782" y="774924"/>
                </a:cubicBezTo>
                <a:cubicBezTo>
                  <a:pt x="3364559" y="774738"/>
                  <a:pt x="3375103" y="774987"/>
                  <a:pt x="3387879" y="774924"/>
                </a:cubicBezTo>
                <a:cubicBezTo>
                  <a:pt x="3397183" y="774862"/>
                  <a:pt x="3401276" y="774924"/>
                  <a:pt x="3411758" y="774862"/>
                </a:cubicBezTo>
                <a:cubicBezTo>
                  <a:pt x="3411758" y="774862"/>
                  <a:pt x="3411758" y="774862"/>
                  <a:pt x="3414239" y="774862"/>
                </a:cubicBezTo>
                <a:cubicBezTo>
                  <a:pt x="3414239" y="774862"/>
                  <a:pt x="3414239" y="774862"/>
                  <a:pt x="3414239" y="787533"/>
                </a:cubicBezTo>
                <a:cubicBezTo>
                  <a:pt x="3414239" y="800204"/>
                  <a:pt x="3411448" y="809334"/>
                  <a:pt x="3405990" y="814863"/>
                </a:cubicBezTo>
                <a:cubicBezTo>
                  <a:pt x="3400408" y="820328"/>
                  <a:pt x="3391167" y="823124"/>
                  <a:pt x="3378080" y="823124"/>
                </a:cubicBezTo>
                <a:cubicBezTo>
                  <a:pt x="3378080" y="823124"/>
                  <a:pt x="3378080" y="823124"/>
                  <a:pt x="3273386" y="823124"/>
                </a:cubicBezTo>
                <a:cubicBezTo>
                  <a:pt x="3264765" y="823124"/>
                  <a:pt x="3260486" y="827409"/>
                  <a:pt x="3260486" y="835981"/>
                </a:cubicBezTo>
                <a:cubicBezTo>
                  <a:pt x="3260486" y="835981"/>
                  <a:pt x="3260486" y="835981"/>
                  <a:pt x="3260486" y="878279"/>
                </a:cubicBezTo>
                <a:cubicBezTo>
                  <a:pt x="3260486" y="882813"/>
                  <a:pt x="3261416" y="885981"/>
                  <a:pt x="3263277" y="887782"/>
                </a:cubicBezTo>
                <a:cubicBezTo>
                  <a:pt x="3265075" y="889646"/>
                  <a:pt x="3268487" y="890577"/>
                  <a:pt x="3273386" y="890577"/>
                </a:cubicBezTo>
                <a:cubicBezTo>
                  <a:pt x="3273386" y="890577"/>
                  <a:pt x="3273386" y="890577"/>
                  <a:pt x="3390981" y="890577"/>
                </a:cubicBezTo>
                <a:cubicBezTo>
                  <a:pt x="3422798" y="890577"/>
                  <a:pt x="3447607" y="882006"/>
                  <a:pt x="3465345" y="864801"/>
                </a:cubicBezTo>
                <a:cubicBezTo>
                  <a:pt x="3483084" y="847658"/>
                  <a:pt x="3492015" y="823124"/>
                  <a:pt x="3492015" y="791198"/>
                </a:cubicBezTo>
                <a:cubicBezTo>
                  <a:pt x="3492015" y="791198"/>
                  <a:pt x="3492015" y="791198"/>
                  <a:pt x="3492015" y="488836"/>
                </a:cubicBezTo>
                <a:cubicBezTo>
                  <a:pt x="3492015" y="480264"/>
                  <a:pt x="3487487" y="475978"/>
                  <a:pt x="3478494" y="475978"/>
                </a:cubicBezTo>
                <a:cubicBezTo>
                  <a:pt x="3478494" y="475978"/>
                  <a:pt x="3478494" y="475978"/>
                  <a:pt x="3337083" y="475978"/>
                </a:cubicBezTo>
                <a:close/>
                <a:moveTo>
                  <a:pt x="5918882" y="410951"/>
                </a:moveTo>
                <a:cubicBezTo>
                  <a:pt x="5913167" y="410951"/>
                  <a:pt x="5910371" y="413869"/>
                  <a:pt x="5910371" y="419520"/>
                </a:cubicBezTo>
                <a:cubicBezTo>
                  <a:pt x="5910371" y="419520"/>
                  <a:pt x="5910371" y="419520"/>
                  <a:pt x="5910371" y="472110"/>
                </a:cubicBezTo>
                <a:cubicBezTo>
                  <a:pt x="5910371" y="475836"/>
                  <a:pt x="5908321" y="477636"/>
                  <a:pt x="5904221" y="477636"/>
                </a:cubicBezTo>
                <a:cubicBezTo>
                  <a:pt x="5904221" y="477636"/>
                  <a:pt x="5904221" y="477636"/>
                  <a:pt x="5870552" y="477636"/>
                </a:cubicBezTo>
                <a:cubicBezTo>
                  <a:pt x="5864837" y="477636"/>
                  <a:pt x="5861979" y="480492"/>
                  <a:pt x="5861979" y="486205"/>
                </a:cubicBezTo>
                <a:cubicBezTo>
                  <a:pt x="5861979" y="486205"/>
                  <a:pt x="5861979" y="486205"/>
                  <a:pt x="5861979" y="508805"/>
                </a:cubicBezTo>
                <a:cubicBezTo>
                  <a:pt x="5861979" y="514145"/>
                  <a:pt x="5864837" y="516753"/>
                  <a:pt x="5870552" y="516753"/>
                </a:cubicBezTo>
                <a:cubicBezTo>
                  <a:pt x="5870552" y="516753"/>
                  <a:pt x="5870552" y="516753"/>
                  <a:pt x="5904221" y="516753"/>
                </a:cubicBezTo>
                <a:cubicBezTo>
                  <a:pt x="5908321" y="516753"/>
                  <a:pt x="5910371" y="518616"/>
                  <a:pt x="5910371" y="522279"/>
                </a:cubicBezTo>
                <a:cubicBezTo>
                  <a:pt x="5910371" y="522279"/>
                  <a:pt x="5910371" y="522279"/>
                  <a:pt x="5910371" y="700230"/>
                </a:cubicBezTo>
                <a:cubicBezTo>
                  <a:pt x="5910371" y="728419"/>
                  <a:pt x="5918695" y="750275"/>
                  <a:pt x="5935468" y="765984"/>
                </a:cubicBezTo>
                <a:cubicBezTo>
                  <a:pt x="5952116" y="781692"/>
                  <a:pt x="5974603" y="789516"/>
                  <a:pt x="6002744" y="789516"/>
                </a:cubicBezTo>
                <a:cubicBezTo>
                  <a:pt x="6002744" y="789516"/>
                  <a:pt x="6002744" y="789516"/>
                  <a:pt x="6032127" y="789516"/>
                </a:cubicBezTo>
                <a:cubicBezTo>
                  <a:pt x="6038215" y="789516"/>
                  <a:pt x="6041321" y="786908"/>
                  <a:pt x="6041321" y="781569"/>
                </a:cubicBezTo>
                <a:cubicBezTo>
                  <a:pt x="6041321" y="781569"/>
                  <a:pt x="6041321" y="781569"/>
                  <a:pt x="6041321" y="758968"/>
                </a:cubicBezTo>
                <a:cubicBezTo>
                  <a:pt x="6041321" y="753255"/>
                  <a:pt x="6038215" y="750399"/>
                  <a:pt x="6032127" y="750399"/>
                </a:cubicBezTo>
                <a:cubicBezTo>
                  <a:pt x="6032127" y="750399"/>
                  <a:pt x="6032127" y="750399"/>
                  <a:pt x="6008273" y="750399"/>
                </a:cubicBezTo>
                <a:cubicBezTo>
                  <a:pt x="5972367" y="750399"/>
                  <a:pt x="5954414" y="733076"/>
                  <a:pt x="5954414" y="698429"/>
                </a:cubicBezTo>
                <a:cubicBezTo>
                  <a:pt x="5954414" y="698429"/>
                  <a:pt x="5954414" y="698429"/>
                  <a:pt x="5954414" y="522279"/>
                </a:cubicBezTo>
                <a:cubicBezTo>
                  <a:pt x="5954414" y="518616"/>
                  <a:pt x="5956651" y="516753"/>
                  <a:pt x="5961123" y="516753"/>
                </a:cubicBezTo>
                <a:cubicBezTo>
                  <a:pt x="5961123" y="516753"/>
                  <a:pt x="5961123" y="516753"/>
                  <a:pt x="6025977" y="516753"/>
                </a:cubicBezTo>
                <a:cubicBezTo>
                  <a:pt x="6032127" y="516753"/>
                  <a:pt x="6035171" y="514145"/>
                  <a:pt x="6035171" y="508805"/>
                </a:cubicBezTo>
                <a:cubicBezTo>
                  <a:pt x="6035171" y="508805"/>
                  <a:pt x="6035171" y="508805"/>
                  <a:pt x="6035171" y="486205"/>
                </a:cubicBezTo>
                <a:cubicBezTo>
                  <a:pt x="6035171" y="480492"/>
                  <a:pt x="6032127" y="477636"/>
                  <a:pt x="6025977" y="477636"/>
                </a:cubicBezTo>
                <a:cubicBezTo>
                  <a:pt x="6025977" y="477636"/>
                  <a:pt x="6025977" y="477636"/>
                  <a:pt x="5961123" y="477636"/>
                </a:cubicBezTo>
                <a:cubicBezTo>
                  <a:pt x="5956651" y="477636"/>
                  <a:pt x="5954414" y="475836"/>
                  <a:pt x="5954414" y="472110"/>
                </a:cubicBezTo>
                <a:cubicBezTo>
                  <a:pt x="5954414" y="472110"/>
                  <a:pt x="5954414" y="472110"/>
                  <a:pt x="5954414" y="419520"/>
                </a:cubicBezTo>
                <a:cubicBezTo>
                  <a:pt x="5954414" y="413869"/>
                  <a:pt x="5951743" y="410951"/>
                  <a:pt x="5946463" y="410951"/>
                </a:cubicBezTo>
                <a:cubicBezTo>
                  <a:pt x="5946463" y="410951"/>
                  <a:pt x="5946463" y="410951"/>
                  <a:pt x="5918882" y="410951"/>
                </a:cubicBezTo>
                <a:close/>
                <a:moveTo>
                  <a:pt x="6099401" y="360007"/>
                </a:moveTo>
                <a:cubicBezTo>
                  <a:pt x="6094113" y="360007"/>
                  <a:pt x="6091437" y="362875"/>
                  <a:pt x="6091437" y="368613"/>
                </a:cubicBezTo>
                <a:cubicBezTo>
                  <a:pt x="6091437" y="368613"/>
                  <a:pt x="6091437" y="368613"/>
                  <a:pt x="6091437" y="426367"/>
                </a:cubicBezTo>
                <a:cubicBezTo>
                  <a:pt x="6091437" y="432105"/>
                  <a:pt x="6094113" y="434974"/>
                  <a:pt x="6099401" y="434974"/>
                </a:cubicBezTo>
                <a:cubicBezTo>
                  <a:pt x="6099401" y="434974"/>
                  <a:pt x="6099401" y="434974"/>
                  <a:pt x="6127646" y="434974"/>
                </a:cubicBezTo>
                <a:cubicBezTo>
                  <a:pt x="6133307" y="434974"/>
                  <a:pt x="6136169" y="432105"/>
                  <a:pt x="6136169" y="426367"/>
                </a:cubicBezTo>
                <a:cubicBezTo>
                  <a:pt x="6136169" y="426367"/>
                  <a:pt x="6136169" y="426367"/>
                  <a:pt x="6136169" y="368613"/>
                </a:cubicBezTo>
                <a:cubicBezTo>
                  <a:pt x="6136169" y="362875"/>
                  <a:pt x="6133307" y="360007"/>
                  <a:pt x="6127646" y="360007"/>
                </a:cubicBezTo>
                <a:cubicBezTo>
                  <a:pt x="6127646" y="360007"/>
                  <a:pt x="6127646" y="360007"/>
                  <a:pt x="6099401" y="360007"/>
                </a:cubicBezTo>
                <a:close/>
                <a:moveTo>
                  <a:pt x="4127883" y="360007"/>
                </a:moveTo>
                <a:cubicBezTo>
                  <a:pt x="4122532" y="360007"/>
                  <a:pt x="4119919" y="362875"/>
                  <a:pt x="4119919" y="368613"/>
                </a:cubicBezTo>
                <a:cubicBezTo>
                  <a:pt x="4119919" y="368613"/>
                  <a:pt x="4119919" y="368613"/>
                  <a:pt x="4119919" y="426367"/>
                </a:cubicBezTo>
                <a:cubicBezTo>
                  <a:pt x="4119919" y="432105"/>
                  <a:pt x="4122532" y="434974"/>
                  <a:pt x="4127883" y="434974"/>
                </a:cubicBezTo>
                <a:cubicBezTo>
                  <a:pt x="4127883" y="434974"/>
                  <a:pt x="4127883" y="434974"/>
                  <a:pt x="4156065" y="434974"/>
                </a:cubicBezTo>
                <a:cubicBezTo>
                  <a:pt x="4161789" y="434974"/>
                  <a:pt x="4164651" y="432105"/>
                  <a:pt x="4164651" y="426367"/>
                </a:cubicBezTo>
                <a:cubicBezTo>
                  <a:pt x="4164651" y="426367"/>
                  <a:pt x="4164651" y="426367"/>
                  <a:pt x="4164651" y="368613"/>
                </a:cubicBezTo>
                <a:cubicBezTo>
                  <a:pt x="4164651" y="362875"/>
                  <a:pt x="4161789" y="360007"/>
                  <a:pt x="4156065" y="360007"/>
                </a:cubicBezTo>
                <a:cubicBezTo>
                  <a:pt x="4156065" y="360007"/>
                  <a:pt x="4156065" y="360007"/>
                  <a:pt x="4127883" y="360007"/>
                </a:cubicBezTo>
                <a:close/>
                <a:moveTo>
                  <a:pt x="6202327" y="359592"/>
                </a:moveTo>
                <a:cubicBezTo>
                  <a:pt x="6196603" y="359592"/>
                  <a:pt x="6193741" y="362449"/>
                  <a:pt x="6193741" y="368161"/>
                </a:cubicBezTo>
                <a:cubicBezTo>
                  <a:pt x="6193741" y="368161"/>
                  <a:pt x="6193741" y="368161"/>
                  <a:pt x="6193741" y="780947"/>
                </a:cubicBezTo>
                <a:cubicBezTo>
                  <a:pt x="6193741" y="786722"/>
                  <a:pt x="6196603" y="789516"/>
                  <a:pt x="6202327" y="789516"/>
                </a:cubicBezTo>
                <a:cubicBezTo>
                  <a:pt x="6202327" y="789516"/>
                  <a:pt x="6202327" y="789516"/>
                  <a:pt x="6229950" y="789516"/>
                </a:cubicBezTo>
                <a:cubicBezTo>
                  <a:pt x="6235611" y="789516"/>
                  <a:pt x="6238473" y="786722"/>
                  <a:pt x="6238473" y="780947"/>
                </a:cubicBezTo>
                <a:cubicBezTo>
                  <a:pt x="6238473" y="780947"/>
                  <a:pt x="6238473" y="780947"/>
                  <a:pt x="6238473" y="368161"/>
                </a:cubicBezTo>
                <a:cubicBezTo>
                  <a:pt x="6238473" y="362449"/>
                  <a:pt x="6235611" y="359592"/>
                  <a:pt x="6229950" y="359592"/>
                </a:cubicBezTo>
                <a:cubicBezTo>
                  <a:pt x="6229950" y="359592"/>
                  <a:pt x="6229950" y="359592"/>
                  <a:pt x="6202327" y="359592"/>
                </a:cubicBezTo>
                <a:close/>
                <a:moveTo>
                  <a:pt x="4621517" y="359592"/>
                </a:moveTo>
                <a:cubicBezTo>
                  <a:pt x="4594181" y="359592"/>
                  <a:pt x="4573430" y="367354"/>
                  <a:pt x="4559079" y="382815"/>
                </a:cubicBezTo>
                <a:cubicBezTo>
                  <a:pt x="4544851" y="398337"/>
                  <a:pt x="4537707" y="420566"/>
                  <a:pt x="4537707" y="449501"/>
                </a:cubicBezTo>
                <a:cubicBezTo>
                  <a:pt x="4537707" y="449501"/>
                  <a:pt x="4537707" y="449501"/>
                  <a:pt x="4537707" y="472103"/>
                </a:cubicBezTo>
                <a:cubicBezTo>
                  <a:pt x="4537707" y="475766"/>
                  <a:pt x="4535657" y="477629"/>
                  <a:pt x="4531556" y="477629"/>
                </a:cubicBezTo>
                <a:cubicBezTo>
                  <a:pt x="4531556" y="477629"/>
                  <a:pt x="4531556" y="477629"/>
                  <a:pt x="4495460" y="477629"/>
                </a:cubicBezTo>
                <a:cubicBezTo>
                  <a:pt x="4489744" y="477629"/>
                  <a:pt x="4486887" y="480299"/>
                  <a:pt x="4486887" y="485577"/>
                </a:cubicBezTo>
                <a:cubicBezTo>
                  <a:pt x="4486887" y="485577"/>
                  <a:pt x="4486887" y="485577"/>
                  <a:pt x="4486887" y="508240"/>
                </a:cubicBezTo>
                <a:cubicBezTo>
                  <a:pt x="4486887" y="513952"/>
                  <a:pt x="4489744" y="516747"/>
                  <a:pt x="4495460" y="516747"/>
                </a:cubicBezTo>
                <a:cubicBezTo>
                  <a:pt x="4495460" y="516747"/>
                  <a:pt x="4495460" y="516747"/>
                  <a:pt x="4531556" y="516747"/>
                </a:cubicBezTo>
                <a:cubicBezTo>
                  <a:pt x="4535657" y="516747"/>
                  <a:pt x="4537707" y="518609"/>
                  <a:pt x="4537707" y="522273"/>
                </a:cubicBezTo>
                <a:cubicBezTo>
                  <a:pt x="4537707" y="522273"/>
                  <a:pt x="4537707" y="522273"/>
                  <a:pt x="4537707" y="780947"/>
                </a:cubicBezTo>
                <a:cubicBezTo>
                  <a:pt x="4537707" y="786722"/>
                  <a:pt x="4540565" y="789516"/>
                  <a:pt x="4546280" y="789516"/>
                </a:cubicBezTo>
                <a:cubicBezTo>
                  <a:pt x="4546280" y="789516"/>
                  <a:pt x="4546280" y="789516"/>
                  <a:pt x="4573182" y="789516"/>
                </a:cubicBezTo>
                <a:cubicBezTo>
                  <a:pt x="4579332" y="789516"/>
                  <a:pt x="4582377" y="786722"/>
                  <a:pt x="4582377" y="780947"/>
                </a:cubicBezTo>
                <a:cubicBezTo>
                  <a:pt x="4582377" y="780947"/>
                  <a:pt x="4582377" y="780947"/>
                  <a:pt x="4582377" y="522273"/>
                </a:cubicBezTo>
                <a:cubicBezTo>
                  <a:pt x="4582377" y="518609"/>
                  <a:pt x="4584178" y="516747"/>
                  <a:pt x="4587844" y="516747"/>
                </a:cubicBezTo>
                <a:cubicBezTo>
                  <a:pt x="4587844" y="516747"/>
                  <a:pt x="4587844" y="516747"/>
                  <a:pt x="4641709" y="516747"/>
                </a:cubicBezTo>
                <a:cubicBezTo>
                  <a:pt x="4647859" y="516747"/>
                  <a:pt x="4650904" y="513952"/>
                  <a:pt x="4650904" y="508240"/>
                </a:cubicBezTo>
                <a:cubicBezTo>
                  <a:pt x="4650904" y="508240"/>
                  <a:pt x="4650904" y="508240"/>
                  <a:pt x="4650904" y="485577"/>
                </a:cubicBezTo>
                <a:cubicBezTo>
                  <a:pt x="4650904" y="480299"/>
                  <a:pt x="4647859" y="477629"/>
                  <a:pt x="4641709" y="477629"/>
                </a:cubicBezTo>
                <a:cubicBezTo>
                  <a:pt x="4641709" y="477629"/>
                  <a:pt x="4641709" y="477629"/>
                  <a:pt x="4587844" y="477629"/>
                </a:cubicBezTo>
                <a:cubicBezTo>
                  <a:pt x="4584178" y="477629"/>
                  <a:pt x="4582377" y="475766"/>
                  <a:pt x="4582377" y="472103"/>
                </a:cubicBezTo>
                <a:cubicBezTo>
                  <a:pt x="4582377" y="472103"/>
                  <a:pt x="4582377" y="472103"/>
                  <a:pt x="4582377" y="451364"/>
                </a:cubicBezTo>
                <a:cubicBezTo>
                  <a:pt x="4582377" y="432985"/>
                  <a:pt x="4585607" y="419635"/>
                  <a:pt x="4592131" y="411253"/>
                </a:cubicBezTo>
                <a:cubicBezTo>
                  <a:pt x="4598716" y="402932"/>
                  <a:pt x="4610334" y="398710"/>
                  <a:pt x="4627047" y="398710"/>
                </a:cubicBezTo>
                <a:cubicBezTo>
                  <a:pt x="4627047" y="398710"/>
                  <a:pt x="4627047" y="398710"/>
                  <a:pt x="4642330" y="398710"/>
                </a:cubicBezTo>
                <a:cubicBezTo>
                  <a:pt x="4648046" y="398710"/>
                  <a:pt x="4650904" y="395916"/>
                  <a:pt x="4650904" y="390204"/>
                </a:cubicBezTo>
                <a:cubicBezTo>
                  <a:pt x="4650904" y="390204"/>
                  <a:pt x="4650904" y="390204"/>
                  <a:pt x="4650904" y="367540"/>
                </a:cubicBezTo>
                <a:cubicBezTo>
                  <a:pt x="4650904" y="362262"/>
                  <a:pt x="4648046" y="359592"/>
                  <a:pt x="4642330" y="359592"/>
                </a:cubicBezTo>
                <a:cubicBezTo>
                  <a:pt x="4642330" y="359592"/>
                  <a:pt x="4642330" y="359592"/>
                  <a:pt x="4621517" y="359592"/>
                </a:cubicBezTo>
                <a:close/>
                <a:moveTo>
                  <a:pt x="0" y="0"/>
                </a:moveTo>
                <a:lnTo>
                  <a:pt x="6780746" y="0"/>
                </a:lnTo>
                <a:lnTo>
                  <a:pt x="678074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848CD37-5DDF-433E-940A-C941E7BF2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2"/>
            <a:ext cx="9123457" cy="6857999"/>
          </a:xfrm>
          <a:custGeom>
            <a:avLst/>
            <a:gdLst>
              <a:gd name="connsiteX0" fmla="*/ 0 w 9122269"/>
              <a:gd name="connsiteY0" fmla="*/ 0 h 6857999"/>
              <a:gd name="connsiteX1" fmla="*/ 4897399 w 9122269"/>
              <a:gd name="connsiteY1" fmla="*/ 0 h 6857999"/>
              <a:gd name="connsiteX2" fmla="*/ 6666614 w 9122269"/>
              <a:gd name="connsiteY2" fmla="*/ 0 h 6857999"/>
              <a:gd name="connsiteX3" fmla="*/ 7228167 w 9122269"/>
              <a:gd name="connsiteY3" fmla="*/ 0 h 6857999"/>
              <a:gd name="connsiteX4" fmla="*/ 7316687 w 9122269"/>
              <a:gd name="connsiteY4" fmla="*/ 157200 h 6857999"/>
              <a:gd name="connsiteX5" fmla="*/ 9050394 w 9122269"/>
              <a:gd name="connsiteY5" fmla="*/ 3236060 h 6857999"/>
              <a:gd name="connsiteX6" fmla="*/ 9050394 w 9122269"/>
              <a:gd name="connsiteY6" fmla="*/ 3760430 h 6857999"/>
              <a:gd name="connsiteX7" fmla="*/ 7334311 w 9122269"/>
              <a:gd name="connsiteY7" fmla="*/ 6773816 h 6857999"/>
              <a:gd name="connsiteX8" fmla="*/ 7286370 w 9122269"/>
              <a:gd name="connsiteY8" fmla="*/ 6857999 h 6857999"/>
              <a:gd name="connsiteX9" fmla="*/ 1766949 w 9122269"/>
              <a:gd name="connsiteY9" fmla="*/ 6857999 h 6857999"/>
              <a:gd name="connsiteX10" fmla="*/ 1766949 w 9122269"/>
              <a:gd name="connsiteY10" fmla="*/ 6857998 h 6857999"/>
              <a:gd name="connsiteX11" fmla="*/ 0 w 9122269"/>
              <a:gd name="connsiteY11" fmla="*/ 685799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22269" h="6857999">
                <a:moveTo>
                  <a:pt x="0" y="0"/>
                </a:moveTo>
                <a:lnTo>
                  <a:pt x="4897399" y="0"/>
                </a:lnTo>
                <a:lnTo>
                  <a:pt x="6666614" y="0"/>
                </a:lnTo>
                <a:lnTo>
                  <a:pt x="7228167" y="0"/>
                </a:lnTo>
                <a:lnTo>
                  <a:pt x="7316687" y="157200"/>
                </a:lnTo>
                <a:cubicBezTo>
                  <a:pt x="9050394" y="3236060"/>
                  <a:pt x="9050394" y="3236060"/>
                  <a:pt x="9050394" y="3236060"/>
                </a:cubicBezTo>
                <a:cubicBezTo>
                  <a:pt x="9146228" y="3415943"/>
                  <a:pt x="9146228" y="3590964"/>
                  <a:pt x="9050394" y="3760430"/>
                </a:cubicBezTo>
                <a:cubicBezTo>
                  <a:pt x="8104100" y="5422093"/>
                  <a:pt x="7601381" y="6304851"/>
                  <a:pt x="7334311" y="6773816"/>
                </a:cubicBezTo>
                <a:lnTo>
                  <a:pt x="7286370" y="6857999"/>
                </a:lnTo>
                <a:lnTo>
                  <a:pt x="1766949" y="6857999"/>
                </a:lnTo>
                <a:lnTo>
                  <a:pt x="1766949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smtClean="0">
                <a:solidFill>
                  <a:schemeClr val="tx1">
                    <a:alpha val="0"/>
                  </a:schemeClr>
                </a:solidFill>
              </a:defRPr>
            </a:lvl1pPr>
            <a:lvl2pPr marL="187200" indent="0">
              <a:buNone/>
              <a:defRPr lang="de-DE" smtClean="0">
                <a:solidFill>
                  <a:schemeClr val="tx1"/>
                </a:solidFill>
              </a:defRPr>
            </a:lvl2pPr>
            <a:lvl3pPr marL="644400" indent="0">
              <a:buNone/>
              <a:defRPr lang="de-DE" sz="1800" smtClean="0">
                <a:solidFill>
                  <a:schemeClr val="tx1"/>
                </a:solidFill>
              </a:defRPr>
            </a:lvl3pPr>
            <a:lvl4pPr marL="1101600" indent="0">
              <a:buNone/>
              <a:defRPr lang="de-DE" sz="1800" smtClean="0">
                <a:solidFill>
                  <a:schemeClr val="tx1"/>
                </a:solidFill>
              </a:defRPr>
            </a:lvl4pPr>
            <a:lvl5pPr marL="1558800" indent="0">
              <a:buNone/>
              <a:defRPr lang="de-DE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4D1755F3-E269-4431-935E-E9F10CB1BB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" y="-2"/>
            <a:ext cx="8260406" cy="6858000"/>
          </a:xfrm>
          <a:custGeom>
            <a:avLst/>
            <a:gdLst>
              <a:gd name="connsiteX0" fmla="*/ 0 w 8259331"/>
              <a:gd name="connsiteY0" fmla="*/ 0 h 6858000"/>
              <a:gd name="connsiteX1" fmla="*/ 6134986 w 8259331"/>
              <a:gd name="connsiteY1" fmla="*/ 0 h 6858000"/>
              <a:gd name="connsiteX2" fmla="*/ 6134986 w 8259331"/>
              <a:gd name="connsiteY2" fmla="*/ 1 h 6858000"/>
              <a:gd name="connsiteX3" fmla="*/ 6365229 w 8259331"/>
              <a:gd name="connsiteY3" fmla="*/ 1 h 6858000"/>
              <a:gd name="connsiteX4" fmla="*/ 6453749 w 8259331"/>
              <a:gd name="connsiteY4" fmla="*/ 157201 h 6858000"/>
              <a:gd name="connsiteX5" fmla="*/ 8187456 w 8259331"/>
              <a:gd name="connsiteY5" fmla="*/ 3236061 h 6858000"/>
              <a:gd name="connsiteX6" fmla="*/ 8187456 w 8259331"/>
              <a:gd name="connsiteY6" fmla="*/ 3760431 h 6858000"/>
              <a:gd name="connsiteX7" fmla="*/ 6471373 w 8259331"/>
              <a:gd name="connsiteY7" fmla="*/ 6773817 h 6858000"/>
              <a:gd name="connsiteX8" fmla="*/ 6423432 w 8259331"/>
              <a:gd name="connsiteY8" fmla="*/ 6858000 h 6858000"/>
              <a:gd name="connsiteX9" fmla="*/ 904011 w 8259331"/>
              <a:gd name="connsiteY9" fmla="*/ 6858000 h 6858000"/>
              <a:gd name="connsiteX10" fmla="*/ 904011 w 8259331"/>
              <a:gd name="connsiteY10" fmla="*/ 6857999 h 6858000"/>
              <a:gd name="connsiteX11" fmla="*/ 0 w 8259331"/>
              <a:gd name="connsiteY11" fmla="*/ 68579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59331" h="6858000">
                <a:moveTo>
                  <a:pt x="0" y="0"/>
                </a:moveTo>
                <a:lnTo>
                  <a:pt x="6134986" y="0"/>
                </a:lnTo>
                <a:lnTo>
                  <a:pt x="6134986" y="1"/>
                </a:lnTo>
                <a:lnTo>
                  <a:pt x="6365229" y="1"/>
                </a:lnTo>
                <a:lnTo>
                  <a:pt x="6453749" y="157201"/>
                </a:lnTo>
                <a:cubicBezTo>
                  <a:pt x="8187456" y="3236061"/>
                  <a:pt x="8187456" y="3236061"/>
                  <a:pt x="8187456" y="3236061"/>
                </a:cubicBezTo>
                <a:cubicBezTo>
                  <a:pt x="8283290" y="3415944"/>
                  <a:pt x="8283290" y="3590965"/>
                  <a:pt x="8187456" y="3760431"/>
                </a:cubicBezTo>
                <a:cubicBezTo>
                  <a:pt x="7241162" y="5422094"/>
                  <a:pt x="6738443" y="6304852"/>
                  <a:pt x="6471373" y="6773817"/>
                </a:cubicBezTo>
                <a:lnTo>
                  <a:pt x="6423432" y="6858000"/>
                </a:lnTo>
                <a:lnTo>
                  <a:pt x="904011" y="6858000"/>
                </a:lnTo>
                <a:lnTo>
                  <a:pt x="904011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2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C3EA40BE-55BB-4E2B-80C4-A5FFBF620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-1"/>
            <a:ext cx="7720499" cy="6858000"/>
          </a:xfrm>
          <a:custGeom>
            <a:avLst/>
            <a:gdLst>
              <a:gd name="connsiteX0" fmla="*/ 0 w 7719494"/>
              <a:gd name="connsiteY0" fmla="*/ 0 h 6858000"/>
              <a:gd name="connsiteX1" fmla="*/ 3494624 w 7719494"/>
              <a:gd name="connsiteY1" fmla="*/ 0 h 6858000"/>
              <a:gd name="connsiteX2" fmla="*/ 5677786 w 7719494"/>
              <a:gd name="connsiteY2" fmla="*/ 0 h 6858000"/>
              <a:gd name="connsiteX3" fmla="*/ 5825392 w 7719494"/>
              <a:gd name="connsiteY3" fmla="*/ 0 h 6858000"/>
              <a:gd name="connsiteX4" fmla="*/ 5913912 w 7719494"/>
              <a:gd name="connsiteY4" fmla="*/ 157200 h 6858000"/>
              <a:gd name="connsiteX5" fmla="*/ 7647619 w 7719494"/>
              <a:gd name="connsiteY5" fmla="*/ 3236060 h 6858000"/>
              <a:gd name="connsiteX6" fmla="*/ 7647619 w 7719494"/>
              <a:gd name="connsiteY6" fmla="*/ 3760430 h 6858000"/>
              <a:gd name="connsiteX7" fmla="*/ 5931536 w 7719494"/>
              <a:gd name="connsiteY7" fmla="*/ 6773816 h 6858000"/>
              <a:gd name="connsiteX8" fmla="*/ 5883595 w 7719494"/>
              <a:gd name="connsiteY8" fmla="*/ 6857999 h 6858000"/>
              <a:gd name="connsiteX9" fmla="*/ 5677786 w 7719494"/>
              <a:gd name="connsiteY9" fmla="*/ 6857999 h 6858000"/>
              <a:gd name="connsiteX10" fmla="*/ 5677786 w 7719494"/>
              <a:gd name="connsiteY10" fmla="*/ 6858000 h 6858000"/>
              <a:gd name="connsiteX11" fmla="*/ 0 w 7719494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19494" h="6858000">
                <a:moveTo>
                  <a:pt x="0" y="0"/>
                </a:moveTo>
                <a:lnTo>
                  <a:pt x="3494624" y="0"/>
                </a:lnTo>
                <a:lnTo>
                  <a:pt x="5677786" y="0"/>
                </a:lnTo>
                <a:lnTo>
                  <a:pt x="5825392" y="0"/>
                </a:lnTo>
                <a:lnTo>
                  <a:pt x="5913912" y="157200"/>
                </a:lnTo>
                <a:cubicBezTo>
                  <a:pt x="7647619" y="3236060"/>
                  <a:pt x="7647619" y="3236060"/>
                  <a:pt x="7647619" y="3236060"/>
                </a:cubicBezTo>
                <a:cubicBezTo>
                  <a:pt x="7743453" y="3415943"/>
                  <a:pt x="7743453" y="3590964"/>
                  <a:pt x="7647619" y="3760430"/>
                </a:cubicBezTo>
                <a:cubicBezTo>
                  <a:pt x="6701325" y="5422093"/>
                  <a:pt x="6198606" y="6304851"/>
                  <a:pt x="5931536" y="6773816"/>
                </a:cubicBezTo>
                <a:lnTo>
                  <a:pt x="5883595" y="6857999"/>
                </a:lnTo>
                <a:lnTo>
                  <a:pt x="5677786" y="6857999"/>
                </a:lnTo>
                <a:lnTo>
                  <a:pt x="567778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63015C46-8F9E-4019-9AB5-AD94F5C0143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0" y="1"/>
            <a:ext cx="7356278" cy="6857999"/>
          </a:xfrm>
          <a:custGeom>
            <a:avLst/>
            <a:gdLst>
              <a:gd name="connsiteX0" fmla="*/ 3130450 w 7355320"/>
              <a:gd name="connsiteY0" fmla="*/ 0 h 6857999"/>
              <a:gd name="connsiteX1" fmla="*/ 5461218 w 7355320"/>
              <a:gd name="connsiteY1" fmla="*/ 0 h 6857999"/>
              <a:gd name="connsiteX2" fmla="*/ 5549738 w 7355320"/>
              <a:gd name="connsiteY2" fmla="*/ 157200 h 6857999"/>
              <a:gd name="connsiteX3" fmla="*/ 7283445 w 7355320"/>
              <a:gd name="connsiteY3" fmla="*/ 3236060 h 6857999"/>
              <a:gd name="connsiteX4" fmla="*/ 7283445 w 7355320"/>
              <a:gd name="connsiteY4" fmla="*/ 3760430 h 6857999"/>
              <a:gd name="connsiteX5" fmla="*/ 5567362 w 7355320"/>
              <a:gd name="connsiteY5" fmla="*/ 6773816 h 6857999"/>
              <a:gd name="connsiteX6" fmla="*/ 5519421 w 7355320"/>
              <a:gd name="connsiteY6" fmla="*/ 6857999 h 6857999"/>
              <a:gd name="connsiteX7" fmla="*/ 0 w 7355320"/>
              <a:gd name="connsiteY7" fmla="*/ 6857999 h 6857999"/>
              <a:gd name="connsiteX8" fmla="*/ 0 w 7355320"/>
              <a:gd name="connsiteY8" fmla="*/ 1 h 6857999"/>
              <a:gd name="connsiteX9" fmla="*/ 3130450 w 7355320"/>
              <a:gd name="connsiteY9" fmla="*/ 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55320" h="6857999">
                <a:moveTo>
                  <a:pt x="3130450" y="0"/>
                </a:moveTo>
                <a:lnTo>
                  <a:pt x="5461218" y="0"/>
                </a:lnTo>
                <a:lnTo>
                  <a:pt x="5549738" y="157200"/>
                </a:lnTo>
                <a:cubicBezTo>
                  <a:pt x="7283445" y="3236060"/>
                  <a:pt x="7283445" y="3236060"/>
                  <a:pt x="7283445" y="3236060"/>
                </a:cubicBezTo>
                <a:cubicBezTo>
                  <a:pt x="7379279" y="3415943"/>
                  <a:pt x="7379279" y="3590964"/>
                  <a:pt x="7283445" y="3760430"/>
                </a:cubicBezTo>
                <a:cubicBezTo>
                  <a:pt x="6337151" y="5422093"/>
                  <a:pt x="5834432" y="6304851"/>
                  <a:pt x="5567362" y="6773816"/>
                </a:cubicBezTo>
                <a:lnTo>
                  <a:pt x="5519421" y="6857999"/>
                </a:lnTo>
                <a:lnTo>
                  <a:pt x="0" y="6857999"/>
                </a:lnTo>
                <a:lnTo>
                  <a:pt x="0" y="1"/>
                </a:lnTo>
                <a:lnTo>
                  <a:pt x="313045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540000" rIns="864000" bIns="3146400" anchor="b">
            <a:noAutofit/>
          </a:bodyPr>
          <a:lstStyle>
            <a:lvl1pPr>
              <a:lnSpc>
                <a:spcPct val="10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 – mit Foto</a:t>
            </a:r>
          </a:p>
        </p:txBody>
      </p:sp>
      <p:sp>
        <p:nvSpPr>
          <p:cNvPr id="157" name="Textplatzhalter 156">
            <a:extLst>
              <a:ext uri="{FF2B5EF4-FFF2-40B4-BE49-F238E27FC236}">
                <a16:creationId xmlns:a16="http://schemas.microsoft.com/office/drawing/2014/main" id="{70B58961-16D4-46C7-9C13-A783C42268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42997" y="4080991"/>
            <a:ext cx="5767185" cy="615553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x Mustermann  |  Organisationseinheit XYZ</a:t>
            </a:r>
          </a:p>
          <a:p>
            <a:pPr lvl="0"/>
            <a:r>
              <a:rPr lang="de-DE"/>
              <a:t>xx.xx.2020, Ort</a:t>
            </a:r>
          </a:p>
        </p:txBody>
      </p:sp>
    </p:spTree>
    <p:extLst>
      <p:ext uri="{BB962C8B-B14F-4D97-AF65-F5344CB8AC3E}">
        <p14:creationId xmlns:p14="http://schemas.microsoft.com/office/powerpoint/2010/main" val="65903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rün-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940BC4C-F4A3-4E12-BC8F-CBF3D8C0B1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3774" y="6264638"/>
            <a:ext cx="385230" cy="360000"/>
          </a:xfrm>
        </p:spPr>
        <p:txBody>
          <a:bodyPr/>
          <a:lstStyle>
            <a:lvl1pPr>
              <a:defRPr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6D02548-B012-465D-97A4-D547D95637A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848CD37-5DDF-433E-940A-C941E7BF2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2"/>
            <a:ext cx="9123457" cy="6857999"/>
          </a:xfrm>
          <a:custGeom>
            <a:avLst/>
            <a:gdLst>
              <a:gd name="connsiteX0" fmla="*/ 0 w 9122269"/>
              <a:gd name="connsiteY0" fmla="*/ 0 h 6857999"/>
              <a:gd name="connsiteX1" fmla="*/ 4897399 w 9122269"/>
              <a:gd name="connsiteY1" fmla="*/ 0 h 6857999"/>
              <a:gd name="connsiteX2" fmla="*/ 6666614 w 9122269"/>
              <a:gd name="connsiteY2" fmla="*/ 0 h 6857999"/>
              <a:gd name="connsiteX3" fmla="*/ 7228167 w 9122269"/>
              <a:gd name="connsiteY3" fmla="*/ 0 h 6857999"/>
              <a:gd name="connsiteX4" fmla="*/ 7316687 w 9122269"/>
              <a:gd name="connsiteY4" fmla="*/ 157200 h 6857999"/>
              <a:gd name="connsiteX5" fmla="*/ 9050394 w 9122269"/>
              <a:gd name="connsiteY5" fmla="*/ 3236060 h 6857999"/>
              <a:gd name="connsiteX6" fmla="*/ 9050394 w 9122269"/>
              <a:gd name="connsiteY6" fmla="*/ 3760430 h 6857999"/>
              <a:gd name="connsiteX7" fmla="*/ 7334311 w 9122269"/>
              <a:gd name="connsiteY7" fmla="*/ 6773816 h 6857999"/>
              <a:gd name="connsiteX8" fmla="*/ 7286370 w 9122269"/>
              <a:gd name="connsiteY8" fmla="*/ 6857999 h 6857999"/>
              <a:gd name="connsiteX9" fmla="*/ 1766949 w 9122269"/>
              <a:gd name="connsiteY9" fmla="*/ 6857999 h 6857999"/>
              <a:gd name="connsiteX10" fmla="*/ 1766949 w 9122269"/>
              <a:gd name="connsiteY10" fmla="*/ 6857998 h 6857999"/>
              <a:gd name="connsiteX11" fmla="*/ 0 w 9122269"/>
              <a:gd name="connsiteY11" fmla="*/ 685799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22269" h="6857999">
                <a:moveTo>
                  <a:pt x="0" y="0"/>
                </a:moveTo>
                <a:lnTo>
                  <a:pt x="4897399" y="0"/>
                </a:lnTo>
                <a:lnTo>
                  <a:pt x="6666614" y="0"/>
                </a:lnTo>
                <a:lnTo>
                  <a:pt x="7228167" y="0"/>
                </a:lnTo>
                <a:lnTo>
                  <a:pt x="7316687" y="157200"/>
                </a:lnTo>
                <a:cubicBezTo>
                  <a:pt x="9050394" y="3236060"/>
                  <a:pt x="9050394" y="3236060"/>
                  <a:pt x="9050394" y="3236060"/>
                </a:cubicBezTo>
                <a:cubicBezTo>
                  <a:pt x="9146228" y="3415943"/>
                  <a:pt x="9146228" y="3590964"/>
                  <a:pt x="9050394" y="3760430"/>
                </a:cubicBezTo>
                <a:cubicBezTo>
                  <a:pt x="8104100" y="5422093"/>
                  <a:pt x="7601381" y="6304851"/>
                  <a:pt x="7334311" y="6773816"/>
                </a:cubicBezTo>
                <a:lnTo>
                  <a:pt x="7286370" y="6857999"/>
                </a:lnTo>
                <a:lnTo>
                  <a:pt x="1766949" y="6857999"/>
                </a:lnTo>
                <a:lnTo>
                  <a:pt x="1766949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6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smtClean="0">
                <a:solidFill>
                  <a:schemeClr val="tx1">
                    <a:alpha val="0"/>
                  </a:schemeClr>
                </a:solidFill>
              </a:defRPr>
            </a:lvl1pPr>
            <a:lvl2pPr marL="187200" indent="0">
              <a:buNone/>
              <a:defRPr lang="de-DE" smtClean="0">
                <a:solidFill>
                  <a:schemeClr val="tx1"/>
                </a:solidFill>
              </a:defRPr>
            </a:lvl2pPr>
            <a:lvl3pPr marL="644400" indent="0">
              <a:buNone/>
              <a:defRPr lang="de-DE" sz="1800" smtClean="0">
                <a:solidFill>
                  <a:schemeClr val="tx1"/>
                </a:solidFill>
              </a:defRPr>
            </a:lvl3pPr>
            <a:lvl4pPr marL="1101600" indent="0">
              <a:buNone/>
              <a:defRPr lang="de-DE" sz="1800" smtClean="0">
                <a:solidFill>
                  <a:schemeClr val="tx1"/>
                </a:solidFill>
              </a:defRPr>
            </a:lvl4pPr>
            <a:lvl5pPr marL="1558800" indent="0">
              <a:buNone/>
              <a:defRPr lang="de-DE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4D1755F3-E269-4431-935E-E9F10CB1BB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" y="-2"/>
            <a:ext cx="8260406" cy="6858000"/>
          </a:xfrm>
          <a:custGeom>
            <a:avLst/>
            <a:gdLst>
              <a:gd name="connsiteX0" fmla="*/ 0 w 8259331"/>
              <a:gd name="connsiteY0" fmla="*/ 0 h 6858000"/>
              <a:gd name="connsiteX1" fmla="*/ 6134986 w 8259331"/>
              <a:gd name="connsiteY1" fmla="*/ 0 h 6858000"/>
              <a:gd name="connsiteX2" fmla="*/ 6134986 w 8259331"/>
              <a:gd name="connsiteY2" fmla="*/ 1 h 6858000"/>
              <a:gd name="connsiteX3" fmla="*/ 6365229 w 8259331"/>
              <a:gd name="connsiteY3" fmla="*/ 1 h 6858000"/>
              <a:gd name="connsiteX4" fmla="*/ 6453749 w 8259331"/>
              <a:gd name="connsiteY4" fmla="*/ 157201 h 6858000"/>
              <a:gd name="connsiteX5" fmla="*/ 8187456 w 8259331"/>
              <a:gd name="connsiteY5" fmla="*/ 3236061 h 6858000"/>
              <a:gd name="connsiteX6" fmla="*/ 8187456 w 8259331"/>
              <a:gd name="connsiteY6" fmla="*/ 3760431 h 6858000"/>
              <a:gd name="connsiteX7" fmla="*/ 6471373 w 8259331"/>
              <a:gd name="connsiteY7" fmla="*/ 6773817 h 6858000"/>
              <a:gd name="connsiteX8" fmla="*/ 6423432 w 8259331"/>
              <a:gd name="connsiteY8" fmla="*/ 6858000 h 6858000"/>
              <a:gd name="connsiteX9" fmla="*/ 904011 w 8259331"/>
              <a:gd name="connsiteY9" fmla="*/ 6858000 h 6858000"/>
              <a:gd name="connsiteX10" fmla="*/ 904011 w 8259331"/>
              <a:gd name="connsiteY10" fmla="*/ 6857999 h 6858000"/>
              <a:gd name="connsiteX11" fmla="*/ 0 w 8259331"/>
              <a:gd name="connsiteY11" fmla="*/ 68579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59331" h="6858000">
                <a:moveTo>
                  <a:pt x="0" y="0"/>
                </a:moveTo>
                <a:lnTo>
                  <a:pt x="6134986" y="0"/>
                </a:lnTo>
                <a:lnTo>
                  <a:pt x="6134986" y="1"/>
                </a:lnTo>
                <a:lnTo>
                  <a:pt x="6365229" y="1"/>
                </a:lnTo>
                <a:lnTo>
                  <a:pt x="6453749" y="157201"/>
                </a:lnTo>
                <a:cubicBezTo>
                  <a:pt x="8187456" y="3236061"/>
                  <a:pt x="8187456" y="3236061"/>
                  <a:pt x="8187456" y="3236061"/>
                </a:cubicBezTo>
                <a:cubicBezTo>
                  <a:pt x="8283290" y="3415944"/>
                  <a:pt x="8283290" y="3590965"/>
                  <a:pt x="8187456" y="3760431"/>
                </a:cubicBezTo>
                <a:cubicBezTo>
                  <a:pt x="7241162" y="5422094"/>
                  <a:pt x="6738443" y="6304852"/>
                  <a:pt x="6471373" y="6773817"/>
                </a:cubicBezTo>
                <a:lnTo>
                  <a:pt x="6423432" y="6858000"/>
                </a:lnTo>
                <a:lnTo>
                  <a:pt x="904011" y="6858000"/>
                </a:lnTo>
                <a:lnTo>
                  <a:pt x="904011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2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C3EA40BE-55BB-4E2B-80C4-A5FFBF620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-1"/>
            <a:ext cx="7720499" cy="6858000"/>
          </a:xfrm>
          <a:custGeom>
            <a:avLst/>
            <a:gdLst>
              <a:gd name="connsiteX0" fmla="*/ 0 w 7719494"/>
              <a:gd name="connsiteY0" fmla="*/ 0 h 6858000"/>
              <a:gd name="connsiteX1" fmla="*/ 3494624 w 7719494"/>
              <a:gd name="connsiteY1" fmla="*/ 0 h 6858000"/>
              <a:gd name="connsiteX2" fmla="*/ 5677786 w 7719494"/>
              <a:gd name="connsiteY2" fmla="*/ 0 h 6858000"/>
              <a:gd name="connsiteX3" fmla="*/ 5825392 w 7719494"/>
              <a:gd name="connsiteY3" fmla="*/ 0 h 6858000"/>
              <a:gd name="connsiteX4" fmla="*/ 5913912 w 7719494"/>
              <a:gd name="connsiteY4" fmla="*/ 157200 h 6858000"/>
              <a:gd name="connsiteX5" fmla="*/ 7647619 w 7719494"/>
              <a:gd name="connsiteY5" fmla="*/ 3236060 h 6858000"/>
              <a:gd name="connsiteX6" fmla="*/ 7647619 w 7719494"/>
              <a:gd name="connsiteY6" fmla="*/ 3760430 h 6858000"/>
              <a:gd name="connsiteX7" fmla="*/ 5931536 w 7719494"/>
              <a:gd name="connsiteY7" fmla="*/ 6773816 h 6858000"/>
              <a:gd name="connsiteX8" fmla="*/ 5883595 w 7719494"/>
              <a:gd name="connsiteY8" fmla="*/ 6857999 h 6858000"/>
              <a:gd name="connsiteX9" fmla="*/ 5677786 w 7719494"/>
              <a:gd name="connsiteY9" fmla="*/ 6857999 h 6858000"/>
              <a:gd name="connsiteX10" fmla="*/ 5677786 w 7719494"/>
              <a:gd name="connsiteY10" fmla="*/ 6858000 h 6858000"/>
              <a:gd name="connsiteX11" fmla="*/ 0 w 7719494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19494" h="6858000">
                <a:moveTo>
                  <a:pt x="0" y="0"/>
                </a:moveTo>
                <a:lnTo>
                  <a:pt x="3494624" y="0"/>
                </a:lnTo>
                <a:lnTo>
                  <a:pt x="5677786" y="0"/>
                </a:lnTo>
                <a:lnTo>
                  <a:pt x="5825392" y="0"/>
                </a:lnTo>
                <a:lnTo>
                  <a:pt x="5913912" y="157200"/>
                </a:lnTo>
                <a:cubicBezTo>
                  <a:pt x="7647619" y="3236060"/>
                  <a:pt x="7647619" y="3236060"/>
                  <a:pt x="7647619" y="3236060"/>
                </a:cubicBezTo>
                <a:cubicBezTo>
                  <a:pt x="7743453" y="3415943"/>
                  <a:pt x="7743453" y="3590964"/>
                  <a:pt x="7647619" y="3760430"/>
                </a:cubicBezTo>
                <a:cubicBezTo>
                  <a:pt x="6701325" y="5422093"/>
                  <a:pt x="6198606" y="6304851"/>
                  <a:pt x="5931536" y="6773816"/>
                </a:cubicBezTo>
                <a:lnTo>
                  <a:pt x="5883595" y="6857999"/>
                </a:lnTo>
                <a:lnTo>
                  <a:pt x="5677786" y="6857999"/>
                </a:lnTo>
                <a:lnTo>
                  <a:pt x="567778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63015C46-8F9E-4019-9AB5-AD94F5C0143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0" y="1"/>
            <a:ext cx="7356278" cy="6857999"/>
          </a:xfrm>
          <a:custGeom>
            <a:avLst/>
            <a:gdLst>
              <a:gd name="connsiteX0" fmla="*/ 3130450 w 7355320"/>
              <a:gd name="connsiteY0" fmla="*/ 0 h 6857999"/>
              <a:gd name="connsiteX1" fmla="*/ 5461218 w 7355320"/>
              <a:gd name="connsiteY1" fmla="*/ 0 h 6857999"/>
              <a:gd name="connsiteX2" fmla="*/ 5549738 w 7355320"/>
              <a:gd name="connsiteY2" fmla="*/ 157200 h 6857999"/>
              <a:gd name="connsiteX3" fmla="*/ 7283445 w 7355320"/>
              <a:gd name="connsiteY3" fmla="*/ 3236060 h 6857999"/>
              <a:gd name="connsiteX4" fmla="*/ 7283445 w 7355320"/>
              <a:gd name="connsiteY4" fmla="*/ 3760430 h 6857999"/>
              <a:gd name="connsiteX5" fmla="*/ 5567362 w 7355320"/>
              <a:gd name="connsiteY5" fmla="*/ 6773816 h 6857999"/>
              <a:gd name="connsiteX6" fmla="*/ 5519421 w 7355320"/>
              <a:gd name="connsiteY6" fmla="*/ 6857999 h 6857999"/>
              <a:gd name="connsiteX7" fmla="*/ 0 w 7355320"/>
              <a:gd name="connsiteY7" fmla="*/ 6857999 h 6857999"/>
              <a:gd name="connsiteX8" fmla="*/ 0 w 7355320"/>
              <a:gd name="connsiteY8" fmla="*/ 1 h 6857999"/>
              <a:gd name="connsiteX9" fmla="*/ 3130450 w 7355320"/>
              <a:gd name="connsiteY9" fmla="*/ 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55320" h="6857999">
                <a:moveTo>
                  <a:pt x="3130450" y="0"/>
                </a:moveTo>
                <a:lnTo>
                  <a:pt x="5461218" y="0"/>
                </a:lnTo>
                <a:lnTo>
                  <a:pt x="5549738" y="157200"/>
                </a:lnTo>
                <a:cubicBezTo>
                  <a:pt x="7283445" y="3236060"/>
                  <a:pt x="7283445" y="3236060"/>
                  <a:pt x="7283445" y="3236060"/>
                </a:cubicBezTo>
                <a:cubicBezTo>
                  <a:pt x="7379279" y="3415943"/>
                  <a:pt x="7379279" y="3590964"/>
                  <a:pt x="7283445" y="3760430"/>
                </a:cubicBezTo>
                <a:cubicBezTo>
                  <a:pt x="6337151" y="5422093"/>
                  <a:pt x="5834432" y="6304851"/>
                  <a:pt x="5567362" y="6773816"/>
                </a:cubicBezTo>
                <a:lnTo>
                  <a:pt x="5519421" y="6857999"/>
                </a:lnTo>
                <a:lnTo>
                  <a:pt x="0" y="6857999"/>
                </a:lnTo>
                <a:lnTo>
                  <a:pt x="0" y="1"/>
                </a:lnTo>
                <a:lnTo>
                  <a:pt x="3130450" y="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540000" rIns="864000" bIns="3146400" anchor="b">
            <a:noAutofit/>
          </a:bodyPr>
          <a:lstStyle>
            <a:lvl1pPr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 – mit Foto</a:t>
            </a:r>
          </a:p>
        </p:txBody>
      </p:sp>
      <p:sp>
        <p:nvSpPr>
          <p:cNvPr id="157" name="Textplatzhalter 156">
            <a:extLst>
              <a:ext uri="{FF2B5EF4-FFF2-40B4-BE49-F238E27FC236}">
                <a16:creationId xmlns:a16="http://schemas.microsoft.com/office/drawing/2014/main" id="{70B58961-16D4-46C7-9C13-A783C42268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42997" y="4080991"/>
            <a:ext cx="5767185" cy="615553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x Mustermann  |  Organisationseinheit XYZ</a:t>
            </a:r>
          </a:p>
          <a:p>
            <a:pPr lvl="0"/>
            <a:r>
              <a:rPr lang="de-DE"/>
              <a:t>xx.xx.2020, Ort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48FD608-4BD0-4910-BABA-2FAE4F6CC663}"/>
              </a:ext>
            </a:extLst>
          </p:cNvPr>
          <p:cNvGrpSpPr/>
          <p:nvPr userDrawn="1"/>
        </p:nvGrpSpPr>
        <p:grpSpPr>
          <a:xfrm>
            <a:off x="8646842" y="359593"/>
            <a:ext cx="3180937" cy="701629"/>
            <a:chOff x="-7418388" y="2211388"/>
            <a:chExt cx="12190413" cy="2689226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5238FAE1-0BA5-47C5-BFE3-ECBE4716C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7418388" y="2657475"/>
              <a:ext cx="2789391" cy="1589088"/>
            </a:xfrm>
            <a:custGeom>
              <a:avLst/>
              <a:gdLst>
                <a:gd name="connsiteX0" fmla="*/ 434334 w 2789391"/>
                <a:gd name="connsiteY0" fmla="*/ 258762 h 1589088"/>
                <a:gd name="connsiteX1" fmla="*/ 329041 w 2789391"/>
                <a:gd name="connsiteY1" fmla="*/ 290413 h 1589088"/>
                <a:gd name="connsiteX2" fmla="*/ 298450 w 2789391"/>
                <a:gd name="connsiteY2" fmla="*/ 397501 h 1589088"/>
                <a:gd name="connsiteX3" fmla="*/ 298450 w 2789391"/>
                <a:gd name="connsiteY3" fmla="*/ 747562 h 1589088"/>
                <a:gd name="connsiteX4" fmla="*/ 329041 w 2789391"/>
                <a:gd name="connsiteY4" fmla="*/ 853223 h 1589088"/>
                <a:gd name="connsiteX5" fmla="*/ 434334 w 2789391"/>
                <a:gd name="connsiteY5" fmla="*/ 883921 h 1589088"/>
                <a:gd name="connsiteX6" fmla="*/ 520892 w 2789391"/>
                <a:gd name="connsiteY6" fmla="*/ 883921 h 1589088"/>
                <a:gd name="connsiteX7" fmla="*/ 643022 w 2789391"/>
                <a:gd name="connsiteY7" fmla="*/ 885349 h 1589088"/>
                <a:gd name="connsiteX8" fmla="*/ 682625 w 2789391"/>
                <a:gd name="connsiteY8" fmla="*/ 846559 h 1589088"/>
                <a:gd name="connsiteX9" fmla="*/ 682625 w 2789391"/>
                <a:gd name="connsiteY9" fmla="*/ 284701 h 1589088"/>
                <a:gd name="connsiteX10" fmla="*/ 654405 w 2789391"/>
                <a:gd name="connsiteY10" fmla="*/ 258762 h 1589088"/>
                <a:gd name="connsiteX11" fmla="*/ 434334 w 2789391"/>
                <a:gd name="connsiteY11" fmla="*/ 258762 h 1589088"/>
                <a:gd name="connsiteX12" fmla="*/ 1806614 w 2789391"/>
                <a:gd name="connsiteY12" fmla="*/ 0 h 1589088"/>
                <a:gd name="connsiteX13" fmla="*/ 2013354 w 2789391"/>
                <a:gd name="connsiteY13" fmla="*/ 0 h 1589088"/>
                <a:gd name="connsiteX14" fmla="*/ 2069737 w 2789391"/>
                <a:gd name="connsiteY14" fmla="*/ 49266 h 1589088"/>
                <a:gd name="connsiteX15" fmla="*/ 2271720 w 2789391"/>
                <a:gd name="connsiteY15" fmla="*/ 932956 h 1589088"/>
                <a:gd name="connsiteX16" fmla="*/ 2288373 w 2789391"/>
                <a:gd name="connsiteY16" fmla="*/ 932956 h 1589088"/>
                <a:gd name="connsiteX17" fmla="*/ 2485597 w 2789391"/>
                <a:gd name="connsiteY17" fmla="*/ 49266 h 1589088"/>
                <a:gd name="connsiteX18" fmla="*/ 2544360 w 2789391"/>
                <a:gd name="connsiteY18" fmla="*/ 0 h 1589088"/>
                <a:gd name="connsiteX19" fmla="*/ 2751100 w 2789391"/>
                <a:gd name="connsiteY19" fmla="*/ 0 h 1589088"/>
                <a:gd name="connsiteX20" fmla="*/ 2786310 w 2789391"/>
                <a:gd name="connsiteY20" fmla="*/ 49266 h 1589088"/>
                <a:gd name="connsiteX21" fmla="*/ 2490355 w 2789391"/>
                <a:gd name="connsiteY21" fmla="*/ 1146917 h 1589088"/>
                <a:gd name="connsiteX22" fmla="*/ 2426834 w 2789391"/>
                <a:gd name="connsiteY22" fmla="*/ 1198563 h 1589088"/>
                <a:gd name="connsiteX23" fmla="*/ 2128500 w 2789391"/>
                <a:gd name="connsiteY23" fmla="*/ 1198563 h 1589088"/>
                <a:gd name="connsiteX24" fmla="*/ 2065217 w 2789391"/>
                <a:gd name="connsiteY24" fmla="*/ 1146917 h 1589088"/>
                <a:gd name="connsiteX25" fmla="*/ 1771404 w 2789391"/>
                <a:gd name="connsiteY25" fmla="*/ 49266 h 1589088"/>
                <a:gd name="connsiteX26" fmla="*/ 1806614 w 2789391"/>
                <a:gd name="connsiteY26" fmla="*/ 0 h 1589088"/>
                <a:gd name="connsiteX27" fmla="*/ 1434784 w 2789391"/>
                <a:gd name="connsiteY27" fmla="*/ 0 h 1589088"/>
                <a:gd name="connsiteX28" fmla="*/ 1662715 w 2789391"/>
                <a:gd name="connsiteY28" fmla="*/ 0 h 1589088"/>
                <a:gd name="connsiteX29" fmla="*/ 1700307 w 2789391"/>
                <a:gd name="connsiteY29" fmla="*/ 16422 h 1589088"/>
                <a:gd name="connsiteX30" fmla="*/ 1693407 w 2789391"/>
                <a:gd name="connsiteY30" fmla="*/ 58786 h 1589088"/>
                <a:gd name="connsiteX31" fmla="*/ 1380775 w 2789391"/>
                <a:gd name="connsiteY31" fmla="*/ 573340 h 1589088"/>
                <a:gd name="connsiteX32" fmla="*/ 1380775 w 2789391"/>
                <a:gd name="connsiteY32" fmla="*/ 582860 h 1589088"/>
                <a:gd name="connsiteX33" fmla="*/ 1707445 w 2789391"/>
                <a:gd name="connsiteY33" fmla="*/ 1139777 h 1589088"/>
                <a:gd name="connsiteX34" fmla="*/ 1709824 w 2789391"/>
                <a:gd name="connsiteY34" fmla="*/ 1180951 h 1589088"/>
                <a:gd name="connsiteX35" fmla="*/ 1667474 w 2789391"/>
                <a:gd name="connsiteY35" fmla="*/ 1198563 h 1589088"/>
                <a:gd name="connsiteX36" fmla="*/ 1465476 w 2789391"/>
                <a:gd name="connsiteY36" fmla="*/ 1198563 h 1589088"/>
                <a:gd name="connsiteX37" fmla="*/ 1407898 w 2789391"/>
                <a:gd name="connsiteY37" fmla="*/ 1189043 h 1589088"/>
                <a:gd name="connsiteX38" fmla="*/ 1371496 w 2789391"/>
                <a:gd name="connsiteY38" fmla="*/ 1149059 h 1589088"/>
                <a:gd name="connsiteX39" fmla="*/ 1073138 w 2789391"/>
                <a:gd name="connsiteY39" fmla="*/ 625224 h 1589088"/>
                <a:gd name="connsiteX40" fmla="*/ 1073138 w 2789391"/>
                <a:gd name="connsiteY40" fmla="*/ 547636 h 1589088"/>
                <a:gd name="connsiteX41" fmla="*/ 1355079 w 2789391"/>
                <a:gd name="connsiteY41" fmla="*/ 46886 h 1589088"/>
                <a:gd name="connsiteX42" fmla="*/ 1434784 w 2789391"/>
                <a:gd name="connsiteY42" fmla="*/ 0 h 1589088"/>
                <a:gd name="connsiteX43" fmla="*/ 387247 w 2789391"/>
                <a:gd name="connsiteY43" fmla="*/ 0 h 1589088"/>
                <a:gd name="connsiteX44" fmla="*/ 929252 w 2789391"/>
                <a:gd name="connsiteY44" fmla="*/ 0 h 1589088"/>
                <a:gd name="connsiteX45" fmla="*/ 981075 w 2789391"/>
                <a:gd name="connsiteY45" fmla="*/ 49280 h 1589088"/>
                <a:gd name="connsiteX46" fmla="*/ 981075 w 2789391"/>
                <a:gd name="connsiteY46" fmla="*/ 1208183 h 1589088"/>
                <a:gd name="connsiteX47" fmla="*/ 878855 w 2789391"/>
                <a:gd name="connsiteY47" fmla="*/ 1490291 h 1589088"/>
                <a:gd name="connsiteX48" fmla="*/ 593827 w 2789391"/>
                <a:gd name="connsiteY48" fmla="*/ 1589088 h 1589088"/>
                <a:gd name="connsiteX49" fmla="*/ 143108 w 2789391"/>
                <a:gd name="connsiteY49" fmla="*/ 1589088 h 1589088"/>
                <a:gd name="connsiteX50" fmla="*/ 104359 w 2789391"/>
                <a:gd name="connsiteY50" fmla="*/ 1578375 h 1589088"/>
                <a:gd name="connsiteX51" fmla="*/ 93662 w 2789391"/>
                <a:gd name="connsiteY51" fmla="*/ 1541951 h 1589088"/>
                <a:gd name="connsiteX52" fmla="*/ 93662 w 2789391"/>
                <a:gd name="connsiteY52" fmla="*/ 1379829 h 1589088"/>
                <a:gd name="connsiteX53" fmla="*/ 143108 w 2789391"/>
                <a:gd name="connsiteY53" fmla="*/ 1330549 h 1589088"/>
                <a:gd name="connsiteX54" fmla="*/ 544381 w 2789391"/>
                <a:gd name="connsiteY54" fmla="*/ 1330549 h 1589088"/>
                <a:gd name="connsiteX55" fmla="*/ 651356 w 2789391"/>
                <a:gd name="connsiteY55" fmla="*/ 1298886 h 1589088"/>
                <a:gd name="connsiteX56" fmla="*/ 682973 w 2789391"/>
                <a:gd name="connsiteY56" fmla="*/ 1194137 h 1589088"/>
                <a:gd name="connsiteX57" fmla="*/ 682973 w 2789391"/>
                <a:gd name="connsiteY57" fmla="*/ 1145572 h 1589088"/>
                <a:gd name="connsiteX58" fmla="*/ 673464 w 2789391"/>
                <a:gd name="connsiteY58" fmla="*/ 1145572 h 1589088"/>
                <a:gd name="connsiteX59" fmla="*/ 581941 w 2789391"/>
                <a:gd name="connsiteY59" fmla="*/ 1145810 h 1589088"/>
                <a:gd name="connsiteX60" fmla="*/ 443587 w 2789391"/>
                <a:gd name="connsiteY60" fmla="*/ 1145810 h 1589088"/>
                <a:gd name="connsiteX61" fmla="*/ 366090 w 2789391"/>
                <a:gd name="connsiteY61" fmla="*/ 1144858 h 1589088"/>
                <a:gd name="connsiteX62" fmla="*/ 92473 w 2789391"/>
                <a:gd name="connsiteY62" fmla="*/ 1046060 h 1589088"/>
                <a:gd name="connsiteX63" fmla="*/ 0 w 2789391"/>
                <a:gd name="connsiteY63" fmla="*/ 761572 h 1589088"/>
                <a:gd name="connsiteX64" fmla="*/ 0 w 2789391"/>
                <a:gd name="connsiteY64" fmla="*/ 383048 h 1589088"/>
                <a:gd name="connsiteX65" fmla="*/ 100794 w 2789391"/>
                <a:gd name="connsiteY65" fmla="*/ 98797 h 1589088"/>
                <a:gd name="connsiteX66" fmla="*/ 387247 w 2789391"/>
                <a:gd name="connsiteY66" fmla="*/ 0 h 158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789391" h="1589088">
                  <a:moveTo>
                    <a:pt x="434334" y="258762"/>
                  </a:moveTo>
                  <a:cubicBezTo>
                    <a:pt x="384296" y="258762"/>
                    <a:pt x="349199" y="269471"/>
                    <a:pt x="329041" y="290413"/>
                  </a:cubicBezTo>
                  <a:cubicBezTo>
                    <a:pt x="308647" y="311592"/>
                    <a:pt x="298450" y="347289"/>
                    <a:pt x="298450" y="397501"/>
                  </a:cubicBezTo>
                  <a:cubicBezTo>
                    <a:pt x="298450" y="747562"/>
                    <a:pt x="298450" y="747562"/>
                    <a:pt x="298450" y="747562"/>
                  </a:cubicBezTo>
                  <a:cubicBezTo>
                    <a:pt x="298450" y="797775"/>
                    <a:pt x="308647" y="832995"/>
                    <a:pt x="329041" y="853223"/>
                  </a:cubicBezTo>
                  <a:cubicBezTo>
                    <a:pt x="349199" y="873688"/>
                    <a:pt x="384296" y="883921"/>
                    <a:pt x="434334" y="883921"/>
                  </a:cubicBezTo>
                  <a:cubicBezTo>
                    <a:pt x="520892" y="883921"/>
                    <a:pt x="520892" y="883921"/>
                    <a:pt x="520892" y="883921"/>
                  </a:cubicBezTo>
                  <a:cubicBezTo>
                    <a:pt x="609347" y="883921"/>
                    <a:pt x="598201" y="884635"/>
                    <a:pt x="643022" y="885349"/>
                  </a:cubicBezTo>
                  <a:cubicBezTo>
                    <a:pt x="664839" y="885825"/>
                    <a:pt x="682625" y="868215"/>
                    <a:pt x="682625" y="846559"/>
                  </a:cubicBezTo>
                  <a:cubicBezTo>
                    <a:pt x="682625" y="284701"/>
                    <a:pt x="682625" y="284701"/>
                    <a:pt x="682625" y="284701"/>
                  </a:cubicBezTo>
                  <a:cubicBezTo>
                    <a:pt x="682625" y="267329"/>
                    <a:pt x="673139" y="258762"/>
                    <a:pt x="654405" y="258762"/>
                  </a:cubicBezTo>
                  <a:cubicBezTo>
                    <a:pt x="434334" y="258762"/>
                    <a:pt x="434334" y="258762"/>
                    <a:pt x="434334" y="258762"/>
                  </a:cubicBezTo>
                  <a:close/>
                  <a:moveTo>
                    <a:pt x="1806614" y="0"/>
                  </a:moveTo>
                  <a:cubicBezTo>
                    <a:pt x="2013354" y="0"/>
                    <a:pt x="2013354" y="0"/>
                    <a:pt x="2013354" y="0"/>
                  </a:cubicBezTo>
                  <a:cubicBezTo>
                    <a:pt x="2044757" y="0"/>
                    <a:pt x="2063552" y="16422"/>
                    <a:pt x="2069737" y="49266"/>
                  </a:cubicBezTo>
                  <a:cubicBezTo>
                    <a:pt x="2271720" y="932956"/>
                    <a:pt x="2271720" y="932956"/>
                    <a:pt x="2271720" y="932956"/>
                  </a:cubicBezTo>
                  <a:cubicBezTo>
                    <a:pt x="2288373" y="932956"/>
                    <a:pt x="2288373" y="932956"/>
                    <a:pt x="2288373" y="932956"/>
                  </a:cubicBezTo>
                  <a:cubicBezTo>
                    <a:pt x="2485597" y="49266"/>
                    <a:pt x="2485597" y="49266"/>
                    <a:pt x="2485597" y="49266"/>
                  </a:cubicBezTo>
                  <a:cubicBezTo>
                    <a:pt x="2491782" y="16422"/>
                    <a:pt x="2511529" y="0"/>
                    <a:pt x="2544360" y="0"/>
                  </a:cubicBezTo>
                  <a:cubicBezTo>
                    <a:pt x="2751100" y="0"/>
                    <a:pt x="2751100" y="0"/>
                    <a:pt x="2751100" y="0"/>
                  </a:cubicBezTo>
                  <a:cubicBezTo>
                    <a:pt x="2783931" y="0"/>
                    <a:pt x="2795588" y="16422"/>
                    <a:pt x="2786310" y="49266"/>
                  </a:cubicBezTo>
                  <a:cubicBezTo>
                    <a:pt x="2490355" y="1146917"/>
                    <a:pt x="2490355" y="1146917"/>
                    <a:pt x="2490355" y="1146917"/>
                  </a:cubicBezTo>
                  <a:cubicBezTo>
                    <a:pt x="2483932" y="1181427"/>
                    <a:pt x="2462996" y="1198563"/>
                    <a:pt x="2426834" y="1198563"/>
                  </a:cubicBezTo>
                  <a:cubicBezTo>
                    <a:pt x="2128500" y="1198563"/>
                    <a:pt x="2128500" y="1198563"/>
                    <a:pt x="2128500" y="1198563"/>
                  </a:cubicBezTo>
                  <a:cubicBezTo>
                    <a:pt x="2095669" y="1198563"/>
                    <a:pt x="2074496" y="1181427"/>
                    <a:pt x="2065217" y="1146917"/>
                  </a:cubicBezTo>
                  <a:cubicBezTo>
                    <a:pt x="1771404" y="49266"/>
                    <a:pt x="1771404" y="49266"/>
                    <a:pt x="1771404" y="49266"/>
                  </a:cubicBezTo>
                  <a:cubicBezTo>
                    <a:pt x="1762125" y="16422"/>
                    <a:pt x="1773783" y="0"/>
                    <a:pt x="1806614" y="0"/>
                  </a:cubicBezTo>
                  <a:close/>
                  <a:moveTo>
                    <a:pt x="1434784" y="0"/>
                  </a:moveTo>
                  <a:cubicBezTo>
                    <a:pt x="1662715" y="0"/>
                    <a:pt x="1662715" y="0"/>
                    <a:pt x="1662715" y="0"/>
                  </a:cubicBezTo>
                  <a:cubicBezTo>
                    <a:pt x="1681511" y="0"/>
                    <a:pt x="1694121" y="5474"/>
                    <a:pt x="1700307" y="16422"/>
                  </a:cubicBezTo>
                  <a:cubicBezTo>
                    <a:pt x="1706493" y="27370"/>
                    <a:pt x="1704114" y="41650"/>
                    <a:pt x="1693407" y="58786"/>
                  </a:cubicBezTo>
                  <a:cubicBezTo>
                    <a:pt x="1380775" y="573340"/>
                    <a:pt x="1380775" y="573340"/>
                    <a:pt x="1380775" y="573340"/>
                  </a:cubicBezTo>
                  <a:cubicBezTo>
                    <a:pt x="1380775" y="582860"/>
                    <a:pt x="1380775" y="582860"/>
                    <a:pt x="1380775" y="582860"/>
                  </a:cubicBezTo>
                  <a:cubicBezTo>
                    <a:pt x="1707445" y="1139777"/>
                    <a:pt x="1707445" y="1139777"/>
                    <a:pt x="1707445" y="1139777"/>
                  </a:cubicBezTo>
                  <a:cubicBezTo>
                    <a:pt x="1716724" y="1155485"/>
                    <a:pt x="1717676" y="1169051"/>
                    <a:pt x="1709824" y="1180951"/>
                  </a:cubicBezTo>
                  <a:cubicBezTo>
                    <a:pt x="1701973" y="1192613"/>
                    <a:pt x="1687697" y="1198563"/>
                    <a:pt x="1667474" y="1198563"/>
                  </a:cubicBezTo>
                  <a:cubicBezTo>
                    <a:pt x="1465476" y="1198563"/>
                    <a:pt x="1465476" y="1198563"/>
                    <a:pt x="1465476" y="1198563"/>
                  </a:cubicBezTo>
                  <a:cubicBezTo>
                    <a:pt x="1438828" y="1198563"/>
                    <a:pt x="1419556" y="1195469"/>
                    <a:pt x="1407898" y="1189043"/>
                  </a:cubicBezTo>
                  <a:cubicBezTo>
                    <a:pt x="1396240" y="1182855"/>
                    <a:pt x="1383868" y="1169527"/>
                    <a:pt x="1371496" y="1149059"/>
                  </a:cubicBezTo>
                  <a:cubicBezTo>
                    <a:pt x="1073138" y="625224"/>
                    <a:pt x="1073138" y="625224"/>
                    <a:pt x="1073138" y="625224"/>
                  </a:cubicBezTo>
                  <a:cubicBezTo>
                    <a:pt x="1058863" y="599996"/>
                    <a:pt x="1058863" y="574292"/>
                    <a:pt x="1073138" y="547636"/>
                  </a:cubicBezTo>
                  <a:cubicBezTo>
                    <a:pt x="1355079" y="46886"/>
                    <a:pt x="1355079" y="46886"/>
                    <a:pt x="1355079" y="46886"/>
                  </a:cubicBezTo>
                  <a:cubicBezTo>
                    <a:pt x="1372209" y="15708"/>
                    <a:pt x="1398857" y="0"/>
                    <a:pt x="1434784" y="0"/>
                  </a:cubicBezTo>
                  <a:close/>
                  <a:moveTo>
                    <a:pt x="387247" y="0"/>
                  </a:moveTo>
                  <a:cubicBezTo>
                    <a:pt x="929252" y="0"/>
                    <a:pt x="929252" y="0"/>
                    <a:pt x="929252" y="0"/>
                  </a:cubicBezTo>
                  <a:cubicBezTo>
                    <a:pt x="963721" y="0"/>
                    <a:pt x="981075" y="16427"/>
                    <a:pt x="981075" y="49280"/>
                  </a:cubicBezTo>
                  <a:cubicBezTo>
                    <a:pt x="981075" y="1208183"/>
                    <a:pt x="981075" y="1208183"/>
                    <a:pt x="981075" y="1208183"/>
                  </a:cubicBezTo>
                  <a:cubicBezTo>
                    <a:pt x="981075" y="1330549"/>
                    <a:pt x="946843" y="1424585"/>
                    <a:pt x="878855" y="1490291"/>
                  </a:cubicBezTo>
                  <a:cubicBezTo>
                    <a:pt x="810866" y="1556235"/>
                    <a:pt x="715778" y="1589088"/>
                    <a:pt x="593827" y="1589088"/>
                  </a:cubicBezTo>
                  <a:cubicBezTo>
                    <a:pt x="143108" y="1589088"/>
                    <a:pt x="143108" y="1589088"/>
                    <a:pt x="143108" y="1589088"/>
                  </a:cubicBezTo>
                  <a:cubicBezTo>
                    <a:pt x="124328" y="1589088"/>
                    <a:pt x="111253" y="1585517"/>
                    <a:pt x="104359" y="1578375"/>
                  </a:cubicBezTo>
                  <a:cubicBezTo>
                    <a:pt x="97228" y="1571471"/>
                    <a:pt x="93662" y="1559330"/>
                    <a:pt x="93662" y="1541951"/>
                  </a:cubicBezTo>
                  <a:cubicBezTo>
                    <a:pt x="93662" y="1379829"/>
                    <a:pt x="93662" y="1379829"/>
                    <a:pt x="93662" y="1379829"/>
                  </a:cubicBezTo>
                  <a:cubicBezTo>
                    <a:pt x="93662" y="1346975"/>
                    <a:pt x="110065" y="1330549"/>
                    <a:pt x="143108" y="1330549"/>
                  </a:cubicBezTo>
                  <a:cubicBezTo>
                    <a:pt x="544381" y="1330549"/>
                    <a:pt x="544381" y="1330549"/>
                    <a:pt x="544381" y="1330549"/>
                  </a:cubicBezTo>
                  <a:cubicBezTo>
                    <a:pt x="594540" y="1330549"/>
                    <a:pt x="629961" y="1319836"/>
                    <a:pt x="651356" y="1298886"/>
                  </a:cubicBezTo>
                  <a:cubicBezTo>
                    <a:pt x="672275" y="1277698"/>
                    <a:pt x="682973" y="1242703"/>
                    <a:pt x="682973" y="1194137"/>
                  </a:cubicBezTo>
                  <a:cubicBezTo>
                    <a:pt x="682973" y="1145572"/>
                    <a:pt x="682973" y="1145572"/>
                    <a:pt x="682973" y="1145572"/>
                  </a:cubicBezTo>
                  <a:cubicBezTo>
                    <a:pt x="673464" y="1145572"/>
                    <a:pt x="673464" y="1145572"/>
                    <a:pt x="673464" y="1145572"/>
                  </a:cubicBezTo>
                  <a:cubicBezTo>
                    <a:pt x="633289" y="1145810"/>
                    <a:pt x="617599" y="1145572"/>
                    <a:pt x="581941" y="1145810"/>
                  </a:cubicBezTo>
                  <a:cubicBezTo>
                    <a:pt x="532970" y="1146048"/>
                    <a:pt x="492558" y="1145096"/>
                    <a:pt x="443587" y="1145810"/>
                  </a:cubicBezTo>
                  <a:cubicBezTo>
                    <a:pt x="366090" y="1144858"/>
                    <a:pt x="366090" y="1144858"/>
                    <a:pt x="366090" y="1144858"/>
                  </a:cubicBezTo>
                  <a:cubicBezTo>
                    <a:pt x="245566" y="1144858"/>
                    <a:pt x="154281" y="1111767"/>
                    <a:pt x="92473" y="1046060"/>
                  </a:cubicBezTo>
                  <a:cubicBezTo>
                    <a:pt x="30666" y="980116"/>
                    <a:pt x="0" y="885366"/>
                    <a:pt x="0" y="761572"/>
                  </a:cubicBezTo>
                  <a:cubicBezTo>
                    <a:pt x="0" y="383048"/>
                    <a:pt x="0" y="383048"/>
                    <a:pt x="0" y="383048"/>
                  </a:cubicBezTo>
                  <a:cubicBezTo>
                    <a:pt x="0" y="259492"/>
                    <a:pt x="33518" y="164503"/>
                    <a:pt x="100794" y="98797"/>
                  </a:cubicBezTo>
                  <a:cubicBezTo>
                    <a:pt x="168069" y="32853"/>
                    <a:pt x="263632" y="0"/>
                    <a:pt x="387247" y="0"/>
                  </a:cubicBezTo>
                  <a:close/>
                </a:path>
              </a:pathLst>
            </a:custGeom>
            <a:solidFill>
              <a:srgbClr val="A2C5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4E37F4C9-FF7C-4EFD-AE31-4254000F24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030662" y="2211388"/>
              <a:ext cx="8802663" cy="1647826"/>
            </a:xfrm>
            <a:custGeom>
              <a:avLst/>
              <a:gdLst>
                <a:gd name="connsiteX0" fmla="*/ 2498469 w 8802663"/>
                <a:gd name="connsiteY0" fmla="*/ 603250 h 1647826"/>
                <a:gd name="connsiteX1" fmla="*/ 2301875 w 8802663"/>
                <a:gd name="connsiteY1" fmla="*/ 804597 h 1647826"/>
                <a:gd name="connsiteX2" fmla="*/ 2301875 w 8802663"/>
                <a:gd name="connsiteY2" fmla="*/ 1297016 h 1647826"/>
                <a:gd name="connsiteX3" fmla="*/ 2498469 w 8802663"/>
                <a:gd name="connsiteY3" fmla="*/ 1498600 h 1647826"/>
                <a:gd name="connsiteX4" fmla="*/ 2662494 w 8802663"/>
                <a:gd name="connsiteY4" fmla="*/ 1498600 h 1647826"/>
                <a:gd name="connsiteX5" fmla="*/ 2859088 w 8802663"/>
                <a:gd name="connsiteY5" fmla="*/ 1297016 h 1647826"/>
                <a:gd name="connsiteX6" fmla="*/ 2859088 w 8802663"/>
                <a:gd name="connsiteY6" fmla="*/ 804597 h 1647826"/>
                <a:gd name="connsiteX7" fmla="*/ 2662494 w 8802663"/>
                <a:gd name="connsiteY7" fmla="*/ 603250 h 1647826"/>
                <a:gd name="connsiteX8" fmla="*/ 2498469 w 8802663"/>
                <a:gd name="connsiteY8" fmla="*/ 603250 h 1647826"/>
                <a:gd name="connsiteX9" fmla="*/ 5984257 w 8802663"/>
                <a:gd name="connsiteY9" fmla="*/ 601663 h 1647826"/>
                <a:gd name="connsiteX10" fmla="*/ 5789612 w 8802663"/>
                <a:gd name="connsiteY10" fmla="*/ 805935 h 1647826"/>
                <a:gd name="connsiteX11" fmla="*/ 5789612 w 8802663"/>
                <a:gd name="connsiteY11" fmla="*/ 1294329 h 1647826"/>
                <a:gd name="connsiteX12" fmla="*/ 5984257 w 8802663"/>
                <a:gd name="connsiteY12" fmla="*/ 1498601 h 1647826"/>
                <a:gd name="connsiteX13" fmla="*/ 6117748 w 8802663"/>
                <a:gd name="connsiteY13" fmla="*/ 1498601 h 1647826"/>
                <a:gd name="connsiteX14" fmla="*/ 6279555 w 8802663"/>
                <a:gd name="connsiteY14" fmla="*/ 1442349 h 1647826"/>
                <a:gd name="connsiteX15" fmla="*/ 6335712 w 8802663"/>
                <a:gd name="connsiteY15" fmla="*/ 1282650 h 1647826"/>
                <a:gd name="connsiteX16" fmla="*/ 6335712 w 8802663"/>
                <a:gd name="connsiteY16" fmla="*/ 622877 h 1647826"/>
                <a:gd name="connsiteX17" fmla="*/ 6312393 w 8802663"/>
                <a:gd name="connsiteY17" fmla="*/ 601663 h 1647826"/>
                <a:gd name="connsiteX18" fmla="*/ 5984257 w 8802663"/>
                <a:gd name="connsiteY18" fmla="*/ 601663 h 1647826"/>
                <a:gd name="connsiteX19" fmla="*/ 8626305 w 8802663"/>
                <a:gd name="connsiteY19" fmla="*/ 452438 h 1647826"/>
                <a:gd name="connsiteX20" fmla="*/ 8743366 w 8802663"/>
                <a:gd name="connsiteY20" fmla="*/ 452438 h 1647826"/>
                <a:gd name="connsiteX21" fmla="*/ 8768110 w 8802663"/>
                <a:gd name="connsiteY21" fmla="*/ 462909 h 1647826"/>
                <a:gd name="connsiteX22" fmla="*/ 8762162 w 8802663"/>
                <a:gd name="connsiteY22" fmla="*/ 490039 h 1647826"/>
                <a:gd name="connsiteX23" fmla="*/ 8417641 w 8802663"/>
                <a:gd name="connsiteY23" fmla="*/ 1024311 h 1647826"/>
                <a:gd name="connsiteX24" fmla="*/ 8417641 w 8802663"/>
                <a:gd name="connsiteY24" fmla="*/ 1033830 h 1647826"/>
                <a:gd name="connsiteX25" fmla="*/ 8797375 w 8802663"/>
                <a:gd name="connsiteY25" fmla="*/ 1610463 h 1647826"/>
                <a:gd name="connsiteX26" fmla="*/ 8799755 w 8802663"/>
                <a:gd name="connsiteY26" fmla="*/ 1637355 h 1647826"/>
                <a:gd name="connsiteX27" fmla="*/ 8773820 w 8802663"/>
                <a:gd name="connsiteY27" fmla="*/ 1647826 h 1647826"/>
                <a:gd name="connsiteX28" fmla="*/ 8663897 w 8802663"/>
                <a:gd name="connsiteY28" fmla="*/ 1647826 h 1647826"/>
                <a:gd name="connsiteX29" fmla="*/ 8598229 w 8802663"/>
                <a:gd name="connsiteY29" fmla="*/ 1614985 h 1647826"/>
                <a:gd name="connsiteX30" fmla="*/ 8237291 w 8802663"/>
                <a:gd name="connsiteY30" fmla="*/ 1057153 h 1647826"/>
                <a:gd name="connsiteX31" fmla="*/ 8237291 w 8802663"/>
                <a:gd name="connsiteY31" fmla="*/ 1007890 h 1647826"/>
                <a:gd name="connsiteX32" fmla="*/ 8570154 w 8802663"/>
                <a:gd name="connsiteY32" fmla="*/ 482900 h 1647826"/>
                <a:gd name="connsiteX33" fmla="*/ 8626305 w 8802663"/>
                <a:gd name="connsiteY33" fmla="*/ 452438 h 1647826"/>
                <a:gd name="connsiteX34" fmla="*/ 7587022 w 8802663"/>
                <a:gd name="connsiteY34" fmla="*/ 452438 h 1647826"/>
                <a:gd name="connsiteX35" fmla="*/ 7695281 w 8802663"/>
                <a:gd name="connsiteY35" fmla="*/ 452438 h 1647826"/>
                <a:gd name="connsiteX36" fmla="*/ 7727949 w 8802663"/>
                <a:gd name="connsiteY36" fmla="*/ 485280 h 1647826"/>
                <a:gd name="connsiteX37" fmla="*/ 7727949 w 8802663"/>
                <a:gd name="connsiteY37" fmla="*/ 1615223 h 1647826"/>
                <a:gd name="connsiteX38" fmla="*/ 7695281 w 8802663"/>
                <a:gd name="connsiteY38" fmla="*/ 1647826 h 1647826"/>
                <a:gd name="connsiteX39" fmla="*/ 7589406 w 8802663"/>
                <a:gd name="connsiteY39" fmla="*/ 1647826 h 1647826"/>
                <a:gd name="connsiteX40" fmla="*/ 7556499 w 8802663"/>
                <a:gd name="connsiteY40" fmla="*/ 1615223 h 1647826"/>
                <a:gd name="connsiteX41" fmla="*/ 7556499 w 8802663"/>
                <a:gd name="connsiteY41" fmla="*/ 485280 h 1647826"/>
                <a:gd name="connsiteX42" fmla="*/ 7587022 w 8802663"/>
                <a:gd name="connsiteY42" fmla="*/ 452438 h 1647826"/>
                <a:gd name="connsiteX43" fmla="*/ 5965379 w 8802663"/>
                <a:gd name="connsiteY43" fmla="*/ 452438 h 1647826"/>
                <a:gd name="connsiteX44" fmla="*/ 6474536 w 8802663"/>
                <a:gd name="connsiteY44" fmla="*/ 452438 h 1647826"/>
                <a:gd name="connsiteX45" fmla="*/ 6507162 w 8802663"/>
                <a:gd name="connsiteY45" fmla="*/ 485280 h 1647826"/>
                <a:gd name="connsiteX46" fmla="*/ 6507162 w 8802663"/>
                <a:gd name="connsiteY46" fmla="*/ 1615223 h 1647826"/>
                <a:gd name="connsiteX47" fmla="*/ 6474536 w 8802663"/>
                <a:gd name="connsiteY47" fmla="*/ 1647826 h 1647826"/>
                <a:gd name="connsiteX48" fmla="*/ 6368799 w 8802663"/>
                <a:gd name="connsiteY48" fmla="*/ 1647826 h 1647826"/>
                <a:gd name="connsiteX49" fmla="*/ 6335935 w 8802663"/>
                <a:gd name="connsiteY49" fmla="*/ 1615223 h 1647826"/>
                <a:gd name="connsiteX50" fmla="*/ 6335935 w 8802663"/>
                <a:gd name="connsiteY50" fmla="*/ 1523599 h 1647826"/>
                <a:gd name="connsiteX51" fmla="*/ 6326647 w 8802663"/>
                <a:gd name="connsiteY51" fmla="*/ 1523599 h 1647826"/>
                <a:gd name="connsiteX52" fmla="*/ 6087310 w 8802663"/>
                <a:gd name="connsiteY52" fmla="*/ 1647826 h 1647826"/>
                <a:gd name="connsiteX53" fmla="*/ 5965379 w 8802663"/>
                <a:gd name="connsiteY53" fmla="*/ 1647826 h 1647826"/>
                <a:gd name="connsiteX54" fmla="*/ 5711039 w 8802663"/>
                <a:gd name="connsiteY54" fmla="*/ 1556441 h 1647826"/>
                <a:gd name="connsiteX55" fmla="*/ 5618162 w 8802663"/>
                <a:gd name="connsiteY55" fmla="*/ 1301085 h 1647826"/>
                <a:gd name="connsiteX56" fmla="*/ 5618162 w 8802663"/>
                <a:gd name="connsiteY56" fmla="*/ 799417 h 1647826"/>
                <a:gd name="connsiteX57" fmla="*/ 5711039 w 8802663"/>
                <a:gd name="connsiteY57" fmla="*/ 543824 h 1647826"/>
                <a:gd name="connsiteX58" fmla="*/ 5965379 w 8802663"/>
                <a:gd name="connsiteY58" fmla="*/ 452438 h 1647826"/>
                <a:gd name="connsiteX59" fmla="*/ 3952348 w 8802663"/>
                <a:gd name="connsiteY59" fmla="*/ 452438 h 1647826"/>
                <a:gd name="connsiteX60" fmla="*/ 4057677 w 8802663"/>
                <a:gd name="connsiteY60" fmla="*/ 452438 h 1647826"/>
                <a:gd name="connsiteX61" fmla="*/ 4090488 w 8802663"/>
                <a:gd name="connsiteY61" fmla="*/ 485280 h 1647826"/>
                <a:gd name="connsiteX62" fmla="*/ 4090488 w 8802663"/>
                <a:gd name="connsiteY62" fmla="*/ 576665 h 1647826"/>
                <a:gd name="connsiteX63" fmla="*/ 4099761 w 8802663"/>
                <a:gd name="connsiteY63" fmla="*/ 576665 h 1647826"/>
                <a:gd name="connsiteX64" fmla="*/ 4347984 w 8802663"/>
                <a:gd name="connsiteY64" fmla="*/ 452438 h 1647826"/>
                <a:gd name="connsiteX65" fmla="*/ 4434767 w 8802663"/>
                <a:gd name="connsiteY65" fmla="*/ 452438 h 1647826"/>
                <a:gd name="connsiteX66" fmla="*/ 4720557 w 8802663"/>
                <a:gd name="connsiteY66" fmla="*/ 611887 h 1647826"/>
                <a:gd name="connsiteX67" fmla="*/ 4838725 w 8802663"/>
                <a:gd name="connsiteY67" fmla="*/ 493371 h 1647826"/>
                <a:gd name="connsiteX68" fmla="*/ 5008487 w 8802663"/>
                <a:gd name="connsiteY68" fmla="*/ 452438 h 1647826"/>
                <a:gd name="connsiteX69" fmla="*/ 5090515 w 8802663"/>
                <a:gd name="connsiteY69" fmla="*/ 452438 h 1647826"/>
                <a:gd name="connsiteX70" fmla="*/ 5338739 w 8802663"/>
                <a:gd name="connsiteY70" fmla="*/ 543824 h 1647826"/>
                <a:gd name="connsiteX71" fmla="*/ 5427662 w 8802663"/>
                <a:gd name="connsiteY71" fmla="*/ 799417 h 1647826"/>
                <a:gd name="connsiteX72" fmla="*/ 5427662 w 8802663"/>
                <a:gd name="connsiteY72" fmla="*/ 1614985 h 1647826"/>
                <a:gd name="connsiteX73" fmla="*/ 5394851 w 8802663"/>
                <a:gd name="connsiteY73" fmla="*/ 1647826 h 1647826"/>
                <a:gd name="connsiteX74" fmla="*/ 5289522 w 8802663"/>
                <a:gd name="connsiteY74" fmla="*/ 1647826 h 1647826"/>
                <a:gd name="connsiteX75" fmla="*/ 5256711 w 8802663"/>
                <a:gd name="connsiteY75" fmla="*/ 1614985 h 1647826"/>
                <a:gd name="connsiteX76" fmla="*/ 5256711 w 8802663"/>
                <a:gd name="connsiteY76" fmla="*/ 806319 h 1647826"/>
                <a:gd name="connsiteX77" fmla="*/ 5060082 w 8802663"/>
                <a:gd name="connsiteY77" fmla="*/ 602605 h 1647826"/>
                <a:gd name="connsiteX78" fmla="*/ 4982809 w 8802663"/>
                <a:gd name="connsiteY78" fmla="*/ 602605 h 1647826"/>
                <a:gd name="connsiteX79" fmla="*/ 4819942 w 8802663"/>
                <a:gd name="connsiteY79" fmla="*/ 662339 h 1647826"/>
                <a:gd name="connsiteX80" fmla="*/ 4762641 w 8802663"/>
                <a:gd name="connsiteY80" fmla="*/ 825119 h 1647826"/>
                <a:gd name="connsiteX81" fmla="*/ 4762641 w 8802663"/>
                <a:gd name="connsiteY81" fmla="*/ 1614985 h 1647826"/>
                <a:gd name="connsiteX82" fmla="*/ 4729830 w 8802663"/>
                <a:gd name="connsiteY82" fmla="*/ 1647826 h 1647826"/>
                <a:gd name="connsiteX83" fmla="*/ 4624502 w 8802663"/>
                <a:gd name="connsiteY83" fmla="*/ 1647826 h 1647826"/>
                <a:gd name="connsiteX84" fmla="*/ 4591690 w 8802663"/>
                <a:gd name="connsiteY84" fmla="*/ 1614985 h 1647826"/>
                <a:gd name="connsiteX85" fmla="*/ 4591690 w 8802663"/>
                <a:gd name="connsiteY85" fmla="*/ 806319 h 1647826"/>
                <a:gd name="connsiteX86" fmla="*/ 4394824 w 8802663"/>
                <a:gd name="connsiteY86" fmla="*/ 602605 h 1647826"/>
                <a:gd name="connsiteX87" fmla="*/ 4308278 w 8802663"/>
                <a:gd name="connsiteY87" fmla="*/ 602605 h 1647826"/>
                <a:gd name="connsiteX88" fmla="*/ 4146600 w 8802663"/>
                <a:gd name="connsiteY88" fmla="*/ 658769 h 1647826"/>
                <a:gd name="connsiteX89" fmla="*/ 4090488 w 8802663"/>
                <a:gd name="connsiteY89" fmla="*/ 818218 h 1647826"/>
                <a:gd name="connsiteX90" fmla="*/ 4090488 w 8802663"/>
                <a:gd name="connsiteY90" fmla="*/ 1614985 h 1647826"/>
                <a:gd name="connsiteX91" fmla="*/ 4057677 w 8802663"/>
                <a:gd name="connsiteY91" fmla="*/ 1647826 h 1647826"/>
                <a:gd name="connsiteX92" fmla="*/ 3952348 w 8802663"/>
                <a:gd name="connsiteY92" fmla="*/ 1647826 h 1647826"/>
                <a:gd name="connsiteX93" fmla="*/ 3919537 w 8802663"/>
                <a:gd name="connsiteY93" fmla="*/ 1614985 h 1647826"/>
                <a:gd name="connsiteX94" fmla="*/ 3919537 w 8802663"/>
                <a:gd name="connsiteY94" fmla="*/ 485280 h 1647826"/>
                <a:gd name="connsiteX95" fmla="*/ 3952348 w 8802663"/>
                <a:gd name="connsiteY95" fmla="*/ 452438 h 1647826"/>
                <a:gd name="connsiteX96" fmla="*/ 3247193 w 8802663"/>
                <a:gd name="connsiteY96" fmla="*/ 452438 h 1647826"/>
                <a:gd name="connsiteX97" fmla="*/ 3352536 w 8802663"/>
                <a:gd name="connsiteY97" fmla="*/ 452438 h 1647826"/>
                <a:gd name="connsiteX98" fmla="*/ 3385041 w 8802663"/>
                <a:gd name="connsiteY98" fmla="*/ 485280 h 1647826"/>
                <a:gd name="connsiteX99" fmla="*/ 3385041 w 8802663"/>
                <a:gd name="connsiteY99" fmla="*/ 579045 h 1647826"/>
                <a:gd name="connsiteX100" fmla="*/ 3394531 w 8802663"/>
                <a:gd name="connsiteY100" fmla="*/ 579045 h 1647826"/>
                <a:gd name="connsiteX101" fmla="*/ 3483267 w 8802663"/>
                <a:gd name="connsiteY101" fmla="*/ 490039 h 1647826"/>
                <a:gd name="connsiteX102" fmla="*/ 3637486 w 8802663"/>
                <a:gd name="connsiteY102" fmla="*/ 452438 h 1647826"/>
                <a:gd name="connsiteX103" fmla="*/ 3728831 w 8802663"/>
                <a:gd name="connsiteY103" fmla="*/ 452438 h 1647826"/>
                <a:gd name="connsiteX104" fmla="*/ 3759201 w 8802663"/>
                <a:gd name="connsiteY104" fmla="*/ 485280 h 1647826"/>
                <a:gd name="connsiteX105" fmla="*/ 3759201 w 8802663"/>
                <a:gd name="connsiteY105" fmla="*/ 571906 h 1647826"/>
                <a:gd name="connsiteX106" fmla="*/ 3752083 w 8802663"/>
                <a:gd name="connsiteY106" fmla="*/ 596656 h 1647826"/>
                <a:gd name="connsiteX107" fmla="*/ 3728831 w 8802663"/>
                <a:gd name="connsiteY107" fmla="*/ 602605 h 1647826"/>
                <a:gd name="connsiteX108" fmla="*/ 3602609 w 8802663"/>
                <a:gd name="connsiteY108" fmla="*/ 602605 h 1647826"/>
                <a:gd name="connsiteX109" fmla="*/ 3441272 w 8802663"/>
                <a:gd name="connsiteY109" fmla="*/ 665909 h 1647826"/>
                <a:gd name="connsiteX110" fmla="*/ 3385041 w 8802663"/>
                <a:gd name="connsiteY110" fmla="*/ 839160 h 1647826"/>
                <a:gd name="connsiteX111" fmla="*/ 3385041 w 8802663"/>
                <a:gd name="connsiteY111" fmla="*/ 1614985 h 1647826"/>
                <a:gd name="connsiteX112" fmla="*/ 3352536 w 8802663"/>
                <a:gd name="connsiteY112" fmla="*/ 1647826 h 1647826"/>
                <a:gd name="connsiteX113" fmla="*/ 3247193 w 8802663"/>
                <a:gd name="connsiteY113" fmla="*/ 1647826 h 1647826"/>
                <a:gd name="connsiteX114" fmla="*/ 3214688 w 8802663"/>
                <a:gd name="connsiteY114" fmla="*/ 1614985 h 1647826"/>
                <a:gd name="connsiteX115" fmla="*/ 3214688 w 8802663"/>
                <a:gd name="connsiteY115" fmla="*/ 485280 h 1647826"/>
                <a:gd name="connsiteX116" fmla="*/ 3247193 w 8802663"/>
                <a:gd name="connsiteY116" fmla="*/ 452438 h 1647826"/>
                <a:gd name="connsiteX117" fmla="*/ 2479749 w 8802663"/>
                <a:gd name="connsiteY117" fmla="*/ 452438 h 1647826"/>
                <a:gd name="connsiteX118" fmla="*/ 2680976 w 8802663"/>
                <a:gd name="connsiteY118" fmla="*/ 452438 h 1647826"/>
                <a:gd name="connsiteX119" fmla="*/ 2934946 w 8802663"/>
                <a:gd name="connsiteY119" fmla="*/ 543824 h 1647826"/>
                <a:gd name="connsiteX120" fmla="*/ 3027363 w 8802663"/>
                <a:gd name="connsiteY120" fmla="*/ 799417 h 1647826"/>
                <a:gd name="connsiteX121" fmla="*/ 3027363 w 8802663"/>
                <a:gd name="connsiteY121" fmla="*/ 1301085 h 1647826"/>
                <a:gd name="connsiteX122" fmla="*/ 2934946 w 8802663"/>
                <a:gd name="connsiteY122" fmla="*/ 1556441 h 1647826"/>
                <a:gd name="connsiteX123" fmla="*/ 2680976 w 8802663"/>
                <a:gd name="connsiteY123" fmla="*/ 1647826 h 1647826"/>
                <a:gd name="connsiteX124" fmla="*/ 2479749 w 8802663"/>
                <a:gd name="connsiteY124" fmla="*/ 1647826 h 1647826"/>
                <a:gd name="connsiteX125" fmla="*/ 2226017 w 8802663"/>
                <a:gd name="connsiteY125" fmla="*/ 1556441 h 1647826"/>
                <a:gd name="connsiteX126" fmla="*/ 2133600 w 8802663"/>
                <a:gd name="connsiteY126" fmla="*/ 1301085 h 1647826"/>
                <a:gd name="connsiteX127" fmla="*/ 2133600 w 8802663"/>
                <a:gd name="connsiteY127" fmla="*/ 799417 h 1647826"/>
                <a:gd name="connsiteX128" fmla="*/ 2226017 w 8802663"/>
                <a:gd name="connsiteY128" fmla="*/ 543824 h 1647826"/>
                <a:gd name="connsiteX129" fmla="*/ 2479749 w 8802663"/>
                <a:gd name="connsiteY129" fmla="*/ 452438 h 1647826"/>
                <a:gd name="connsiteX130" fmla="*/ 424918 w 8802663"/>
                <a:gd name="connsiteY130" fmla="*/ 452438 h 1647826"/>
                <a:gd name="connsiteX131" fmla="*/ 530229 w 8802663"/>
                <a:gd name="connsiteY131" fmla="*/ 452438 h 1647826"/>
                <a:gd name="connsiteX132" fmla="*/ 563034 w 8802663"/>
                <a:gd name="connsiteY132" fmla="*/ 485280 h 1647826"/>
                <a:gd name="connsiteX133" fmla="*/ 563034 w 8802663"/>
                <a:gd name="connsiteY133" fmla="*/ 576665 h 1647826"/>
                <a:gd name="connsiteX134" fmla="*/ 572305 w 8802663"/>
                <a:gd name="connsiteY134" fmla="*/ 576665 h 1647826"/>
                <a:gd name="connsiteX135" fmla="*/ 811216 w 8802663"/>
                <a:gd name="connsiteY135" fmla="*/ 452438 h 1647826"/>
                <a:gd name="connsiteX136" fmla="*/ 942437 w 8802663"/>
                <a:gd name="connsiteY136" fmla="*/ 452438 h 1647826"/>
                <a:gd name="connsiteX137" fmla="*/ 1190618 w 8802663"/>
                <a:gd name="connsiteY137" fmla="*/ 543824 h 1647826"/>
                <a:gd name="connsiteX138" fmla="*/ 1279525 w 8802663"/>
                <a:gd name="connsiteY138" fmla="*/ 799417 h 1647826"/>
                <a:gd name="connsiteX139" fmla="*/ 1279525 w 8802663"/>
                <a:gd name="connsiteY139" fmla="*/ 1614985 h 1647826"/>
                <a:gd name="connsiteX140" fmla="*/ 1246720 w 8802663"/>
                <a:gd name="connsiteY140" fmla="*/ 1647826 h 1647826"/>
                <a:gd name="connsiteX141" fmla="*/ 1141410 w 8802663"/>
                <a:gd name="connsiteY141" fmla="*/ 1647826 h 1647826"/>
                <a:gd name="connsiteX142" fmla="*/ 1108604 w 8802663"/>
                <a:gd name="connsiteY142" fmla="*/ 1614985 h 1647826"/>
                <a:gd name="connsiteX143" fmla="*/ 1108604 w 8802663"/>
                <a:gd name="connsiteY143" fmla="*/ 806319 h 1647826"/>
                <a:gd name="connsiteX144" fmla="*/ 912009 w 8802663"/>
                <a:gd name="connsiteY144" fmla="*/ 602605 h 1647826"/>
                <a:gd name="connsiteX145" fmla="*/ 780787 w 8802663"/>
                <a:gd name="connsiteY145" fmla="*/ 602605 h 1647826"/>
                <a:gd name="connsiteX146" fmla="*/ 619137 w 8802663"/>
                <a:gd name="connsiteY146" fmla="*/ 658769 h 1647826"/>
                <a:gd name="connsiteX147" fmla="*/ 563034 w 8802663"/>
                <a:gd name="connsiteY147" fmla="*/ 818218 h 1647826"/>
                <a:gd name="connsiteX148" fmla="*/ 563034 w 8802663"/>
                <a:gd name="connsiteY148" fmla="*/ 1614985 h 1647826"/>
                <a:gd name="connsiteX149" fmla="*/ 530229 w 8802663"/>
                <a:gd name="connsiteY149" fmla="*/ 1647826 h 1647826"/>
                <a:gd name="connsiteX150" fmla="*/ 424918 w 8802663"/>
                <a:gd name="connsiteY150" fmla="*/ 1647826 h 1647826"/>
                <a:gd name="connsiteX151" fmla="*/ 392113 w 8802663"/>
                <a:gd name="connsiteY151" fmla="*/ 1614985 h 1647826"/>
                <a:gd name="connsiteX152" fmla="*/ 392113 w 8802663"/>
                <a:gd name="connsiteY152" fmla="*/ 485280 h 1647826"/>
                <a:gd name="connsiteX153" fmla="*/ 424918 w 8802663"/>
                <a:gd name="connsiteY153" fmla="*/ 452438 h 1647826"/>
                <a:gd name="connsiteX154" fmla="*/ 30523 w 8802663"/>
                <a:gd name="connsiteY154" fmla="*/ 452438 h 1647826"/>
                <a:gd name="connsiteX155" fmla="*/ 138542 w 8802663"/>
                <a:gd name="connsiteY155" fmla="*/ 452438 h 1647826"/>
                <a:gd name="connsiteX156" fmla="*/ 171450 w 8802663"/>
                <a:gd name="connsiteY156" fmla="*/ 485280 h 1647826"/>
                <a:gd name="connsiteX157" fmla="*/ 171450 w 8802663"/>
                <a:gd name="connsiteY157" fmla="*/ 1615223 h 1647826"/>
                <a:gd name="connsiteX158" fmla="*/ 138542 w 8802663"/>
                <a:gd name="connsiteY158" fmla="*/ 1647826 h 1647826"/>
                <a:gd name="connsiteX159" fmla="*/ 32906 w 8802663"/>
                <a:gd name="connsiteY159" fmla="*/ 1647826 h 1647826"/>
                <a:gd name="connsiteX160" fmla="*/ 0 w 8802663"/>
                <a:gd name="connsiteY160" fmla="*/ 1615223 h 1647826"/>
                <a:gd name="connsiteX161" fmla="*/ 0 w 8802663"/>
                <a:gd name="connsiteY161" fmla="*/ 485280 h 1647826"/>
                <a:gd name="connsiteX162" fmla="*/ 30523 w 8802663"/>
                <a:gd name="connsiteY162" fmla="*/ 452438 h 1647826"/>
                <a:gd name="connsiteX163" fmla="*/ 6895122 w 8802663"/>
                <a:gd name="connsiteY163" fmla="*/ 196850 h 1647826"/>
                <a:gd name="connsiteX164" fmla="*/ 7000837 w 8802663"/>
                <a:gd name="connsiteY164" fmla="*/ 196850 h 1647826"/>
                <a:gd name="connsiteX165" fmla="*/ 7031313 w 8802663"/>
                <a:gd name="connsiteY165" fmla="*/ 229692 h 1647826"/>
                <a:gd name="connsiteX166" fmla="*/ 7031313 w 8802663"/>
                <a:gd name="connsiteY166" fmla="*/ 431262 h 1647826"/>
                <a:gd name="connsiteX167" fmla="*/ 7057028 w 8802663"/>
                <a:gd name="connsiteY167" fmla="*/ 452443 h 1647826"/>
                <a:gd name="connsiteX168" fmla="*/ 7305602 w 8802663"/>
                <a:gd name="connsiteY168" fmla="*/ 452443 h 1647826"/>
                <a:gd name="connsiteX169" fmla="*/ 7340840 w 8802663"/>
                <a:gd name="connsiteY169" fmla="*/ 485284 h 1647826"/>
                <a:gd name="connsiteX170" fmla="*/ 7340840 w 8802663"/>
                <a:gd name="connsiteY170" fmla="*/ 571909 h 1647826"/>
                <a:gd name="connsiteX171" fmla="*/ 7305602 w 8802663"/>
                <a:gd name="connsiteY171" fmla="*/ 602371 h 1647826"/>
                <a:gd name="connsiteX172" fmla="*/ 7057028 w 8802663"/>
                <a:gd name="connsiteY172" fmla="*/ 602371 h 1647826"/>
                <a:gd name="connsiteX173" fmla="*/ 7031313 w 8802663"/>
                <a:gd name="connsiteY173" fmla="*/ 623551 h 1647826"/>
                <a:gd name="connsiteX174" fmla="*/ 7031313 w 8802663"/>
                <a:gd name="connsiteY174" fmla="*/ 1298706 h 1647826"/>
                <a:gd name="connsiteX175" fmla="*/ 7237744 w 8802663"/>
                <a:gd name="connsiteY175" fmla="*/ 1497897 h 1647826"/>
                <a:gd name="connsiteX176" fmla="*/ 7329174 w 8802663"/>
                <a:gd name="connsiteY176" fmla="*/ 1497897 h 1647826"/>
                <a:gd name="connsiteX177" fmla="*/ 7364412 w 8802663"/>
                <a:gd name="connsiteY177" fmla="*/ 1530738 h 1647826"/>
                <a:gd name="connsiteX178" fmla="*/ 7364412 w 8802663"/>
                <a:gd name="connsiteY178" fmla="*/ 1617364 h 1647826"/>
                <a:gd name="connsiteX179" fmla="*/ 7329174 w 8802663"/>
                <a:gd name="connsiteY179" fmla="*/ 1647825 h 1647826"/>
                <a:gd name="connsiteX180" fmla="*/ 7216553 w 8802663"/>
                <a:gd name="connsiteY180" fmla="*/ 1647825 h 1647826"/>
                <a:gd name="connsiteX181" fmla="*/ 6958694 w 8802663"/>
                <a:gd name="connsiteY181" fmla="*/ 1557630 h 1647826"/>
                <a:gd name="connsiteX182" fmla="*/ 6862502 w 8802663"/>
                <a:gd name="connsiteY182" fmla="*/ 1305607 h 1647826"/>
                <a:gd name="connsiteX183" fmla="*/ 6862502 w 8802663"/>
                <a:gd name="connsiteY183" fmla="*/ 623551 h 1647826"/>
                <a:gd name="connsiteX184" fmla="*/ 6838931 w 8802663"/>
                <a:gd name="connsiteY184" fmla="*/ 602371 h 1647826"/>
                <a:gd name="connsiteX185" fmla="*/ 6709882 w 8802663"/>
                <a:gd name="connsiteY185" fmla="*/ 602371 h 1647826"/>
                <a:gd name="connsiteX186" fmla="*/ 6677024 w 8802663"/>
                <a:gd name="connsiteY186" fmla="*/ 571909 h 1647826"/>
                <a:gd name="connsiteX187" fmla="*/ 6677024 w 8802663"/>
                <a:gd name="connsiteY187" fmla="*/ 485284 h 1647826"/>
                <a:gd name="connsiteX188" fmla="*/ 6709882 w 8802663"/>
                <a:gd name="connsiteY188" fmla="*/ 452443 h 1647826"/>
                <a:gd name="connsiteX189" fmla="*/ 6838931 w 8802663"/>
                <a:gd name="connsiteY189" fmla="*/ 452443 h 1647826"/>
                <a:gd name="connsiteX190" fmla="*/ 6862502 w 8802663"/>
                <a:gd name="connsiteY190" fmla="*/ 431262 h 1647826"/>
                <a:gd name="connsiteX191" fmla="*/ 6862502 w 8802663"/>
                <a:gd name="connsiteY191" fmla="*/ 229692 h 1647826"/>
                <a:gd name="connsiteX192" fmla="*/ 6895122 w 8802663"/>
                <a:gd name="connsiteY192" fmla="*/ 196850 h 1647826"/>
                <a:gd name="connsiteX193" fmla="*/ 7587022 w 8802663"/>
                <a:gd name="connsiteY193" fmla="*/ 1588 h 1647826"/>
                <a:gd name="connsiteX194" fmla="*/ 7695281 w 8802663"/>
                <a:gd name="connsiteY194" fmla="*/ 1588 h 1647826"/>
                <a:gd name="connsiteX195" fmla="*/ 7727949 w 8802663"/>
                <a:gd name="connsiteY195" fmla="*/ 34577 h 1647826"/>
                <a:gd name="connsiteX196" fmla="*/ 7727949 w 8802663"/>
                <a:gd name="connsiteY196" fmla="*/ 255937 h 1647826"/>
                <a:gd name="connsiteX197" fmla="*/ 7695281 w 8802663"/>
                <a:gd name="connsiteY197" fmla="*/ 288926 h 1647826"/>
                <a:gd name="connsiteX198" fmla="*/ 7587022 w 8802663"/>
                <a:gd name="connsiteY198" fmla="*/ 288926 h 1647826"/>
                <a:gd name="connsiteX199" fmla="*/ 7556499 w 8802663"/>
                <a:gd name="connsiteY199" fmla="*/ 255937 h 1647826"/>
                <a:gd name="connsiteX200" fmla="*/ 7556499 w 8802663"/>
                <a:gd name="connsiteY200" fmla="*/ 34577 h 1647826"/>
                <a:gd name="connsiteX201" fmla="*/ 7587022 w 8802663"/>
                <a:gd name="connsiteY201" fmla="*/ 1588 h 1647826"/>
                <a:gd name="connsiteX202" fmla="*/ 30523 w 8802663"/>
                <a:gd name="connsiteY202" fmla="*/ 1588 h 1647826"/>
                <a:gd name="connsiteX203" fmla="*/ 138542 w 8802663"/>
                <a:gd name="connsiteY203" fmla="*/ 1588 h 1647826"/>
                <a:gd name="connsiteX204" fmla="*/ 171450 w 8802663"/>
                <a:gd name="connsiteY204" fmla="*/ 34577 h 1647826"/>
                <a:gd name="connsiteX205" fmla="*/ 171450 w 8802663"/>
                <a:gd name="connsiteY205" fmla="*/ 255937 h 1647826"/>
                <a:gd name="connsiteX206" fmla="*/ 138542 w 8802663"/>
                <a:gd name="connsiteY206" fmla="*/ 288926 h 1647826"/>
                <a:gd name="connsiteX207" fmla="*/ 30523 w 8802663"/>
                <a:gd name="connsiteY207" fmla="*/ 288926 h 1647826"/>
                <a:gd name="connsiteX208" fmla="*/ 0 w 8802663"/>
                <a:gd name="connsiteY208" fmla="*/ 255937 h 1647826"/>
                <a:gd name="connsiteX209" fmla="*/ 0 w 8802663"/>
                <a:gd name="connsiteY209" fmla="*/ 34577 h 1647826"/>
                <a:gd name="connsiteX210" fmla="*/ 30523 w 8802663"/>
                <a:gd name="connsiteY210" fmla="*/ 1588 h 1647826"/>
                <a:gd name="connsiteX211" fmla="*/ 7981519 w 8802663"/>
                <a:gd name="connsiteY211" fmla="*/ 0 h 1647826"/>
                <a:gd name="connsiteX212" fmla="*/ 8087394 w 8802663"/>
                <a:gd name="connsiteY212" fmla="*/ 0 h 1647826"/>
                <a:gd name="connsiteX213" fmla="*/ 8120062 w 8802663"/>
                <a:gd name="connsiteY213" fmla="*/ 32842 h 1647826"/>
                <a:gd name="connsiteX214" fmla="*/ 8120062 w 8802663"/>
                <a:gd name="connsiteY214" fmla="*/ 1614983 h 1647826"/>
                <a:gd name="connsiteX215" fmla="*/ 8087394 w 8802663"/>
                <a:gd name="connsiteY215" fmla="*/ 1647825 h 1647826"/>
                <a:gd name="connsiteX216" fmla="*/ 7981519 w 8802663"/>
                <a:gd name="connsiteY216" fmla="*/ 1647825 h 1647826"/>
                <a:gd name="connsiteX217" fmla="*/ 7948612 w 8802663"/>
                <a:gd name="connsiteY217" fmla="*/ 1614983 h 1647826"/>
                <a:gd name="connsiteX218" fmla="*/ 7948612 w 8802663"/>
                <a:gd name="connsiteY218" fmla="*/ 32842 h 1647826"/>
                <a:gd name="connsiteX219" fmla="*/ 7981519 w 8802663"/>
                <a:gd name="connsiteY219" fmla="*/ 0 h 1647826"/>
                <a:gd name="connsiteX220" fmla="*/ 1922541 w 8802663"/>
                <a:gd name="connsiteY220" fmla="*/ 0 h 1647826"/>
                <a:gd name="connsiteX221" fmla="*/ 2002314 w 8802663"/>
                <a:gd name="connsiteY221" fmla="*/ 0 h 1647826"/>
                <a:gd name="connsiteX222" fmla="*/ 2035175 w 8802663"/>
                <a:gd name="connsiteY222" fmla="*/ 30463 h 1647826"/>
                <a:gd name="connsiteX223" fmla="*/ 2035175 w 8802663"/>
                <a:gd name="connsiteY223" fmla="*/ 117328 h 1647826"/>
                <a:gd name="connsiteX224" fmla="*/ 2002314 w 8802663"/>
                <a:gd name="connsiteY224" fmla="*/ 149932 h 1647826"/>
                <a:gd name="connsiteX225" fmla="*/ 1943735 w 8802663"/>
                <a:gd name="connsiteY225" fmla="*/ 149932 h 1647826"/>
                <a:gd name="connsiteX226" fmla="*/ 1809908 w 8802663"/>
                <a:gd name="connsiteY226" fmla="*/ 198006 h 1647826"/>
                <a:gd name="connsiteX227" fmla="*/ 1772523 w 8802663"/>
                <a:gd name="connsiteY227" fmla="*/ 351746 h 1647826"/>
                <a:gd name="connsiteX228" fmla="*/ 1772523 w 8802663"/>
                <a:gd name="connsiteY228" fmla="*/ 431233 h 1647826"/>
                <a:gd name="connsiteX229" fmla="*/ 1793477 w 8802663"/>
                <a:gd name="connsiteY229" fmla="*/ 452414 h 1647826"/>
                <a:gd name="connsiteX230" fmla="*/ 1999932 w 8802663"/>
                <a:gd name="connsiteY230" fmla="*/ 452414 h 1647826"/>
                <a:gd name="connsiteX231" fmla="*/ 2035175 w 8802663"/>
                <a:gd name="connsiteY231" fmla="*/ 482877 h 1647826"/>
                <a:gd name="connsiteX232" fmla="*/ 2035175 w 8802663"/>
                <a:gd name="connsiteY232" fmla="*/ 569742 h 1647826"/>
                <a:gd name="connsiteX233" fmla="*/ 1999932 w 8802663"/>
                <a:gd name="connsiteY233" fmla="*/ 602346 h 1647826"/>
                <a:gd name="connsiteX234" fmla="*/ 1793477 w 8802663"/>
                <a:gd name="connsiteY234" fmla="*/ 602346 h 1647826"/>
                <a:gd name="connsiteX235" fmla="*/ 1772523 w 8802663"/>
                <a:gd name="connsiteY235" fmla="*/ 623527 h 1647826"/>
                <a:gd name="connsiteX236" fmla="*/ 1772523 w 8802663"/>
                <a:gd name="connsiteY236" fmla="*/ 1614983 h 1647826"/>
                <a:gd name="connsiteX237" fmla="*/ 1737280 w 8802663"/>
                <a:gd name="connsiteY237" fmla="*/ 1647825 h 1647826"/>
                <a:gd name="connsiteX238" fmla="*/ 1634172 w 8802663"/>
                <a:gd name="connsiteY238" fmla="*/ 1647825 h 1647826"/>
                <a:gd name="connsiteX239" fmla="*/ 1601311 w 8802663"/>
                <a:gd name="connsiteY239" fmla="*/ 1614983 h 1647826"/>
                <a:gd name="connsiteX240" fmla="*/ 1601311 w 8802663"/>
                <a:gd name="connsiteY240" fmla="*/ 623527 h 1647826"/>
                <a:gd name="connsiteX241" fmla="*/ 1577737 w 8802663"/>
                <a:gd name="connsiteY241" fmla="*/ 602346 h 1647826"/>
                <a:gd name="connsiteX242" fmla="*/ 1439386 w 8802663"/>
                <a:gd name="connsiteY242" fmla="*/ 602346 h 1647826"/>
                <a:gd name="connsiteX243" fmla="*/ 1406525 w 8802663"/>
                <a:gd name="connsiteY243" fmla="*/ 569742 h 1647826"/>
                <a:gd name="connsiteX244" fmla="*/ 1406525 w 8802663"/>
                <a:gd name="connsiteY244" fmla="*/ 482877 h 1647826"/>
                <a:gd name="connsiteX245" fmla="*/ 1439386 w 8802663"/>
                <a:gd name="connsiteY245" fmla="*/ 452414 h 1647826"/>
                <a:gd name="connsiteX246" fmla="*/ 1577737 w 8802663"/>
                <a:gd name="connsiteY246" fmla="*/ 452414 h 1647826"/>
                <a:gd name="connsiteX247" fmla="*/ 1601311 w 8802663"/>
                <a:gd name="connsiteY247" fmla="*/ 431233 h 1647826"/>
                <a:gd name="connsiteX248" fmla="*/ 1601311 w 8802663"/>
                <a:gd name="connsiteY248" fmla="*/ 344606 h 1647826"/>
                <a:gd name="connsiteX249" fmla="*/ 1683226 w 8802663"/>
                <a:gd name="connsiteY249" fmla="*/ 89007 h 1647826"/>
                <a:gd name="connsiteX250" fmla="*/ 1922541 w 8802663"/>
                <a:gd name="connsiteY250" fmla="*/ 0 h 164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8802663" h="1647826">
                  <a:moveTo>
                    <a:pt x="2498469" y="603250"/>
                  </a:moveTo>
                  <a:cubicBezTo>
                    <a:pt x="2367485" y="603250"/>
                    <a:pt x="2301875" y="670366"/>
                    <a:pt x="2301875" y="804597"/>
                  </a:cubicBezTo>
                  <a:cubicBezTo>
                    <a:pt x="2301875" y="1297016"/>
                    <a:pt x="2301875" y="1297016"/>
                    <a:pt x="2301875" y="1297016"/>
                  </a:cubicBezTo>
                  <a:cubicBezTo>
                    <a:pt x="2301875" y="1431485"/>
                    <a:pt x="2367485" y="1498600"/>
                    <a:pt x="2498469" y="1498600"/>
                  </a:cubicBezTo>
                  <a:cubicBezTo>
                    <a:pt x="2662494" y="1498600"/>
                    <a:pt x="2662494" y="1498600"/>
                    <a:pt x="2662494" y="1498600"/>
                  </a:cubicBezTo>
                  <a:cubicBezTo>
                    <a:pt x="2793478" y="1498600"/>
                    <a:pt x="2859088" y="1431485"/>
                    <a:pt x="2859088" y="1297016"/>
                  </a:cubicBezTo>
                  <a:cubicBezTo>
                    <a:pt x="2859088" y="804597"/>
                    <a:pt x="2859088" y="804597"/>
                    <a:pt x="2859088" y="804597"/>
                  </a:cubicBezTo>
                  <a:cubicBezTo>
                    <a:pt x="2859088" y="670366"/>
                    <a:pt x="2793478" y="603250"/>
                    <a:pt x="2662494" y="603250"/>
                  </a:cubicBezTo>
                  <a:cubicBezTo>
                    <a:pt x="2498469" y="603250"/>
                    <a:pt x="2498469" y="603250"/>
                    <a:pt x="2498469" y="603250"/>
                  </a:cubicBezTo>
                  <a:close/>
                  <a:moveTo>
                    <a:pt x="5984257" y="601663"/>
                  </a:moveTo>
                  <a:cubicBezTo>
                    <a:pt x="5854573" y="601663"/>
                    <a:pt x="5789612" y="669833"/>
                    <a:pt x="5789612" y="805935"/>
                  </a:cubicBezTo>
                  <a:cubicBezTo>
                    <a:pt x="5789612" y="1294329"/>
                    <a:pt x="5789612" y="1294329"/>
                    <a:pt x="5789612" y="1294329"/>
                  </a:cubicBezTo>
                  <a:cubicBezTo>
                    <a:pt x="5789612" y="1430431"/>
                    <a:pt x="5854573" y="1498601"/>
                    <a:pt x="5984257" y="1498601"/>
                  </a:cubicBezTo>
                  <a:cubicBezTo>
                    <a:pt x="6117748" y="1498601"/>
                    <a:pt x="6117748" y="1498601"/>
                    <a:pt x="6117748" y="1498601"/>
                  </a:cubicBezTo>
                  <a:cubicBezTo>
                    <a:pt x="6188182" y="1498601"/>
                    <a:pt x="6241959" y="1479771"/>
                    <a:pt x="6279555" y="1442349"/>
                  </a:cubicBezTo>
                  <a:cubicBezTo>
                    <a:pt x="6317152" y="1404688"/>
                    <a:pt x="6335712" y="1351535"/>
                    <a:pt x="6335712" y="1282650"/>
                  </a:cubicBezTo>
                  <a:cubicBezTo>
                    <a:pt x="6335712" y="622877"/>
                    <a:pt x="6335712" y="622877"/>
                    <a:pt x="6335712" y="622877"/>
                  </a:cubicBezTo>
                  <a:cubicBezTo>
                    <a:pt x="6335712" y="608814"/>
                    <a:pt x="6328098" y="601663"/>
                    <a:pt x="6312393" y="601663"/>
                  </a:cubicBezTo>
                  <a:cubicBezTo>
                    <a:pt x="5984257" y="601663"/>
                    <a:pt x="5984257" y="601663"/>
                    <a:pt x="5984257" y="601663"/>
                  </a:cubicBezTo>
                  <a:close/>
                  <a:moveTo>
                    <a:pt x="8626305" y="452438"/>
                  </a:moveTo>
                  <a:cubicBezTo>
                    <a:pt x="8743366" y="452438"/>
                    <a:pt x="8743366" y="452438"/>
                    <a:pt x="8743366" y="452438"/>
                  </a:cubicBezTo>
                  <a:cubicBezTo>
                    <a:pt x="8755976" y="452438"/>
                    <a:pt x="8764303" y="456008"/>
                    <a:pt x="8768110" y="462909"/>
                  </a:cubicBezTo>
                  <a:cubicBezTo>
                    <a:pt x="8771917" y="470049"/>
                    <a:pt x="8770014" y="479092"/>
                    <a:pt x="8762162" y="490039"/>
                  </a:cubicBezTo>
                  <a:cubicBezTo>
                    <a:pt x="8417641" y="1024311"/>
                    <a:pt x="8417641" y="1024311"/>
                    <a:pt x="8417641" y="1024311"/>
                  </a:cubicBezTo>
                  <a:cubicBezTo>
                    <a:pt x="8417641" y="1033830"/>
                    <a:pt x="8417641" y="1033830"/>
                    <a:pt x="8417641" y="1033830"/>
                  </a:cubicBezTo>
                  <a:cubicBezTo>
                    <a:pt x="8797375" y="1610463"/>
                    <a:pt x="8797375" y="1610463"/>
                    <a:pt x="8797375" y="1610463"/>
                  </a:cubicBezTo>
                  <a:cubicBezTo>
                    <a:pt x="8803561" y="1621410"/>
                    <a:pt x="8804275" y="1630453"/>
                    <a:pt x="8799755" y="1637355"/>
                  </a:cubicBezTo>
                  <a:cubicBezTo>
                    <a:pt x="8794996" y="1644494"/>
                    <a:pt x="8786431" y="1647826"/>
                    <a:pt x="8773820" y="1647826"/>
                  </a:cubicBezTo>
                  <a:cubicBezTo>
                    <a:pt x="8663897" y="1647826"/>
                    <a:pt x="8663897" y="1647826"/>
                    <a:pt x="8663897" y="1647826"/>
                  </a:cubicBezTo>
                  <a:cubicBezTo>
                    <a:pt x="8634156" y="1647826"/>
                    <a:pt x="8612267" y="1637117"/>
                    <a:pt x="8598229" y="1614985"/>
                  </a:cubicBezTo>
                  <a:cubicBezTo>
                    <a:pt x="8237291" y="1057153"/>
                    <a:pt x="8237291" y="1057153"/>
                    <a:pt x="8237291" y="1057153"/>
                  </a:cubicBezTo>
                  <a:cubicBezTo>
                    <a:pt x="8228012" y="1041684"/>
                    <a:pt x="8228012" y="1025263"/>
                    <a:pt x="8237291" y="1007890"/>
                  </a:cubicBezTo>
                  <a:cubicBezTo>
                    <a:pt x="8570154" y="482900"/>
                    <a:pt x="8570154" y="482900"/>
                    <a:pt x="8570154" y="482900"/>
                  </a:cubicBezTo>
                  <a:cubicBezTo>
                    <a:pt x="8579433" y="462671"/>
                    <a:pt x="8598229" y="452438"/>
                    <a:pt x="8626305" y="452438"/>
                  </a:cubicBezTo>
                  <a:close/>
                  <a:moveTo>
                    <a:pt x="7587022" y="452438"/>
                  </a:moveTo>
                  <a:cubicBezTo>
                    <a:pt x="7695281" y="452438"/>
                    <a:pt x="7695281" y="452438"/>
                    <a:pt x="7695281" y="452438"/>
                  </a:cubicBezTo>
                  <a:cubicBezTo>
                    <a:pt x="7716980" y="452438"/>
                    <a:pt x="7727949" y="463385"/>
                    <a:pt x="7727949" y="485280"/>
                  </a:cubicBezTo>
                  <a:cubicBezTo>
                    <a:pt x="7727949" y="1615223"/>
                    <a:pt x="7727949" y="1615223"/>
                    <a:pt x="7727949" y="1615223"/>
                  </a:cubicBezTo>
                  <a:cubicBezTo>
                    <a:pt x="7727949" y="1637117"/>
                    <a:pt x="7716980" y="1647826"/>
                    <a:pt x="7695281" y="1647826"/>
                  </a:cubicBezTo>
                  <a:cubicBezTo>
                    <a:pt x="7589406" y="1647826"/>
                    <a:pt x="7589406" y="1647826"/>
                    <a:pt x="7589406" y="1647826"/>
                  </a:cubicBezTo>
                  <a:cubicBezTo>
                    <a:pt x="7567468" y="1647826"/>
                    <a:pt x="7556499" y="1637117"/>
                    <a:pt x="7556499" y="1615223"/>
                  </a:cubicBezTo>
                  <a:cubicBezTo>
                    <a:pt x="7556499" y="485280"/>
                    <a:pt x="7556499" y="485280"/>
                    <a:pt x="7556499" y="485280"/>
                  </a:cubicBezTo>
                  <a:cubicBezTo>
                    <a:pt x="7556499" y="463385"/>
                    <a:pt x="7566753" y="452438"/>
                    <a:pt x="7587022" y="452438"/>
                  </a:cubicBezTo>
                  <a:close/>
                  <a:moveTo>
                    <a:pt x="5965379" y="452438"/>
                  </a:moveTo>
                  <a:cubicBezTo>
                    <a:pt x="6474536" y="452438"/>
                    <a:pt x="6474536" y="452438"/>
                    <a:pt x="6474536" y="452438"/>
                  </a:cubicBezTo>
                  <a:cubicBezTo>
                    <a:pt x="6496207" y="452438"/>
                    <a:pt x="6507162" y="463385"/>
                    <a:pt x="6507162" y="485280"/>
                  </a:cubicBezTo>
                  <a:cubicBezTo>
                    <a:pt x="6507162" y="1615223"/>
                    <a:pt x="6507162" y="1615223"/>
                    <a:pt x="6507162" y="1615223"/>
                  </a:cubicBezTo>
                  <a:cubicBezTo>
                    <a:pt x="6507162" y="1637117"/>
                    <a:pt x="6496207" y="1647826"/>
                    <a:pt x="6474536" y="1647826"/>
                  </a:cubicBezTo>
                  <a:cubicBezTo>
                    <a:pt x="6368799" y="1647826"/>
                    <a:pt x="6368799" y="1647826"/>
                    <a:pt x="6368799" y="1647826"/>
                  </a:cubicBezTo>
                  <a:cubicBezTo>
                    <a:pt x="6346890" y="1647826"/>
                    <a:pt x="6335935" y="1637117"/>
                    <a:pt x="6335935" y="1615223"/>
                  </a:cubicBezTo>
                  <a:cubicBezTo>
                    <a:pt x="6335935" y="1523599"/>
                    <a:pt x="6335935" y="1523599"/>
                    <a:pt x="6335935" y="1523599"/>
                  </a:cubicBezTo>
                  <a:cubicBezTo>
                    <a:pt x="6326647" y="1523599"/>
                    <a:pt x="6326647" y="1523599"/>
                    <a:pt x="6326647" y="1523599"/>
                  </a:cubicBezTo>
                  <a:cubicBezTo>
                    <a:pt x="6287591" y="1606417"/>
                    <a:pt x="6207812" y="1647826"/>
                    <a:pt x="6087310" y="1647826"/>
                  </a:cubicBezTo>
                  <a:cubicBezTo>
                    <a:pt x="5965379" y="1647826"/>
                    <a:pt x="5965379" y="1647826"/>
                    <a:pt x="5965379" y="1647826"/>
                  </a:cubicBezTo>
                  <a:cubicBezTo>
                    <a:pt x="5857499" y="1647826"/>
                    <a:pt x="5772719" y="1617364"/>
                    <a:pt x="5711039" y="1556441"/>
                  </a:cubicBezTo>
                  <a:cubicBezTo>
                    <a:pt x="5649121" y="1495517"/>
                    <a:pt x="5618162" y="1410319"/>
                    <a:pt x="5618162" y="1301085"/>
                  </a:cubicBezTo>
                  <a:cubicBezTo>
                    <a:pt x="5618162" y="799417"/>
                    <a:pt x="5618162" y="799417"/>
                    <a:pt x="5618162" y="799417"/>
                  </a:cubicBezTo>
                  <a:cubicBezTo>
                    <a:pt x="5618162" y="689945"/>
                    <a:pt x="5649121" y="604747"/>
                    <a:pt x="5711039" y="543824"/>
                  </a:cubicBezTo>
                  <a:cubicBezTo>
                    <a:pt x="5772719" y="482900"/>
                    <a:pt x="5857499" y="452438"/>
                    <a:pt x="5965379" y="452438"/>
                  </a:cubicBezTo>
                  <a:close/>
                  <a:moveTo>
                    <a:pt x="3952348" y="452438"/>
                  </a:moveTo>
                  <a:cubicBezTo>
                    <a:pt x="4057677" y="452438"/>
                    <a:pt x="4057677" y="452438"/>
                    <a:pt x="4057677" y="452438"/>
                  </a:cubicBezTo>
                  <a:cubicBezTo>
                    <a:pt x="4079551" y="452438"/>
                    <a:pt x="4090488" y="463385"/>
                    <a:pt x="4090488" y="485280"/>
                  </a:cubicBezTo>
                  <a:cubicBezTo>
                    <a:pt x="4090488" y="576665"/>
                    <a:pt x="4090488" y="576665"/>
                    <a:pt x="4090488" y="576665"/>
                  </a:cubicBezTo>
                  <a:cubicBezTo>
                    <a:pt x="4099761" y="576665"/>
                    <a:pt x="4099761" y="576665"/>
                    <a:pt x="4099761" y="576665"/>
                  </a:cubicBezTo>
                  <a:cubicBezTo>
                    <a:pt x="4143509" y="493847"/>
                    <a:pt x="4226250" y="452438"/>
                    <a:pt x="4347984" y="452438"/>
                  </a:cubicBezTo>
                  <a:cubicBezTo>
                    <a:pt x="4434767" y="452438"/>
                    <a:pt x="4434767" y="452438"/>
                    <a:pt x="4434767" y="452438"/>
                  </a:cubicBezTo>
                  <a:cubicBezTo>
                    <a:pt x="4571956" y="452438"/>
                    <a:pt x="4667299" y="505508"/>
                    <a:pt x="4720557" y="611887"/>
                  </a:cubicBezTo>
                  <a:cubicBezTo>
                    <a:pt x="4745285" y="560244"/>
                    <a:pt x="4784753" y="520739"/>
                    <a:pt x="4838725" y="493371"/>
                  </a:cubicBezTo>
                  <a:cubicBezTo>
                    <a:pt x="4892460" y="466241"/>
                    <a:pt x="4949047" y="452438"/>
                    <a:pt x="5008487" y="452438"/>
                  </a:cubicBezTo>
                  <a:cubicBezTo>
                    <a:pt x="5090515" y="452438"/>
                    <a:pt x="5090515" y="452438"/>
                    <a:pt x="5090515" y="452438"/>
                  </a:cubicBezTo>
                  <a:cubicBezTo>
                    <a:pt x="5196557" y="452438"/>
                    <a:pt x="5279299" y="482900"/>
                    <a:pt x="5338739" y="543824"/>
                  </a:cubicBezTo>
                  <a:cubicBezTo>
                    <a:pt x="5397942" y="604747"/>
                    <a:pt x="5427662" y="689945"/>
                    <a:pt x="5427662" y="799417"/>
                  </a:cubicBezTo>
                  <a:cubicBezTo>
                    <a:pt x="5427662" y="1614985"/>
                    <a:pt x="5427662" y="1614985"/>
                    <a:pt x="5427662" y="1614985"/>
                  </a:cubicBezTo>
                  <a:cubicBezTo>
                    <a:pt x="5427662" y="1637117"/>
                    <a:pt x="5416725" y="1647826"/>
                    <a:pt x="5394851" y="1647826"/>
                  </a:cubicBezTo>
                  <a:cubicBezTo>
                    <a:pt x="5289522" y="1647826"/>
                    <a:pt x="5289522" y="1647826"/>
                    <a:pt x="5289522" y="1647826"/>
                  </a:cubicBezTo>
                  <a:cubicBezTo>
                    <a:pt x="5267648" y="1647826"/>
                    <a:pt x="5256711" y="1637117"/>
                    <a:pt x="5256711" y="1614985"/>
                  </a:cubicBezTo>
                  <a:cubicBezTo>
                    <a:pt x="5256711" y="806319"/>
                    <a:pt x="5256711" y="806319"/>
                    <a:pt x="5256711" y="806319"/>
                  </a:cubicBezTo>
                  <a:cubicBezTo>
                    <a:pt x="5256711" y="670430"/>
                    <a:pt x="5191089" y="602605"/>
                    <a:pt x="5060082" y="602605"/>
                  </a:cubicBezTo>
                  <a:cubicBezTo>
                    <a:pt x="4982809" y="602605"/>
                    <a:pt x="4982809" y="602605"/>
                    <a:pt x="4982809" y="602605"/>
                  </a:cubicBezTo>
                  <a:cubicBezTo>
                    <a:pt x="4912432" y="602605"/>
                    <a:pt x="4858222" y="622358"/>
                    <a:pt x="4819942" y="662339"/>
                  </a:cubicBezTo>
                  <a:cubicBezTo>
                    <a:pt x="4781662" y="702082"/>
                    <a:pt x="4762641" y="756342"/>
                    <a:pt x="4762641" y="825119"/>
                  </a:cubicBezTo>
                  <a:cubicBezTo>
                    <a:pt x="4762641" y="1614985"/>
                    <a:pt x="4762641" y="1614985"/>
                    <a:pt x="4762641" y="1614985"/>
                  </a:cubicBezTo>
                  <a:cubicBezTo>
                    <a:pt x="4762641" y="1637117"/>
                    <a:pt x="4751704" y="1647826"/>
                    <a:pt x="4729830" y="1647826"/>
                  </a:cubicBezTo>
                  <a:cubicBezTo>
                    <a:pt x="4624502" y="1647826"/>
                    <a:pt x="4624502" y="1647826"/>
                    <a:pt x="4624502" y="1647826"/>
                  </a:cubicBezTo>
                  <a:cubicBezTo>
                    <a:pt x="4602628" y="1647826"/>
                    <a:pt x="4591690" y="1637117"/>
                    <a:pt x="4591690" y="1614985"/>
                  </a:cubicBezTo>
                  <a:cubicBezTo>
                    <a:pt x="4591690" y="806319"/>
                    <a:pt x="4591690" y="806319"/>
                    <a:pt x="4591690" y="806319"/>
                  </a:cubicBezTo>
                  <a:cubicBezTo>
                    <a:pt x="4591690" y="670430"/>
                    <a:pt x="4526068" y="602605"/>
                    <a:pt x="4394824" y="602605"/>
                  </a:cubicBezTo>
                  <a:cubicBezTo>
                    <a:pt x="4308278" y="602605"/>
                    <a:pt x="4308278" y="602605"/>
                    <a:pt x="4308278" y="602605"/>
                  </a:cubicBezTo>
                  <a:cubicBezTo>
                    <a:pt x="4237901" y="602605"/>
                    <a:pt x="4184166" y="621168"/>
                    <a:pt x="4146600" y="658769"/>
                  </a:cubicBezTo>
                  <a:cubicBezTo>
                    <a:pt x="4109271" y="696371"/>
                    <a:pt x="4090488" y="749441"/>
                    <a:pt x="4090488" y="818218"/>
                  </a:cubicBezTo>
                  <a:cubicBezTo>
                    <a:pt x="4090488" y="1614985"/>
                    <a:pt x="4090488" y="1614985"/>
                    <a:pt x="4090488" y="1614985"/>
                  </a:cubicBezTo>
                  <a:cubicBezTo>
                    <a:pt x="4090488" y="1637117"/>
                    <a:pt x="4079551" y="1647826"/>
                    <a:pt x="4057677" y="1647826"/>
                  </a:cubicBezTo>
                  <a:cubicBezTo>
                    <a:pt x="3952348" y="1647826"/>
                    <a:pt x="3952348" y="1647826"/>
                    <a:pt x="3952348" y="1647826"/>
                  </a:cubicBezTo>
                  <a:cubicBezTo>
                    <a:pt x="3930474" y="1647826"/>
                    <a:pt x="3919537" y="1637117"/>
                    <a:pt x="3919537" y="1614985"/>
                  </a:cubicBezTo>
                  <a:cubicBezTo>
                    <a:pt x="3919537" y="485280"/>
                    <a:pt x="3919537" y="485280"/>
                    <a:pt x="3919537" y="485280"/>
                  </a:cubicBezTo>
                  <a:cubicBezTo>
                    <a:pt x="3919537" y="463385"/>
                    <a:pt x="3930474" y="452438"/>
                    <a:pt x="3952348" y="452438"/>
                  </a:cubicBezTo>
                  <a:close/>
                  <a:moveTo>
                    <a:pt x="3247193" y="452438"/>
                  </a:moveTo>
                  <a:cubicBezTo>
                    <a:pt x="3352536" y="452438"/>
                    <a:pt x="3352536" y="452438"/>
                    <a:pt x="3352536" y="452438"/>
                  </a:cubicBezTo>
                  <a:cubicBezTo>
                    <a:pt x="3374127" y="452438"/>
                    <a:pt x="3385041" y="463385"/>
                    <a:pt x="3385041" y="485280"/>
                  </a:cubicBezTo>
                  <a:cubicBezTo>
                    <a:pt x="3385041" y="579045"/>
                    <a:pt x="3385041" y="579045"/>
                    <a:pt x="3385041" y="579045"/>
                  </a:cubicBezTo>
                  <a:cubicBezTo>
                    <a:pt x="3394531" y="579045"/>
                    <a:pt x="3394531" y="579045"/>
                    <a:pt x="3394531" y="579045"/>
                  </a:cubicBezTo>
                  <a:cubicBezTo>
                    <a:pt x="3410190" y="544775"/>
                    <a:pt x="3439611" y="515028"/>
                    <a:pt x="3483267" y="490039"/>
                  </a:cubicBezTo>
                  <a:cubicBezTo>
                    <a:pt x="3526923" y="465051"/>
                    <a:pt x="3578408" y="452438"/>
                    <a:pt x="3637486" y="452438"/>
                  </a:cubicBezTo>
                  <a:cubicBezTo>
                    <a:pt x="3728831" y="452438"/>
                    <a:pt x="3728831" y="452438"/>
                    <a:pt x="3728831" y="452438"/>
                  </a:cubicBezTo>
                  <a:cubicBezTo>
                    <a:pt x="3748998" y="452438"/>
                    <a:pt x="3759201" y="463385"/>
                    <a:pt x="3759201" y="485280"/>
                  </a:cubicBezTo>
                  <a:cubicBezTo>
                    <a:pt x="3759201" y="571906"/>
                    <a:pt x="3759201" y="571906"/>
                    <a:pt x="3759201" y="571906"/>
                  </a:cubicBezTo>
                  <a:cubicBezTo>
                    <a:pt x="3759201" y="582853"/>
                    <a:pt x="3756828" y="591182"/>
                    <a:pt x="3752083" y="596656"/>
                  </a:cubicBezTo>
                  <a:cubicBezTo>
                    <a:pt x="3747338" y="602129"/>
                    <a:pt x="3739508" y="604033"/>
                    <a:pt x="3728831" y="602605"/>
                  </a:cubicBezTo>
                  <a:cubicBezTo>
                    <a:pt x="3602609" y="602605"/>
                    <a:pt x="3602609" y="602605"/>
                    <a:pt x="3602609" y="602605"/>
                  </a:cubicBezTo>
                  <a:cubicBezTo>
                    <a:pt x="3532380" y="602605"/>
                    <a:pt x="3478759" y="623548"/>
                    <a:pt x="3441272" y="665909"/>
                  </a:cubicBezTo>
                  <a:cubicBezTo>
                    <a:pt x="3403784" y="708032"/>
                    <a:pt x="3385041" y="765862"/>
                    <a:pt x="3385041" y="839160"/>
                  </a:cubicBezTo>
                  <a:cubicBezTo>
                    <a:pt x="3385041" y="1614985"/>
                    <a:pt x="3385041" y="1614985"/>
                    <a:pt x="3385041" y="1614985"/>
                  </a:cubicBezTo>
                  <a:cubicBezTo>
                    <a:pt x="3385041" y="1637117"/>
                    <a:pt x="3374127" y="1647826"/>
                    <a:pt x="3352536" y="1647826"/>
                  </a:cubicBezTo>
                  <a:cubicBezTo>
                    <a:pt x="3247193" y="1647826"/>
                    <a:pt x="3247193" y="1647826"/>
                    <a:pt x="3247193" y="1647826"/>
                  </a:cubicBezTo>
                  <a:cubicBezTo>
                    <a:pt x="3225365" y="1647826"/>
                    <a:pt x="3214688" y="1637117"/>
                    <a:pt x="3214688" y="1614985"/>
                  </a:cubicBezTo>
                  <a:cubicBezTo>
                    <a:pt x="3214688" y="485280"/>
                    <a:pt x="3214688" y="485280"/>
                    <a:pt x="3214688" y="485280"/>
                  </a:cubicBezTo>
                  <a:cubicBezTo>
                    <a:pt x="3214688" y="463385"/>
                    <a:pt x="3225365" y="452438"/>
                    <a:pt x="3247193" y="452438"/>
                  </a:cubicBezTo>
                  <a:close/>
                  <a:moveTo>
                    <a:pt x="2479749" y="452438"/>
                  </a:moveTo>
                  <a:cubicBezTo>
                    <a:pt x="2680976" y="452438"/>
                    <a:pt x="2680976" y="452438"/>
                    <a:pt x="2680976" y="452438"/>
                  </a:cubicBezTo>
                  <a:cubicBezTo>
                    <a:pt x="2788598" y="452438"/>
                    <a:pt x="2873413" y="482900"/>
                    <a:pt x="2934946" y="543824"/>
                  </a:cubicBezTo>
                  <a:cubicBezTo>
                    <a:pt x="2996478" y="604747"/>
                    <a:pt x="3027363" y="689945"/>
                    <a:pt x="3027363" y="799417"/>
                  </a:cubicBezTo>
                  <a:cubicBezTo>
                    <a:pt x="3027363" y="1301085"/>
                    <a:pt x="3027363" y="1301085"/>
                    <a:pt x="3027363" y="1301085"/>
                  </a:cubicBezTo>
                  <a:cubicBezTo>
                    <a:pt x="3027363" y="1410319"/>
                    <a:pt x="2996478" y="1495517"/>
                    <a:pt x="2934946" y="1556441"/>
                  </a:cubicBezTo>
                  <a:cubicBezTo>
                    <a:pt x="2873413" y="1617364"/>
                    <a:pt x="2788598" y="1647826"/>
                    <a:pt x="2680976" y="1647826"/>
                  </a:cubicBezTo>
                  <a:cubicBezTo>
                    <a:pt x="2479749" y="1647826"/>
                    <a:pt x="2479749" y="1647826"/>
                    <a:pt x="2479749" y="1647826"/>
                  </a:cubicBezTo>
                  <a:cubicBezTo>
                    <a:pt x="2372127" y="1647826"/>
                    <a:pt x="2287550" y="1617364"/>
                    <a:pt x="2226017" y="1556441"/>
                  </a:cubicBezTo>
                  <a:cubicBezTo>
                    <a:pt x="2164247" y="1495517"/>
                    <a:pt x="2133600" y="1410319"/>
                    <a:pt x="2133600" y="1301085"/>
                  </a:cubicBezTo>
                  <a:cubicBezTo>
                    <a:pt x="2133600" y="799417"/>
                    <a:pt x="2133600" y="799417"/>
                    <a:pt x="2133600" y="799417"/>
                  </a:cubicBezTo>
                  <a:cubicBezTo>
                    <a:pt x="2133600" y="689945"/>
                    <a:pt x="2164247" y="604747"/>
                    <a:pt x="2226017" y="543824"/>
                  </a:cubicBezTo>
                  <a:cubicBezTo>
                    <a:pt x="2287550" y="482900"/>
                    <a:pt x="2372127" y="452438"/>
                    <a:pt x="2479749" y="452438"/>
                  </a:cubicBezTo>
                  <a:close/>
                  <a:moveTo>
                    <a:pt x="424918" y="452438"/>
                  </a:moveTo>
                  <a:cubicBezTo>
                    <a:pt x="530229" y="452438"/>
                    <a:pt x="530229" y="452438"/>
                    <a:pt x="530229" y="452438"/>
                  </a:cubicBezTo>
                  <a:cubicBezTo>
                    <a:pt x="552099" y="452438"/>
                    <a:pt x="563034" y="463385"/>
                    <a:pt x="563034" y="485280"/>
                  </a:cubicBezTo>
                  <a:cubicBezTo>
                    <a:pt x="563034" y="576665"/>
                    <a:pt x="563034" y="576665"/>
                    <a:pt x="563034" y="576665"/>
                  </a:cubicBezTo>
                  <a:cubicBezTo>
                    <a:pt x="572305" y="576665"/>
                    <a:pt x="572305" y="576665"/>
                    <a:pt x="572305" y="576665"/>
                  </a:cubicBezTo>
                  <a:cubicBezTo>
                    <a:pt x="611292" y="493847"/>
                    <a:pt x="690929" y="452438"/>
                    <a:pt x="811216" y="452438"/>
                  </a:cubicBezTo>
                  <a:cubicBezTo>
                    <a:pt x="942437" y="452438"/>
                    <a:pt x="942437" y="452438"/>
                    <a:pt x="942437" y="452438"/>
                  </a:cubicBezTo>
                  <a:cubicBezTo>
                    <a:pt x="1048461" y="452438"/>
                    <a:pt x="1131187" y="482900"/>
                    <a:pt x="1190618" y="543824"/>
                  </a:cubicBezTo>
                  <a:cubicBezTo>
                    <a:pt x="1249811" y="604747"/>
                    <a:pt x="1279525" y="689945"/>
                    <a:pt x="1279525" y="799417"/>
                  </a:cubicBezTo>
                  <a:cubicBezTo>
                    <a:pt x="1279525" y="1614985"/>
                    <a:pt x="1279525" y="1614985"/>
                    <a:pt x="1279525" y="1614985"/>
                  </a:cubicBezTo>
                  <a:cubicBezTo>
                    <a:pt x="1279525" y="1637117"/>
                    <a:pt x="1268591" y="1647826"/>
                    <a:pt x="1246720" y="1647826"/>
                  </a:cubicBezTo>
                  <a:cubicBezTo>
                    <a:pt x="1141410" y="1647826"/>
                    <a:pt x="1141410" y="1647826"/>
                    <a:pt x="1141410" y="1647826"/>
                  </a:cubicBezTo>
                  <a:cubicBezTo>
                    <a:pt x="1119539" y="1647826"/>
                    <a:pt x="1108604" y="1637117"/>
                    <a:pt x="1108604" y="1614985"/>
                  </a:cubicBezTo>
                  <a:cubicBezTo>
                    <a:pt x="1108604" y="806319"/>
                    <a:pt x="1108604" y="806319"/>
                    <a:pt x="1108604" y="806319"/>
                  </a:cubicBezTo>
                  <a:cubicBezTo>
                    <a:pt x="1108604" y="670430"/>
                    <a:pt x="1042993" y="602605"/>
                    <a:pt x="912009" y="602605"/>
                  </a:cubicBezTo>
                  <a:cubicBezTo>
                    <a:pt x="780787" y="602605"/>
                    <a:pt x="780787" y="602605"/>
                    <a:pt x="780787" y="602605"/>
                  </a:cubicBezTo>
                  <a:cubicBezTo>
                    <a:pt x="710421" y="602605"/>
                    <a:pt x="656696" y="621168"/>
                    <a:pt x="619137" y="658769"/>
                  </a:cubicBezTo>
                  <a:cubicBezTo>
                    <a:pt x="581815" y="696371"/>
                    <a:pt x="563034" y="749441"/>
                    <a:pt x="563034" y="818218"/>
                  </a:cubicBezTo>
                  <a:cubicBezTo>
                    <a:pt x="563034" y="1614985"/>
                    <a:pt x="563034" y="1614985"/>
                    <a:pt x="563034" y="1614985"/>
                  </a:cubicBezTo>
                  <a:cubicBezTo>
                    <a:pt x="563034" y="1637117"/>
                    <a:pt x="552099" y="1647826"/>
                    <a:pt x="530229" y="1647826"/>
                  </a:cubicBezTo>
                  <a:cubicBezTo>
                    <a:pt x="424918" y="1647826"/>
                    <a:pt x="424918" y="1647826"/>
                    <a:pt x="424918" y="1647826"/>
                  </a:cubicBezTo>
                  <a:cubicBezTo>
                    <a:pt x="403048" y="1647826"/>
                    <a:pt x="392113" y="1637117"/>
                    <a:pt x="392113" y="1614985"/>
                  </a:cubicBezTo>
                  <a:cubicBezTo>
                    <a:pt x="392113" y="485280"/>
                    <a:pt x="392113" y="485280"/>
                    <a:pt x="392113" y="485280"/>
                  </a:cubicBezTo>
                  <a:cubicBezTo>
                    <a:pt x="392113" y="463385"/>
                    <a:pt x="403048" y="452438"/>
                    <a:pt x="424918" y="452438"/>
                  </a:cubicBezTo>
                  <a:close/>
                  <a:moveTo>
                    <a:pt x="30523" y="452438"/>
                  </a:moveTo>
                  <a:cubicBezTo>
                    <a:pt x="138542" y="452438"/>
                    <a:pt x="138542" y="452438"/>
                    <a:pt x="138542" y="452438"/>
                  </a:cubicBezTo>
                  <a:cubicBezTo>
                    <a:pt x="160480" y="452438"/>
                    <a:pt x="171450" y="463385"/>
                    <a:pt x="171450" y="485280"/>
                  </a:cubicBezTo>
                  <a:cubicBezTo>
                    <a:pt x="171450" y="1615223"/>
                    <a:pt x="171450" y="1615223"/>
                    <a:pt x="171450" y="1615223"/>
                  </a:cubicBezTo>
                  <a:cubicBezTo>
                    <a:pt x="171450" y="1637117"/>
                    <a:pt x="160480" y="1647826"/>
                    <a:pt x="138542" y="1647826"/>
                  </a:cubicBezTo>
                  <a:cubicBezTo>
                    <a:pt x="32906" y="1647826"/>
                    <a:pt x="32906" y="1647826"/>
                    <a:pt x="32906" y="1647826"/>
                  </a:cubicBezTo>
                  <a:cubicBezTo>
                    <a:pt x="10968" y="1647826"/>
                    <a:pt x="0" y="1637117"/>
                    <a:pt x="0" y="1615223"/>
                  </a:cubicBezTo>
                  <a:cubicBezTo>
                    <a:pt x="0" y="485280"/>
                    <a:pt x="0" y="485280"/>
                    <a:pt x="0" y="485280"/>
                  </a:cubicBezTo>
                  <a:cubicBezTo>
                    <a:pt x="0" y="463385"/>
                    <a:pt x="10015" y="452438"/>
                    <a:pt x="30523" y="452438"/>
                  </a:cubicBezTo>
                  <a:close/>
                  <a:moveTo>
                    <a:pt x="6895122" y="196850"/>
                  </a:moveTo>
                  <a:cubicBezTo>
                    <a:pt x="7000837" y="196850"/>
                    <a:pt x="7000837" y="196850"/>
                    <a:pt x="7000837" y="196850"/>
                  </a:cubicBezTo>
                  <a:cubicBezTo>
                    <a:pt x="7021075" y="196850"/>
                    <a:pt x="7031313" y="208035"/>
                    <a:pt x="7031313" y="229692"/>
                  </a:cubicBezTo>
                  <a:cubicBezTo>
                    <a:pt x="7031313" y="431262"/>
                    <a:pt x="7031313" y="431262"/>
                    <a:pt x="7031313" y="431262"/>
                  </a:cubicBezTo>
                  <a:cubicBezTo>
                    <a:pt x="7031313" y="445541"/>
                    <a:pt x="7039885" y="452443"/>
                    <a:pt x="7057028" y="452443"/>
                  </a:cubicBezTo>
                  <a:cubicBezTo>
                    <a:pt x="7305602" y="452443"/>
                    <a:pt x="7305602" y="452443"/>
                    <a:pt x="7305602" y="452443"/>
                  </a:cubicBezTo>
                  <a:cubicBezTo>
                    <a:pt x="7329174" y="452443"/>
                    <a:pt x="7340840" y="463390"/>
                    <a:pt x="7340840" y="485284"/>
                  </a:cubicBezTo>
                  <a:cubicBezTo>
                    <a:pt x="7340840" y="571909"/>
                    <a:pt x="7340840" y="571909"/>
                    <a:pt x="7340840" y="571909"/>
                  </a:cubicBezTo>
                  <a:cubicBezTo>
                    <a:pt x="7340840" y="592376"/>
                    <a:pt x="7329174" y="602371"/>
                    <a:pt x="7305602" y="602371"/>
                  </a:cubicBezTo>
                  <a:cubicBezTo>
                    <a:pt x="7057028" y="602371"/>
                    <a:pt x="7057028" y="602371"/>
                    <a:pt x="7057028" y="602371"/>
                  </a:cubicBezTo>
                  <a:cubicBezTo>
                    <a:pt x="7039885" y="602371"/>
                    <a:pt x="7031313" y="609511"/>
                    <a:pt x="7031313" y="623551"/>
                  </a:cubicBezTo>
                  <a:cubicBezTo>
                    <a:pt x="7031313" y="1298706"/>
                    <a:pt x="7031313" y="1298706"/>
                    <a:pt x="7031313" y="1298706"/>
                  </a:cubicBezTo>
                  <a:cubicBezTo>
                    <a:pt x="7031313" y="1431500"/>
                    <a:pt x="7100124" y="1497897"/>
                    <a:pt x="7237744" y="1497897"/>
                  </a:cubicBezTo>
                  <a:cubicBezTo>
                    <a:pt x="7329174" y="1497897"/>
                    <a:pt x="7329174" y="1497897"/>
                    <a:pt x="7329174" y="1497897"/>
                  </a:cubicBezTo>
                  <a:cubicBezTo>
                    <a:pt x="7352507" y="1497897"/>
                    <a:pt x="7364412" y="1508844"/>
                    <a:pt x="7364412" y="1530738"/>
                  </a:cubicBezTo>
                  <a:cubicBezTo>
                    <a:pt x="7364412" y="1617364"/>
                    <a:pt x="7364412" y="1617364"/>
                    <a:pt x="7364412" y="1617364"/>
                  </a:cubicBezTo>
                  <a:cubicBezTo>
                    <a:pt x="7364412" y="1637830"/>
                    <a:pt x="7352507" y="1647825"/>
                    <a:pt x="7329174" y="1647825"/>
                  </a:cubicBezTo>
                  <a:cubicBezTo>
                    <a:pt x="7216553" y="1647825"/>
                    <a:pt x="7216553" y="1647825"/>
                    <a:pt x="7216553" y="1647825"/>
                  </a:cubicBezTo>
                  <a:cubicBezTo>
                    <a:pt x="7108695" y="1647825"/>
                    <a:pt x="7022504" y="1617839"/>
                    <a:pt x="6958694" y="1557630"/>
                  </a:cubicBezTo>
                  <a:cubicBezTo>
                    <a:pt x="6894407" y="1497421"/>
                    <a:pt x="6862502" y="1413651"/>
                    <a:pt x="6862502" y="1305607"/>
                  </a:cubicBezTo>
                  <a:cubicBezTo>
                    <a:pt x="6862502" y="623551"/>
                    <a:pt x="6862502" y="623551"/>
                    <a:pt x="6862502" y="623551"/>
                  </a:cubicBezTo>
                  <a:cubicBezTo>
                    <a:pt x="6862502" y="609511"/>
                    <a:pt x="6854645" y="602371"/>
                    <a:pt x="6838931" y="602371"/>
                  </a:cubicBezTo>
                  <a:cubicBezTo>
                    <a:pt x="6709882" y="602371"/>
                    <a:pt x="6709882" y="602371"/>
                    <a:pt x="6709882" y="602371"/>
                  </a:cubicBezTo>
                  <a:cubicBezTo>
                    <a:pt x="6687977" y="602371"/>
                    <a:pt x="6677024" y="592376"/>
                    <a:pt x="6677024" y="571909"/>
                  </a:cubicBezTo>
                  <a:cubicBezTo>
                    <a:pt x="6677024" y="485284"/>
                    <a:pt x="6677024" y="485284"/>
                    <a:pt x="6677024" y="485284"/>
                  </a:cubicBezTo>
                  <a:cubicBezTo>
                    <a:pt x="6677024" y="463390"/>
                    <a:pt x="6687977" y="452443"/>
                    <a:pt x="6709882" y="452443"/>
                  </a:cubicBezTo>
                  <a:cubicBezTo>
                    <a:pt x="6838931" y="452443"/>
                    <a:pt x="6838931" y="452443"/>
                    <a:pt x="6838931" y="452443"/>
                  </a:cubicBezTo>
                  <a:cubicBezTo>
                    <a:pt x="6854645" y="452443"/>
                    <a:pt x="6862502" y="445541"/>
                    <a:pt x="6862502" y="431262"/>
                  </a:cubicBezTo>
                  <a:cubicBezTo>
                    <a:pt x="6862502" y="229692"/>
                    <a:pt x="6862502" y="229692"/>
                    <a:pt x="6862502" y="229692"/>
                  </a:cubicBezTo>
                  <a:cubicBezTo>
                    <a:pt x="6862502" y="208035"/>
                    <a:pt x="6873217" y="196850"/>
                    <a:pt x="6895122" y="196850"/>
                  </a:cubicBezTo>
                  <a:close/>
                  <a:moveTo>
                    <a:pt x="7587022" y="1588"/>
                  </a:moveTo>
                  <a:cubicBezTo>
                    <a:pt x="7695281" y="1588"/>
                    <a:pt x="7695281" y="1588"/>
                    <a:pt x="7695281" y="1588"/>
                  </a:cubicBezTo>
                  <a:cubicBezTo>
                    <a:pt x="7716980" y="1588"/>
                    <a:pt x="7727949" y="12584"/>
                    <a:pt x="7727949" y="34577"/>
                  </a:cubicBezTo>
                  <a:cubicBezTo>
                    <a:pt x="7727949" y="255937"/>
                    <a:pt x="7727949" y="255937"/>
                    <a:pt x="7727949" y="255937"/>
                  </a:cubicBezTo>
                  <a:cubicBezTo>
                    <a:pt x="7727949" y="277930"/>
                    <a:pt x="7716980" y="288926"/>
                    <a:pt x="7695281" y="288926"/>
                  </a:cubicBezTo>
                  <a:cubicBezTo>
                    <a:pt x="7587022" y="288926"/>
                    <a:pt x="7587022" y="288926"/>
                    <a:pt x="7587022" y="288926"/>
                  </a:cubicBezTo>
                  <a:cubicBezTo>
                    <a:pt x="7566753" y="288926"/>
                    <a:pt x="7556499" y="277930"/>
                    <a:pt x="7556499" y="255937"/>
                  </a:cubicBezTo>
                  <a:cubicBezTo>
                    <a:pt x="7556499" y="34577"/>
                    <a:pt x="7556499" y="34577"/>
                    <a:pt x="7556499" y="34577"/>
                  </a:cubicBezTo>
                  <a:cubicBezTo>
                    <a:pt x="7556499" y="12584"/>
                    <a:pt x="7566753" y="1588"/>
                    <a:pt x="7587022" y="1588"/>
                  </a:cubicBezTo>
                  <a:close/>
                  <a:moveTo>
                    <a:pt x="30523" y="1588"/>
                  </a:moveTo>
                  <a:cubicBezTo>
                    <a:pt x="138542" y="1588"/>
                    <a:pt x="138542" y="1588"/>
                    <a:pt x="138542" y="1588"/>
                  </a:cubicBezTo>
                  <a:cubicBezTo>
                    <a:pt x="160480" y="1588"/>
                    <a:pt x="171450" y="12584"/>
                    <a:pt x="171450" y="34577"/>
                  </a:cubicBezTo>
                  <a:cubicBezTo>
                    <a:pt x="171450" y="255937"/>
                    <a:pt x="171450" y="255937"/>
                    <a:pt x="171450" y="255937"/>
                  </a:cubicBezTo>
                  <a:cubicBezTo>
                    <a:pt x="171450" y="277930"/>
                    <a:pt x="160480" y="288926"/>
                    <a:pt x="138542" y="288926"/>
                  </a:cubicBezTo>
                  <a:cubicBezTo>
                    <a:pt x="30523" y="288926"/>
                    <a:pt x="30523" y="288926"/>
                    <a:pt x="30523" y="288926"/>
                  </a:cubicBezTo>
                  <a:cubicBezTo>
                    <a:pt x="10015" y="288926"/>
                    <a:pt x="0" y="277930"/>
                    <a:pt x="0" y="255937"/>
                  </a:cubicBezTo>
                  <a:cubicBezTo>
                    <a:pt x="0" y="34577"/>
                    <a:pt x="0" y="34577"/>
                    <a:pt x="0" y="34577"/>
                  </a:cubicBezTo>
                  <a:cubicBezTo>
                    <a:pt x="0" y="12584"/>
                    <a:pt x="10015" y="1588"/>
                    <a:pt x="30523" y="1588"/>
                  </a:cubicBezTo>
                  <a:close/>
                  <a:moveTo>
                    <a:pt x="7981519" y="0"/>
                  </a:moveTo>
                  <a:cubicBezTo>
                    <a:pt x="8087394" y="0"/>
                    <a:pt x="8087394" y="0"/>
                    <a:pt x="8087394" y="0"/>
                  </a:cubicBezTo>
                  <a:cubicBezTo>
                    <a:pt x="8109093" y="0"/>
                    <a:pt x="8120062" y="10948"/>
                    <a:pt x="8120062" y="32842"/>
                  </a:cubicBezTo>
                  <a:cubicBezTo>
                    <a:pt x="8120062" y="1614983"/>
                    <a:pt x="8120062" y="1614983"/>
                    <a:pt x="8120062" y="1614983"/>
                  </a:cubicBezTo>
                  <a:cubicBezTo>
                    <a:pt x="8120062" y="1637116"/>
                    <a:pt x="8109093" y="1647825"/>
                    <a:pt x="8087394" y="1647825"/>
                  </a:cubicBezTo>
                  <a:cubicBezTo>
                    <a:pt x="7981519" y="1647825"/>
                    <a:pt x="7981519" y="1647825"/>
                    <a:pt x="7981519" y="1647825"/>
                  </a:cubicBezTo>
                  <a:cubicBezTo>
                    <a:pt x="7959581" y="1647825"/>
                    <a:pt x="7948612" y="1637116"/>
                    <a:pt x="7948612" y="1614983"/>
                  </a:cubicBezTo>
                  <a:cubicBezTo>
                    <a:pt x="7948612" y="32842"/>
                    <a:pt x="7948612" y="32842"/>
                    <a:pt x="7948612" y="32842"/>
                  </a:cubicBezTo>
                  <a:cubicBezTo>
                    <a:pt x="7948612" y="10948"/>
                    <a:pt x="7959581" y="0"/>
                    <a:pt x="7981519" y="0"/>
                  </a:cubicBezTo>
                  <a:close/>
                  <a:moveTo>
                    <a:pt x="1922541" y="0"/>
                  </a:moveTo>
                  <a:cubicBezTo>
                    <a:pt x="2002314" y="0"/>
                    <a:pt x="2002314" y="0"/>
                    <a:pt x="2002314" y="0"/>
                  </a:cubicBezTo>
                  <a:cubicBezTo>
                    <a:pt x="2024221" y="0"/>
                    <a:pt x="2035175" y="10234"/>
                    <a:pt x="2035175" y="30463"/>
                  </a:cubicBezTo>
                  <a:cubicBezTo>
                    <a:pt x="2035175" y="117328"/>
                    <a:pt x="2035175" y="117328"/>
                    <a:pt x="2035175" y="117328"/>
                  </a:cubicBezTo>
                  <a:cubicBezTo>
                    <a:pt x="2035175" y="139223"/>
                    <a:pt x="2024221" y="149932"/>
                    <a:pt x="2002314" y="149932"/>
                  </a:cubicBezTo>
                  <a:cubicBezTo>
                    <a:pt x="1943735" y="149932"/>
                    <a:pt x="1943735" y="149932"/>
                    <a:pt x="1943735" y="149932"/>
                  </a:cubicBezTo>
                  <a:cubicBezTo>
                    <a:pt x="1879679" y="149932"/>
                    <a:pt x="1835150" y="166115"/>
                    <a:pt x="1809908" y="198006"/>
                  </a:cubicBezTo>
                  <a:cubicBezTo>
                    <a:pt x="1784905" y="230134"/>
                    <a:pt x="1772523" y="281301"/>
                    <a:pt x="1772523" y="351746"/>
                  </a:cubicBezTo>
                  <a:cubicBezTo>
                    <a:pt x="1772523" y="431233"/>
                    <a:pt x="1772523" y="431233"/>
                    <a:pt x="1772523" y="431233"/>
                  </a:cubicBezTo>
                  <a:cubicBezTo>
                    <a:pt x="1772523" y="445275"/>
                    <a:pt x="1779428" y="452414"/>
                    <a:pt x="1793477" y="452414"/>
                  </a:cubicBezTo>
                  <a:cubicBezTo>
                    <a:pt x="1999932" y="452414"/>
                    <a:pt x="1999932" y="452414"/>
                    <a:pt x="1999932" y="452414"/>
                  </a:cubicBezTo>
                  <a:cubicBezTo>
                    <a:pt x="2023507" y="452414"/>
                    <a:pt x="2035175" y="462648"/>
                    <a:pt x="2035175" y="482877"/>
                  </a:cubicBezTo>
                  <a:cubicBezTo>
                    <a:pt x="2035175" y="569742"/>
                    <a:pt x="2035175" y="569742"/>
                    <a:pt x="2035175" y="569742"/>
                  </a:cubicBezTo>
                  <a:cubicBezTo>
                    <a:pt x="2035175" y="591637"/>
                    <a:pt x="2023507" y="602346"/>
                    <a:pt x="1999932" y="602346"/>
                  </a:cubicBezTo>
                  <a:cubicBezTo>
                    <a:pt x="1793477" y="602346"/>
                    <a:pt x="1793477" y="602346"/>
                    <a:pt x="1793477" y="602346"/>
                  </a:cubicBezTo>
                  <a:cubicBezTo>
                    <a:pt x="1779428" y="602346"/>
                    <a:pt x="1772523" y="609486"/>
                    <a:pt x="1772523" y="623527"/>
                  </a:cubicBezTo>
                  <a:cubicBezTo>
                    <a:pt x="1772523" y="1614983"/>
                    <a:pt x="1772523" y="1614983"/>
                    <a:pt x="1772523" y="1614983"/>
                  </a:cubicBezTo>
                  <a:cubicBezTo>
                    <a:pt x="1772523" y="1637116"/>
                    <a:pt x="1760854" y="1647825"/>
                    <a:pt x="1737280" y="1647825"/>
                  </a:cubicBezTo>
                  <a:cubicBezTo>
                    <a:pt x="1634172" y="1647825"/>
                    <a:pt x="1634172" y="1647825"/>
                    <a:pt x="1634172" y="1647825"/>
                  </a:cubicBezTo>
                  <a:cubicBezTo>
                    <a:pt x="1612265" y="1647825"/>
                    <a:pt x="1601311" y="1637116"/>
                    <a:pt x="1601311" y="1614983"/>
                  </a:cubicBezTo>
                  <a:cubicBezTo>
                    <a:pt x="1601311" y="623527"/>
                    <a:pt x="1601311" y="623527"/>
                    <a:pt x="1601311" y="623527"/>
                  </a:cubicBezTo>
                  <a:cubicBezTo>
                    <a:pt x="1601311" y="609486"/>
                    <a:pt x="1593453" y="602346"/>
                    <a:pt x="1577737" y="602346"/>
                  </a:cubicBezTo>
                  <a:cubicBezTo>
                    <a:pt x="1439386" y="602346"/>
                    <a:pt x="1439386" y="602346"/>
                    <a:pt x="1439386" y="602346"/>
                  </a:cubicBezTo>
                  <a:cubicBezTo>
                    <a:pt x="1417478" y="602346"/>
                    <a:pt x="1406525" y="591637"/>
                    <a:pt x="1406525" y="569742"/>
                  </a:cubicBezTo>
                  <a:cubicBezTo>
                    <a:pt x="1406525" y="482877"/>
                    <a:pt x="1406525" y="482877"/>
                    <a:pt x="1406525" y="482877"/>
                  </a:cubicBezTo>
                  <a:cubicBezTo>
                    <a:pt x="1406525" y="462648"/>
                    <a:pt x="1417478" y="452414"/>
                    <a:pt x="1439386" y="452414"/>
                  </a:cubicBezTo>
                  <a:cubicBezTo>
                    <a:pt x="1577737" y="452414"/>
                    <a:pt x="1577737" y="452414"/>
                    <a:pt x="1577737" y="452414"/>
                  </a:cubicBezTo>
                  <a:cubicBezTo>
                    <a:pt x="1593453" y="452414"/>
                    <a:pt x="1601311" y="445275"/>
                    <a:pt x="1601311" y="431233"/>
                  </a:cubicBezTo>
                  <a:cubicBezTo>
                    <a:pt x="1601311" y="344606"/>
                    <a:pt x="1601311" y="344606"/>
                    <a:pt x="1601311" y="344606"/>
                  </a:cubicBezTo>
                  <a:cubicBezTo>
                    <a:pt x="1601311" y="233704"/>
                    <a:pt x="1628695" y="148504"/>
                    <a:pt x="1683226" y="89007"/>
                  </a:cubicBezTo>
                  <a:cubicBezTo>
                    <a:pt x="1738233" y="29749"/>
                    <a:pt x="1817767" y="0"/>
                    <a:pt x="1922541" y="0"/>
                  </a:cubicBezTo>
                  <a:close/>
                </a:path>
              </a:pathLst>
            </a:custGeom>
            <a:solidFill>
              <a:srgbClr val="0056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4D3676C-22DD-408D-B726-74ABD71DF4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038598" y="4113213"/>
              <a:ext cx="8810623" cy="787401"/>
            </a:xfrm>
            <a:custGeom>
              <a:avLst/>
              <a:gdLst>
                <a:gd name="connsiteX0" fmla="*/ 8170503 w 8810623"/>
                <a:gd name="connsiteY0" fmla="*/ 242888 h 787401"/>
                <a:gd name="connsiteX1" fmla="*/ 8109425 w 8810623"/>
                <a:gd name="connsiteY1" fmla="*/ 261635 h 787401"/>
                <a:gd name="connsiteX2" fmla="*/ 8076865 w 8810623"/>
                <a:gd name="connsiteY2" fmla="*/ 311385 h 787401"/>
                <a:gd name="connsiteX3" fmla="*/ 8069260 w 8810623"/>
                <a:gd name="connsiteY3" fmla="*/ 360174 h 787401"/>
                <a:gd name="connsiteX4" fmla="*/ 8072587 w 8810623"/>
                <a:gd name="connsiteY4" fmla="*/ 363538 h 787401"/>
                <a:gd name="connsiteX5" fmla="*/ 8269133 w 8810623"/>
                <a:gd name="connsiteY5" fmla="*/ 363538 h 787401"/>
                <a:gd name="connsiteX6" fmla="*/ 8272460 w 8810623"/>
                <a:gd name="connsiteY6" fmla="*/ 360174 h 787401"/>
                <a:gd name="connsiteX7" fmla="*/ 8267469 w 8810623"/>
                <a:gd name="connsiteY7" fmla="*/ 317634 h 787401"/>
                <a:gd name="connsiteX8" fmla="*/ 8233483 w 8810623"/>
                <a:gd name="connsiteY8" fmla="*/ 263317 h 787401"/>
                <a:gd name="connsiteX9" fmla="*/ 8170503 w 8810623"/>
                <a:gd name="connsiteY9" fmla="*/ 242888 h 787401"/>
                <a:gd name="connsiteX10" fmla="*/ 7476614 w 8810623"/>
                <a:gd name="connsiteY10" fmla="*/ 242888 h 787401"/>
                <a:gd name="connsiteX11" fmla="*/ 7416249 w 8810623"/>
                <a:gd name="connsiteY11" fmla="*/ 263203 h 787401"/>
                <a:gd name="connsiteX12" fmla="*/ 7381892 w 8810623"/>
                <a:gd name="connsiteY12" fmla="*/ 315542 h 787401"/>
                <a:gd name="connsiteX13" fmla="*/ 7372348 w 8810623"/>
                <a:gd name="connsiteY13" fmla="*/ 395604 h 787401"/>
                <a:gd name="connsiteX14" fmla="*/ 7380937 w 8810623"/>
                <a:gd name="connsiteY14" fmla="*/ 476862 h 787401"/>
                <a:gd name="connsiteX15" fmla="*/ 7415056 w 8810623"/>
                <a:gd name="connsiteY15" fmla="*/ 528962 h 787401"/>
                <a:gd name="connsiteX16" fmla="*/ 7476614 w 8810623"/>
                <a:gd name="connsiteY16" fmla="*/ 549276 h 787401"/>
                <a:gd name="connsiteX17" fmla="*/ 7538172 w 8810623"/>
                <a:gd name="connsiteY17" fmla="*/ 528962 h 787401"/>
                <a:gd name="connsiteX18" fmla="*/ 7568712 w 8810623"/>
                <a:gd name="connsiteY18" fmla="*/ 476862 h 787401"/>
                <a:gd name="connsiteX19" fmla="*/ 7572529 w 8810623"/>
                <a:gd name="connsiteY19" fmla="*/ 447466 h 787401"/>
                <a:gd name="connsiteX20" fmla="*/ 7573961 w 8810623"/>
                <a:gd name="connsiteY20" fmla="*/ 395604 h 787401"/>
                <a:gd name="connsiteX21" fmla="*/ 7572529 w 8810623"/>
                <a:gd name="connsiteY21" fmla="*/ 344221 h 787401"/>
                <a:gd name="connsiteX22" fmla="*/ 7567757 w 8810623"/>
                <a:gd name="connsiteY22" fmla="*/ 315542 h 787401"/>
                <a:gd name="connsiteX23" fmla="*/ 7536740 w 8810623"/>
                <a:gd name="connsiteY23" fmla="*/ 263203 h 787401"/>
                <a:gd name="connsiteX24" fmla="*/ 7476614 w 8810623"/>
                <a:gd name="connsiteY24" fmla="*/ 242888 h 787401"/>
                <a:gd name="connsiteX25" fmla="*/ 6701829 w 8810623"/>
                <a:gd name="connsiteY25" fmla="*/ 242888 h 787401"/>
                <a:gd name="connsiteX26" fmla="*/ 6640988 w 8810623"/>
                <a:gd name="connsiteY26" fmla="*/ 261635 h 787401"/>
                <a:gd name="connsiteX27" fmla="*/ 6608428 w 8810623"/>
                <a:gd name="connsiteY27" fmla="*/ 311385 h 787401"/>
                <a:gd name="connsiteX28" fmla="*/ 6600823 w 8810623"/>
                <a:gd name="connsiteY28" fmla="*/ 360174 h 787401"/>
                <a:gd name="connsiteX29" fmla="*/ 6604150 w 8810623"/>
                <a:gd name="connsiteY29" fmla="*/ 363538 h 787401"/>
                <a:gd name="connsiteX30" fmla="*/ 6800696 w 8810623"/>
                <a:gd name="connsiteY30" fmla="*/ 363538 h 787401"/>
                <a:gd name="connsiteX31" fmla="*/ 6804023 w 8810623"/>
                <a:gd name="connsiteY31" fmla="*/ 360174 h 787401"/>
                <a:gd name="connsiteX32" fmla="*/ 6798794 w 8810623"/>
                <a:gd name="connsiteY32" fmla="*/ 317634 h 787401"/>
                <a:gd name="connsiteX33" fmla="*/ 6765046 w 8810623"/>
                <a:gd name="connsiteY33" fmla="*/ 263317 h 787401"/>
                <a:gd name="connsiteX34" fmla="*/ 6701829 w 8810623"/>
                <a:gd name="connsiteY34" fmla="*/ 242888 h 787401"/>
                <a:gd name="connsiteX35" fmla="*/ 4320700 w 8810623"/>
                <a:gd name="connsiteY35" fmla="*/ 242888 h 787401"/>
                <a:gd name="connsiteX36" fmla="*/ 4259930 w 8810623"/>
                <a:gd name="connsiteY36" fmla="*/ 261635 h 787401"/>
                <a:gd name="connsiteX37" fmla="*/ 4227409 w 8810623"/>
                <a:gd name="connsiteY37" fmla="*/ 311385 h 787401"/>
                <a:gd name="connsiteX38" fmla="*/ 4219575 w 8810623"/>
                <a:gd name="connsiteY38" fmla="*/ 360174 h 787401"/>
                <a:gd name="connsiteX39" fmla="*/ 4223136 w 8810623"/>
                <a:gd name="connsiteY39" fmla="*/ 363538 h 787401"/>
                <a:gd name="connsiteX40" fmla="*/ 4419212 w 8810623"/>
                <a:gd name="connsiteY40" fmla="*/ 363538 h 787401"/>
                <a:gd name="connsiteX41" fmla="*/ 4422773 w 8810623"/>
                <a:gd name="connsiteY41" fmla="*/ 360174 h 787401"/>
                <a:gd name="connsiteX42" fmla="*/ 4417551 w 8810623"/>
                <a:gd name="connsiteY42" fmla="*/ 317634 h 787401"/>
                <a:gd name="connsiteX43" fmla="*/ 4383607 w 8810623"/>
                <a:gd name="connsiteY43" fmla="*/ 263317 h 787401"/>
                <a:gd name="connsiteX44" fmla="*/ 4320700 w 8810623"/>
                <a:gd name="connsiteY44" fmla="*/ 242888 h 787401"/>
                <a:gd name="connsiteX45" fmla="*/ 2676960 w 8810623"/>
                <a:gd name="connsiteY45" fmla="*/ 242888 h 787401"/>
                <a:gd name="connsiteX46" fmla="*/ 2615643 w 8810623"/>
                <a:gd name="connsiteY46" fmla="*/ 261635 h 787401"/>
                <a:gd name="connsiteX47" fmla="*/ 2582590 w 8810623"/>
                <a:gd name="connsiteY47" fmla="*/ 311385 h 787401"/>
                <a:gd name="connsiteX48" fmla="*/ 2574925 w 8810623"/>
                <a:gd name="connsiteY48" fmla="*/ 360174 h 787401"/>
                <a:gd name="connsiteX49" fmla="*/ 2578279 w 8810623"/>
                <a:gd name="connsiteY49" fmla="*/ 363538 h 787401"/>
                <a:gd name="connsiteX50" fmla="*/ 2776360 w 8810623"/>
                <a:gd name="connsiteY50" fmla="*/ 363538 h 787401"/>
                <a:gd name="connsiteX51" fmla="*/ 2779713 w 8810623"/>
                <a:gd name="connsiteY51" fmla="*/ 360174 h 787401"/>
                <a:gd name="connsiteX52" fmla="*/ 2774683 w 8810623"/>
                <a:gd name="connsiteY52" fmla="*/ 317634 h 787401"/>
                <a:gd name="connsiteX53" fmla="*/ 2740432 w 8810623"/>
                <a:gd name="connsiteY53" fmla="*/ 263317 h 787401"/>
                <a:gd name="connsiteX54" fmla="*/ 2676960 w 8810623"/>
                <a:gd name="connsiteY54" fmla="*/ 242888 h 787401"/>
                <a:gd name="connsiteX55" fmla="*/ 1425100 w 8810623"/>
                <a:gd name="connsiteY55" fmla="*/ 242888 h 787401"/>
                <a:gd name="connsiteX56" fmla="*/ 1364331 w 8810623"/>
                <a:gd name="connsiteY56" fmla="*/ 261635 h 787401"/>
                <a:gd name="connsiteX57" fmla="*/ 1331571 w 8810623"/>
                <a:gd name="connsiteY57" fmla="*/ 311385 h 787401"/>
                <a:gd name="connsiteX58" fmla="*/ 1323974 w 8810623"/>
                <a:gd name="connsiteY58" fmla="*/ 360174 h 787401"/>
                <a:gd name="connsiteX59" fmla="*/ 1327297 w 8810623"/>
                <a:gd name="connsiteY59" fmla="*/ 363538 h 787401"/>
                <a:gd name="connsiteX60" fmla="*/ 1523613 w 8810623"/>
                <a:gd name="connsiteY60" fmla="*/ 363538 h 787401"/>
                <a:gd name="connsiteX61" fmla="*/ 1527175 w 8810623"/>
                <a:gd name="connsiteY61" fmla="*/ 360174 h 787401"/>
                <a:gd name="connsiteX62" fmla="*/ 1521951 w 8810623"/>
                <a:gd name="connsiteY62" fmla="*/ 317634 h 787401"/>
                <a:gd name="connsiteX63" fmla="*/ 1488007 w 8810623"/>
                <a:gd name="connsiteY63" fmla="*/ 263317 h 787401"/>
                <a:gd name="connsiteX64" fmla="*/ 1425100 w 8810623"/>
                <a:gd name="connsiteY64" fmla="*/ 242888 h 787401"/>
                <a:gd name="connsiteX65" fmla="*/ 7790487 w 8810623"/>
                <a:gd name="connsiteY65" fmla="*/ 179388 h 787401"/>
                <a:gd name="connsiteX66" fmla="*/ 7855671 w 8810623"/>
                <a:gd name="connsiteY66" fmla="*/ 179388 h 787401"/>
                <a:gd name="connsiteX67" fmla="*/ 7864473 w 8810623"/>
                <a:gd name="connsiteY67" fmla="*/ 187962 h 787401"/>
                <a:gd name="connsiteX68" fmla="*/ 7864473 w 8810623"/>
                <a:gd name="connsiteY68" fmla="*/ 607377 h 787401"/>
                <a:gd name="connsiteX69" fmla="*/ 7855671 w 8810623"/>
                <a:gd name="connsiteY69" fmla="*/ 615951 h 787401"/>
                <a:gd name="connsiteX70" fmla="*/ 7790487 w 8810623"/>
                <a:gd name="connsiteY70" fmla="*/ 615951 h 787401"/>
                <a:gd name="connsiteX71" fmla="*/ 7781923 w 8810623"/>
                <a:gd name="connsiteY71" fmla="*/ 607377 h 787401"/>
                <a:gd name="connsiteX72" fmla="*/ 7781923 w 8810623"/>
                <a:gd name="connsiteY72" fmla="*/ 187962 h 787401"/>
                <a:gd name="connsiteX73" fmla="*/ 7790487 w 8810623"/>
                <a:gd name="connsiteY73" fmla="*/ 179388 h 787401"/>
                <a:gd name="connsiteX74" fmla="*/ 5619666 w 8810623"/>
                <a:gd name="connsiteY74" fmla="*/ 179388 h 787401"/>
                <a:gd name="connsiteX75" fmla="*/ 5689184 w 8810623"/>
                <a:gd name="connsiteY75" fmla="*/ 179388 h 787401"/>
                <a:gd name="connsiteX76" fmla="*/ 5699421 w 8810623"/>
                <a:gd name="connsiteY76" fmla="*/ 186051 h 787401"/>
                <a:gd name="connsiteX77" fmla="*/ 5796556 w 8810623"/>
                <a:gd name="connsiteY77" fmla="*/ 509928 h 787401"/>
                <a:gd name="connsiteX78" fmla="*/ 5799175 w 8810623"/>
                <a:gd name="connsiteY78" fmla="*/ 511832 h 787401"/>
                <a:gd name="connsiteX79" fmla="*/ 5801794 w 8810623"/>
                <a:gd name="connsiteY79" fmla="*/ 509928 h 787401"/>
                <a:gd name="connsiteX80" fmla="*/ 5897976 w 8810623"/>
                <a:gd name="connsiteY80" fmla="*/ 186051 h 787401"/>
                <a:gd name="connsiteX81" fmla="*/ 5908213 w 8810623"/>
                <a:gd name="connsiteY81" fmla="*/ 179388 h 787401"/>
                <a:gd name="connsiteX82" fmla="*/ 5976302 w 8810623"/>
                <a:gd name="connsiteY82" fmla="*/ 179388 h 787401"/>
                <a:gd name="connsiteX83" fmla="*/ 5983206 w 8810623"/>
                <a:gd name="connsiteY83" fmla="*/ 188669 h 787401"/>
                <a:gd name="connsiteX84" fmla="*/ 5826553 w 8810623"/>
                <a:gd name="connsiteY84" fmla="*/ 646523 h 787401"/>
                <a:gd name="connsiteX85" fmla="*/ 5787033 w 8810623"/>
                <a:gd name="connsiteY85" fmla="*/ 734572 h 787401"/>
                <a:gd name="connsiteX86" fmla="*/ 5735609 w 8810623"/>
                <a:gd name="connsiteY86" fmla="*/ 775503 h 787401"/>
                <a:gd name="connsiteX87" fmla="*/ 5646093 w 8810623"/>
                <a:gd name="connsiteY87" fmla="*/ 787401 h 787401"/>
                <a:gd name="connsiteX88" fmla="*/ 5640141 w 8810623"/>
                <a:gd name="connsiteY88" fmla="*/ 787401 h 787401"/>
                <a:gd name="connsiteX89" fmla="*/ 5634189 w 8810623"/>
                <a:gd name="connsiteY89" fmla="*/ 787401 h 787401"/>
                <a:gd name="connsiteX90" fmla="*/ 5634189 w 8810623"/>
                <a:gd name="connsiteY90" fmla="*/ 778834 h 787401"/>
                <a:gd name="connsiteX91" fmla="*/ 5634189 w 8810623"/>
                <a:gd name="connsiteY91" fmla="*/ 728147 h 787401"/>
                <a:gd name="connsiteX92" fmla="*/ 5642760 w 8810623"/>
                <a:gd name="connsiteY92" fmla="*/ 719580 h 787401"/>
                <a:gd name="connsiteX93" fmla="*/ 5644426 w 8810623"/>
                <a:gd name="connsiteY93" fmla="*/ 719580 h 787401"/>
                <a:gd name="connsiteX94" fmla="*/ 5698707 w 8810623"/>
                <a:gd name="connsiteY94" fmla="*/ 711013 h 787401"/>
                <a:gd name="connsiteX95" fmla="*/ 5731323 w 8810623"/>
                <a:gd name="connsiteY95" fmla="*/ 682219 h 787401"/>
                <a:gd name="connsiteX96" fmla="*/ 5756083 w 8810623"/>
                <a:gd name="connsiteY96" fmla="*/ 619157 h 787401"/>
                <a:gd name="connsiteX97" fmla="*/ 5756083 w 8810623"/>
                <a:gd name="connsiteY97" fmla="*/ 613921 h 787401"/>
                <a:gd name="connsiteX98" fmla="*/ 5612762 w 8810623"/>
                <a:gd name="connsiteY98" fmla="*/ 188669 h 787401"/>
                <a:gd name="connsiteX99" fmla="*/ 5611810 w 8810623"/>
                <a:gd name="connsiteY99" fmla="*/ 185337 h 787401"/>
                <a:gd name="connsiteX100" fmla="*/ 5619666 w 8810623"/>
                <a:gd name="connsiteY100" fmla="*/ 179388 h 787401"/>
                <a:gd name="connsiteX101" fmla="*/ 8799 w 8810623"/>
                <a:gd name="connsiteY101" fmla="*/ 179388 h 787401"/>
                <a:gd name="connsiteX102" fmla="*/ 73005 w 8810623"/>
                <a:gd name="connsiteY102" fmla="*/ 179388 h 787401"/>
                <a:gd name="connsiteX103" fmla="*/ 81565 w 8810623"/>
                <a:gd name="connsiteY103" fmla="*/ 187952 h 787401"/>
                <a:gd name="connsiteX104" fmla="*/ 81565 w 8810623"/>
                <a:gd name="connsiteY104" fmla="*/ 454841 h 787401"/>
                <a:gd name="connsiteX105" fmla="*/ 105345 w 8810623"/>
                <a:gd name="connsiteY105" fmla="*/ 525250 h 787401"/>
                <a:gd name="connsiteX106" fmla="*/ 171691 w 8810623"/>
                <a:gd name="connsiteY106" fmla="*/ 551178 h 787401"/>
                <a:gd name="connsiteX107" fmla="*/ 240415 w 8810623"/>
                <a:gd name="connsiteY107" fmla="*/ 524775 h 787401"/>
                <a:gd name="connsiteX108" fmla="*/ 266097 w 8810623"/>
                <a:gd name="connsiteY108" fmla="*/ 454841 h 787401"/>
                <a:gd name="connsiteX109" fmla="*/ 266097 w 8810623"/>
                <a:gd name="connsiteY109" fmla="*/ 187952 h 787401"/>
                <a:gd name="connsiteX110" fmla="*/ 274896 w 8810623"/>
                <a:gd name="connsiteY110" fmla="*/ 179388 h 787401"/>
                <a:gd name="connsiteX111" fmla="*/ 339103 w 8810623"/>
                <a:gd name="connsiteY111" fmla="*/ 179388 h 787401"/>
                <a:gd name="connsiteX112" fmla="*/ 347662 w 8810623"/>
                <a:gd name="connsiteY112" fmla="*/ 187952 h 787401"/>
                <a:gd name="connsiteX113" fmla="*/ 347662 w 8810623"/>
                <a:gd name="connsiteY113" fmla="*/ 607791 h 787401"/>
                <a:gd name="connsiteX114" fmla="*/ 339103 w 8810623"/>
                <a:gd name="connsiteY114" fmla="*/ 616354 h 787401"/>
                <a:gd name="connsiteX115" fmla="*/ 274896 w 8810623"/>
                <a:gd name="connsiteY115" fmla="*/ 616354 h 787401"/>
                <a:gd name="connsiteX116" fmla="*/ 266097 w 8810623"/>
                <a:gd name="connsiteY116" fmla="*/ 607791 h 787401"/>
                <a:gd name="connsiteX117" fmla="*/ 266097 w 8810623"/>
                <a:gd name="connsiteY117" fmla="*/ 575917 h 787401"/>
                <a:gd name="connsiteX118" fmla="*/ 264909 w 8810623"/>
                <a:gd name="connsiteY118" fmla="*/ 573776 h 787401"/>
                <a:gd name="connsiteX119" fmla="*/ 261817 w 8810623"/>
                <a:gd name="connsiteY119" fmla="*/ 575203 h 787401"/>
                <a:gd name="connsiteX120" fmla="*/ 156234 w 8810623"/>
                <a:gd name="connsiteY120" fmla="*/ 622301 h 787401"/>
                <a:gd name="connsiteX121" fmla="*/ 78713 w 8810623"/>
                <a:gd name="connsiteY121" fmla="*/ 606126 h 787401"/>
                <a:gd name="connsiteX122" fmla="*/ 21642 w 8810623"/>
                <a:gd name="connsiteY122" fmla="*/ 557839 h 787401"/>
                <a:gd name="connsiteX123" fmla="*/ 0 w 8810623"/>
                <a:gd name="connsiteY123" fmla="*/ 480769 h 787401"/>
                <a:gd name="connsiteX124" fmla="*/ 0 w 8810623"/>
                <a:gd name="connsiteY124" fmla="*/ 187952 h 787401"/>
                <a:gd name="connsiteX125" fmla="*/ 8799 w 8810623"/>
                <a:gd name="connsiteY125" fmla="*/ 179388 h 787401"/>
                <a:gd name="connsiteX126" fmla="*/ 7185536 w 8810623"/>
                <a:gd name="connsiteY126" fmla="*/ 174625 h 787401"/>
                <a:gd name="connsiteX127" fmla="*/ 7235128 w 8810623"/>
                <a:gd name="connsiteY127" fmla="*/ 185801 h 787401"/>
                <a:gd name="connsiteX128" fmla="*/ 7239399 w 8810623"/>
                <a:gd name="connsiteY128" fmla="*/ 196263 h 787401"/>
                <a:gd name="connsiteX129" fmla="*/ 7225637 w 8810623"/>
                <a:gd name="connsiteY129" fmla="*/ 260703 h 787401"/>
                <a:gd name="connsiteX130" fmla="*/ 7215434 w 8810623"/>
                <a:gd name="connsiteY130" fmla="*/ 265696 h 787401"/>
                <a:gd name="connsiteX131" fmla="*/ 7181265 w 8810623"/>
                <a:gd name="connsiteY131" fmla="*/ 259752 h 787401"/>
                <a:gd name="connsiteX132" fmla="*/ 7169164 w 8810623"/>
                <a:gd name="connsiteY132" fmla="*/ 260703 h 787401"/>
                <a:gd name="connsiteX133" fmla="*/ 7102724 w 8810623"/>
                <a:gd name="connsiteY133" fmla="*/ 288523 h 787401"/>
                <a:gd name="connsiteX134" fmla="*/ 7076623 w 8810623"/>
                <a:gd name="connsiteY134" fmla="*/ 356767 h 787401"/>
                <a:gd name="connsiteX135" fmla="*/ 7076623 w 8810623"/>
                <a:gd name="connsiteY135" fmla="*/ 607390 h 787401"/>
                <a:gd name="connsiteX136" fmla="*/ 7068081 w 8810623"/>
                <a:gd name="connsiteY136" fmla="*/ 615950 h 787401"/>
                <a:gd name="connsiteX137" fmla="*/ 7003065 w 8810623"/>
                <a:gd name="connsiteY137" fmla="*/ 615950 h 787401"/>
                <a:gd name="connsiteX138" fmla="*/ 6994523 w 8810623"/>
                <a:gd name="connsiteY138" fmla="*/ 607390 h 787401"/>
                <a:gd name="connsiteX139" fmla="*/ 6994523 w 8810623"/>
                <a:gd name="connsiteY139" fmla="*/ 187703 h 787401"/>
                <a:gd name="connsiteX140" fmla="*/ 7003065 w 8810623"/>
                <a:gd name="connsiteY140" fmla="*/ 179143 h 787401"/>
                <a:gd name="connsiteX141" fmla="*/ 7068081 w 8810623"/>
                <a:gd name="connsiteY141" fmla="*/ 179143 h 787401"/>
                <a:gd name="connsiteX142" fmla="*/ 7076623 w 8810623"/>
                <a:gd name="connsiteY142" fmla="*/ 187703 h 787401"/>
                <a:gd name="connsiteX143" fmla="*/ 7076623 w 8810623"/>
                <a:gd name="connsiteY143" fmla="*/ 233120 h 787401"/>
                <a:gd name="connsiteX144" fmla="*/ 7078047 w 8810623"/>
                <a:gd name="connsiteY144" fmla="*/ 236211 h 787401"/>
                <a:gd name="connsiteX145" fmla="*/ 7080182 w 8810623"/>
                <a:gd name="connsiteY145" fmla="*/ 234784 h 787401"/>
                <a:gd name="connsiteX146" fmla="*/ 7185536 w 8810623"/>
                <a:gd name="connsiteY146" fmla="*/ 174625 h 787401"/>
                <a:gd name="connsiteX147" fmla="*/ 5407142 w 8810623"/>
                <a:gd name="connsiteY147" fmla="*/ 174625 h 787401"/>
                <a:gd name="connsiteX148" fmla="*/ 5495269 w 8810623"/>
                <a:gd name="connsiteY148" fmla="*/ 190597 h 787401"/>
                <a:gd name="connsiteX149" fmla="*/ 5554337 w 8810623"/>
                <a:gd name="connsiteY149" fmla="*/ 234935 h 787401"/>
                <a:gd name="connsiteX150" fmla="*/ 5574821 w 8810623"/>
                <a:gd name="connsiteY150" fmla="*/ 298582 h 787401"/>
                <a:gd name="connsiteX151" fmla="*/ 5574821 w 8810623"/>
                <a:gd name="connsiteY151" fmla="*/ 301204 h 787401"/>
                <a:gd name="connsiteX152" fmla="*/ 5566246 w 8810623"/>
                <a:gd name="connsiteY152" fmla="*/ 309786 h 787401"/>
                <a:gd name="connsiteX153" fmla="*/ 5505987 w 8810623"/>
                <a:gd name="connsiteY153" fmla="*/ 309786 h 787401"/>
                <a:gd name="connsiteX154" fmla="*/ 5497412 w 8810623"/>
                <a:gd name="connsiteY154" fmla="*/ 301204 h 787401"/>
                <a:gd name="connsiteX155" fmla="*/ 5497412 w 8810623"/>
                <a:gd name="connsiteY155" fmla="*/ 298582 h 787401"/>
                <a:gd name="connsiteX156" fmla="*/ 5472880 w 8810623"/>
                <a:gd name="connsiteY156" fmla="*/ 256866 h 787401"/>
                <a:gd name="connsiteX157" fmla="*/ 5406427 w 8810623"/>
                <a:gd name="connsiteY157" fmla="*/ 240179 h 787401"/>
                <a:gd name="connsiteX158" fmla="*/ 5344738 w 8810623"/>
                <a:gd name="connsiteY158" fmla="*/ 254720 h 787401"/>
                <a:gd name="connsiteX159" fmla="*/ 5321158 w 8810623"/>
                <a:gd name="connsiteY159" fmla="*/ 294291 h 787401"/>
                <a:gd name="connsiteX160" fmla="*/ 5344024 w 8810623"/>
                <a:gd name="connsiteY160" fmla="*/ 332193 h 787401"/>
                <a:gd name="connsiteX161" fmla="*/ 5417622 w 8810623"/>
                <a:gd name="connsiteY161" fmla="*/ 359845 h 787401"/>
                <a:gd name="connsiteX162" fmla="*/ 5500509 w 8810623"/>
                <a:gd name="connsiteY162" fmla="*/ 386782 h 787401"/>
                <a:gd name="connsiteX163" fmla="*/ 5556719 w 8810623"/>
                <a:gd name="connsiteY163" fmla="*/ 426353 h 787401"/>
                <a:gd name="connsiteX164" fmla="*/ 5580061 w 8810623"/>
                <a:gd name="connsiteY164" fmla="*/ 494768 h 787401"/>
                <a:gd name="connsiteX165" fmla="*/ 5534092 w 8810623"/>
                <a:gd name="connsiteY165" fmla="*/ 587735 h 787401"/>
                <a:gd name="connsiteX166" fmla="*/ 5411429 w 8810623"/>
                <a:gd name="connsiteY166" fmla="*/ 622300 h 787401"/>
                <a:gd name="connsiteX167" fmla="*/ 5320682 w 8810623"/>
                <a:gd name="connsiteY167" fmla="*/ 606806 h 787401"/>
                <a:gd name="connsiteX168" fmla="*/ 5260184 w 8810623"/>
                <a:gd name="connsiteY168" fmla="*/ 564136 h 787401"/>
                <a:gd name="connsiteX169" fmla="*/ 5238748 w 8810623"/>
                <a:gd name="connsiteY169" fmla="*/ 504303 h 787401"/>
                <a:gd name="connsiteX170" fmla="*/ 5238748 w 8810623"/>
                <a:gd name="connsiteY170" fmla="*/ 494768 h 787401"/>
                <a:gd name="connsiteX171" fmla="*/ 5247322 w 8810623"/>
                <a:gd name="connsiteY171" fmla="*/ 486186 h 787401"/>
                <a:gd name="connsiteX172" fmla="*/ 5309249 w 8810623"/>
                <a:gd name="connsiteY172" fmla="*/ 486186 h 787401"/>
                <a:gd name="connsiteX173" fmla="*/ 5317824 w 8810623"/>
                <a:gd name="connsiteY173" fmla="*/ 494768 h 787401"/>
                <a:gd name="connsiteX174" fmla="*/ 5317824 w 8810623"/>
                <a:gd name="connsiteY174" fmla="*/ 499059 h 787401"/>
                <a:gd name="connsiteX175" fmla="*/ 5344024 w 8810623"/>
                <a:gd name="connsiteY175" fmla="*/ 541252 h 787401"/>
                <a:gd name="connsiteX176" fmla="*/ 5410714 w 8810623"/>
                <a:gd name="connsiteY176" fmla="*/ 559368 h 787401"/>
                <a:gd name="connsiteX177" fmla="*/ 5473356 w 8810623"/>
                <a:gd name="connsiteY177" fmla="*/ 542682 h 787401"/>
                <a:gd name="connsiteX178" fmla="*/ 5497412 w 8810623"/>
                <a:gd name="connsiteY178" fmla="*/ 500012 h 787401"/>
                <a:gd name="connsiteX179" fmla="*/ 5475261 w 8810623"/>
                <a:gd name="connsiteY179" fmla="*/ 462587 h 787401"/>
                <a:gd name="connsiteX180" fmla="*/ 5402854 w 8810623"/>
                <a:gd name="connsiteY180" fmla="*/ 436365 h 787401"/>
                <a:gd name="connsiteX181" fmla="*/ 5320682 w 8810623"/>
                <a:gd name="connsiteY181" fmla="*/ 408475 h 787401"/>
                <a:gd name="connsiteX182" fmla="*/ 5264948 w 8810623"/>
                <a:gd name="connsiteY182" fmla="*/ 367950 h 787401"/>
                <a:gd name="connsiteX183" fmla="*/ 5242082 w 8810623"/>
                <a:gd name="connsiteY183" fmla="*/ 300489 h 787401"/>
                <a:gd name="connsiteX184" fmla="*/ 5287337 w 8810623"/>
                <a:gd name="connsiteY184" fmla="*/ 208713 h 787401"/>
                <a:gd name="connsiteX185" fmla="*/ 5407142 w 8810623"/>
                <a:gd name="connsiteY185" fmla="*/ 174625 h 787401"/>
                <a:gd name="connsiteX186" fmla="*/ 1908331 w 8810623"/>
                <a:gd name="connsiteY186" fmla="*/ 174625 h 787401"/>
                <a:gd name="connsiteX187" fmla="*/ 1958484 w 8810623"/>
                <a:gd name="connsiteY187" fmla="*/ 185801 h 787401"/>
                <a:gd name="connsiteX188" fmla="*/ 1962782 w 8810623"/>
                <a:gd name="connsiteY188" fmla="*/ 196263 h 787401"/>
                <a:gd name="connsiteX189" fmla="*/ 1948931 w 8810623"/>
                <a:gd name="connsiteY189" fmla="*/ 260703 h 787401"/>
                <a:gd name="connsiteX190" fmla="*/ 1938661 w 8810623"/>
                <a:gd name="connsiteY190" fmla="*/ 265696 h 787401"/>
                <a:gd name="connsiteX191" fmla="*/ 1904033 w 8810623"/>
                <a:gd name="connsiteY191" fmla="*/ 259752 h 787401"/>
                <a:gd name="connsiteX192" fmla="*/ 1892091 w 8810623"/>
                <a:gd name="connsiteY192" fmla="*/ 260703 h 787401"/>
                <a:gd name="connsiteX193" fmla="*/ 1825224 w 8810623"/>
                <a:gd name="connsiteY193" fmla="*/ 288523 h 787401"/>
                <a:gd name="connsiteX194" fmla="*/ 1798954 w 8810623"/>
                <a:gd name="connsiteY194" fmla="*/ 356767 h 787401"/>
                <a:gd name="connsiteX195" fmla="*/ 1798954 w 8810623"/>
                <a:gd name="connsiteY195" fmla="*/ 607390 h 787401"/>
                <a:gd name="connsiteX196" fmla="*/ 1790358 w 8810623"/>
                <a:gd name="connsiteY196" fmla="*/ 615950 h 787401"/>
                <a:gd name="connsiteX197" fmla="*/ 1724683 w 8810623"/>
                <a:gd name="connsiteY197" fmla="*/ 615950 h 787401"/>
                <a:gd name="connsiteX198" fmla="*/ 1716086 w 8810623"/>
                <a:gd name="connsiteY198" fmla="*/ 607390 h 787401"/>
                <a:gd name="connsiteX199" fmla="*/ 1716086 w 8810623"/>
                <a:gd name="connsiteY199" fmla="*/ 187703 h 787401"/>
                <a:gd name="connsiteX200" fmla="*/ 1724683 w 8810623"/>
                <a:gd name="connsiteY200" fmla="*/ 179143 h 787401"/>
                <a:gd name="connsiteX201" fmla="*/ 1790358 w 8810623"/>
                <a:gd name="connsiteY201" fmla="*/ 179143 h 787401"/>
                <a:gd name="connsiteX202" fmla="*/ 1798954 w 8810623"/>
                <a:gd name="connsiteY202" fmla="*/ 187703 h 787401"/>
                <a:gd name="connsiteX203" fmla="*/ 1798954 w 8810623"/>
                <a:gd name="connsiteY203" fmla="*/ 233120 h 787401"/>
                <a:gd name="connsiteX204" fmla="*/ 1800149 w 8810623"/>
                <a:gd name="connsiteY204" fmla="*/ 236211 h 787401"/>
                <a:gd name="connsiteX205" fmla="*/ 1802297 w 8810623"/>
                <a:gd name="connsiteY205" fmla="*/ 234784 h 787401"/>
                <a:gd name="connsiteX206" fmla="*/ 1908331 w 8810623"/>
                <a:gd name="connsiteY206" fmla="*/ 174625 h 787401"/>
                <a:gd name="connsiteX207" fmla="*/ 8657956 w 8810623"/>
                <a:gd name="connsiteY207" fmla="*/ 173038 h 787401"/>
                <a:gd name="connsiteX208" fmla="*/ 8769484 w 8810623"/>
                <a:gd name="connsiteY208" fmla="*/ 213930 h 787401"/>
                <a:gd name="connsiteX209" fmla="*/ 8810623 w 8810623"/>
                <a:gd name="connsiteY209" fmla="*/ 324242 h 787401"/>
                <a:gd name="connsiteX210" fmla="*/ 8810623 w 8810623"/>
                <a:gd name="connsiteY210" fmla="*/ 607393 h 787401"/>
                <a:gd name="connsiteX211" fmla="*/ 8802062 w 8810623"/>
                <a:gd name="connsiteY211" fmla="*/ 615951 h 787401"/>
                <a:gd name="connsiteX212" fmla="*/ 8736905 w 8810623"/>
                <a:gd name="connsiteY212" fmla="*/ 615951 h 787401"/>
                <a:gd name="connsiteX213" fmla="*/ 8728345 w 8810623"/>
                <a:gd name="connsiteY213" fmla="*/ 607393 h 787401"/>
                <a:gd name="connsiteX214" fmla="*/ 8728345 w 8810623"/>
                <a:gd name="connsiteY214" fmla="*/ 340408 h 787401"/>
                <a:gd name="connsiteX215" fmla="*/ 8703376 w 8810623"/>
                <a:gd name="connsiteY215" fmla="*/ 270988 h 787401"/>
                <a:gd name="connsiteX216" fmla="*/ 8637267 w 8810623"/>
                <a:gd name="connsiteY216" fmla="*/ 244361 h 787401"/>
                <a:gd name="connsiteX217" fmla="*/ 8571159 w 8810623"/>
                <a:gd name="connsiteY217" fmla="*/ 270988 h 787401"/>
                <a:gd name="connsiteX218" fmla="*/ 8545477 w 8810623"/>
                <a:gd name="connsiteY218" fmla="*/ 339695 h 787401"/>
                <a:gd name="connsiteX219" fmla="*/ 8545477 w 8810623"/>
                <a:gd name="connsiteY219" fmla="*/ 607393 h 787401"/>
                <a:gd name="connsiteX220" fmla="*/ 8536916 w 8810623"/>
                <a:gd name="connsiteY220" fmla="*/ 615951 h 787401"/>
                <a:gd name="connsiteX221" fmla="*/ 8471759 w 8810623"/>
                <a:gd name="connsiteY221" fmla="*/ 615951 h 787401"/>
                <a:gd name="connsiteX222" fmla="*/ 8462960 w 8810623"/>
                <a:gd name="connsiteY222" fmla="*/ 607393 h 787401"/>
                <a:gd name="connsiteX223" fmla="*/ 8462960 w 8810623"/>
                <a:gd name="connsiteY223" fmla="*/ 187778 h 787401"/>
                <a:gd name="connsiteX224" fmla="*/ 8471759 w 8810623"/>
                <a:gd name="connsiteY224" fmla="*/ 179220 h 787401"/>
                <a:gd name="connsiteX225" fmla="*/ 8536916 w 8810623"/>
                <a:gd name="connsiteY225" fmla="*/ 179220 h 787401"/>
                <a:gd name="connsiteX226" fmla="*/ 8545477 w 8810623"/>
                <a:gd name="connsiteY226" fmla="*/ 187778 h 787401"/>
                <a:gd name="connsiteX227" fmla="*/ 8545477 w 8810623"/>
                <a:gd name="connsiteY227" fmla="*/ 218685 h 787401"/>
                <a:gd name="connsiteX228" fmla="*/ 8546666 w 8810623"/>
                <a:gd name="connsiteY228" fmla="*/ 221062 h 787401"/>
                <a:gd name="connsiteX229" fmla="*/ 8548806 w 8810623"/>
                <a:gd name="connsiteY229" fmla="*/ 220349 h 787401"/>
                <a:gd name="connsiteX230" fmla="*/ 8657956 w 8810623"/>
                <a:gd name="connsiteY230" fmla="*/ 173038 h 787401"/>
                <a:gd name="connsiteX231" fmla="*/ 8170266 w 8810623"/>
                <a:gd name="connsiteY231" fmla="*/ 173038 h 787401"/>
                <a:gd name="connsiteX232" fmla="*/ 8299682 w 8810623"/>
                <a:gd name="connsiteY232" fmla="*/ 216270 h 787401"/>
                <a:gd name="connsiteX233" fmla="*/ 8351923 w 8810623"/>
                <a:gd name="connsiteY233" fmla="*/ 343592 h 787401"/>
                <a:gd name="connsiteX234" fmla="*/ 8354535 w 8810623"/>
                <a:gd name="connsiteY234" fmla="*/ 422455 h 787401"/>
                <a:gd name="connsiteX235" fmla="*/ 8345986 w 8810623"/>
                <a:gd name="connsiteY235" fmla="*/ 431006 h 787401"/>
                <a:gd name="connsiteX236" fmla="*/ 8072433 w 8810623"/>
                <a:gd name="connsiteY236" fmla="*/ 431006 h 787401"/>
                <a:gd name="connsiteX237" fmla="*/ 8069108 w 8810623"/>
                <a:gd name="connsiteY237" fmla="*/ 434569 h 787401"/>
                <a:gd name="connsiteX238" fmla="*/ 8074095 w 8810623"/>
                <a:gd name="connsiteY238" fmla="*/ 478989 h 787401"/>
                <a:gd name="connsiteX239" fmla="*/ 8112326 w 8810623"/>
                <a:gd name="connsiteY239" fmla="*/ 532673 h 787401"/>
                <a:gd name="connsiteX240" fmla="*/ 8184751 w 8810623"/>
                <a:gd name="connsiteY240" fmla="*/ 551914 h 787401"/>
                <a:gd name="connsiteX241" fmla="*/ 8282347 w 8810623"/>
                <a:gd name="connsiteY241" fmla="*/ 499655 h 787401"/>
                <a:gd name="connsiteX242" fmla="*/ 8293508 w 8810623"/>
                <a:gd name="connsiteY242" fmla="*/ 497042 h 787401"/>
                <a:gd name="connsiteX243" fmla="*/ 8342424 w 8810623"/>
                <a:gd name="connsiteY243" fmla="*/ 529585 h 787401"/>
                <a:gd name="connsiteX244" fmla="*/ 8345036 w 8810623"/>
                <a:gd name="connsiteY244" fmla="*/ 540749 h 787401"/>
                <a:gd name="connsiteX245" fmla="*/ 8276886 w 8810623"/>
                <a:gd name="connsiteY245" fmla="*/ 601560 h 787401"/>
                <a:gd name="connsiteX246" fmla="*/ 8176915 w 8810623"/>
                <a:gd name="connsiteY246" fmla="*/ 623888 h 787401"/>
                <a:gd name="connsiteX247" fmla="*/ 8071483 w 8810623"/>
                <a:gd name="connsiteY247" fmla="*/ 596571 h 787401"/>
                <a:gd name="connsiteX248" fmla="*/ 8007369 w 8810623"/>
                <a:gd name="connsiteY248" fmla="*/ 518421 h 787401"/>
                <a:gd name="connsiteX249" fmla="*/ 7986710 w 8810623"/>
                <a:gd name="connsiteY249" fmla="*/ 395850 h 787401"/>
                <a:gd name="connsiteX250" fmla="*/ 7996208 w 8810623"/>
                <a:gd name="connsiteY250" fmla="*/ 300835 h 787401"/>
                <a:gd name="connsiteX251" fmla="*/ 8057948 w 8810623"/>
                <a:gd name="connsiteY251" fmla="*/ 207244 h 787401"/>
                <a:gd name="connsiteX252" fmla="*/ 8170266 w 8810623"/>
                <a:gd name="connsiteY252" fmla="*/ 173038 h 787401"/>
                <a:gd name="connsiteX253" fmla="*/ 7457407 w 8810623"/>
                <a:gd name="connsiteY253" fmla="*/ 173038 h 787401"/>
                <a:gd name="connsiteX254" fmla="*/ 7568301 w 8810623"/>
                <a:gd name="connsiteY254" fmla="*/ 215834 h 787401"/>
                <a:gd name="connsiteX255" fmla="*/ 7571157 w 8810623"/>
                <a:gd name="connsiteY255" fmla="*/ 217261 h 787401"/>
                <a:gd name="connsiteX256" fmla="*/ 7572585 w 8810623"/>
                <a:gd name="connsiteY256" fmla="*/ 215121 h 787401"/>
                <a:gd name="connsiteX257" fmla="*/ 7572585 w 8810623"/>
                <a:gd name="connsiteY257" fmla="*/ 188492 h 787401"/>
                <a:gd name="connsiteX258" fmla="*/ 7581152 w 8810623"/>
                <a:gd name="connsiteY258" fmla="*/ 179933 h 787401"/>
                <a:gd name="connsiteX259" fmla="*/ 7646356 w 8810623"/>
                <a:gd name="connsiteY259" fmla="*/ 179933 h 787401"/>
                <a:gd name="connsiteX260" fmla="*/ 7654923 w 8810623"/>
                <a:gd name="connsiteY260" fmla="*/ 188492 h 787401"/>
                <a:gd name="connsiteX261" fmla="*/ 7654923 w 8810623"/>
                <a:gd name="connsiteY261" fmla="*/ 594343 h 787401"/>
                <a:gd name="connsiteX262" fmla="*/ 7596144 w 8810623"/>
                <a:gd name="connsiteY262" fmla="*/ 742941 h 787401"/>
                <a:gd name="connsiteX263" fmla="*/ 7438607 w 8810623"/>
                <a:gd name="connsiteY263" fmla="*/ 787401 h 787401"/>
                <a:gd name="connsiteX264" fmla="*/ 7395535 w 8810623"/>
                <a:gd name="connsiteY264" fmla="*/ 785737 h 787401"/>
                <a:gd name="connsiteX265" fmla="*/ 7386968 w 8810623"/>
                <a:gd name="connsiteY265" fmla="*/ 776227 h 787401"/>
                <a:gd name="connsiteX266" fmla="*/ 7389585 w 8810623"/>
                <a:gd name="connsiteY266" fmla="*/ 717025 h 787401"/>
                <a:gd name="connsiteX267" fmla="*/ 7392203 w 8810623"/>
                <a:gd name="connsiteY267" fmla="*/ 711081 h 787401"/>
                <a:gd name="connsiteX268" fmla="*/ 7399104 w 8810623"/>
                <a:gd name="connsiteY268" fmla="*/ 709417 h 787401"/>
                <a:gd name="connsiteX269" fmla="*/ 7434324 w 8810623"/>
                <a:gd name="connsiteY269" fmla="*/ 710130 h 787401"/>
                <a:gd name="connsiteX270" fmla="*/ 7539983 w 8810623"/>
                <a:gd name="connsiteY270" fmla="*/ 683264 h 787401"/>
                <a:gd name="connsiteX271" fmla="*/ 7572585 w 8810623"/>
                <a:gd name="connsiteY271" fmla="*/ 591728 h 787401"/>
                <a:gd name="connsiteX272" fmla="*/ 7572585 w 8810623"/>
                <a:gd name="connsiteY272" fmla="*/ 576273 h 787401"/>
                <a:gd name="connsiteX273" fmla="*/ 7571157 w 8810623"/>
                <a:gd name="connsiteY273" fmla="*/ 573658 h 787401"/>
                <a:gd name="connsiteX274" fmla="*/ 7568301 w 8810623"/>
                <a:gd name="connsiteY274" fmla="*/ 574609 h 787401"/>
                <a:gd name="connsiteX275" fmla="*/ 7462642 w 8810623"/>
                <a:gd name="connsiteY275" fmla="*/ 616692 h 787401"/>
                <a:gd name="connsiteX276" fmla="*/ 7361505 w 8810623"/>
                <a:gd name="connsiteY276" fmla="*/ 587448 h 787401"/>
                <a:gd name="connsiteX277" fmla="*/ 7299395 w 8810623"/>
                <a:gd name="connsiteY277" fmla="*/ 501618 h 787401"/>
                <a:gd name="connsiteX278" fmla="*/ 7288210 w 8810623"/>
                <a:gd name="connsiteY278" fmla="*/ 397005 h 787401"/>
                <a:gd name="connsiteX279" fmla="*/ 7301060 w 8810623"/>
                <a:gd name="connsiteY279" fmla="*/ 287161 h 787401"/>
                <a:gd name="connsiteX280" fmla="*/ 7359125 w 8810623"/>
                <a:gd name="connsiteY280" fmla="*/ 204184 h 787401"/>
                <a:gd name="connsiteX281" fmla="*/ 7457407 w 8810623"/>
                <a:gd name="connsiteY281" fmla="*/ 173038 h 787401"/>
                <a:gd name="connsiteX282" fmla="*/ 6702382 w 8810623"/>
                <a:gd name="connsiteY282" fmla="*/ 173038 h 787401"/>
                <a:gd name="connsiteX283" fmla="*/ 6832594 w 8810623"/>
                <a:gd name="connsiteY283" fmla="*/ 216270 h 787401"/>
                <a:gd name="connsiteX284" fmla="*/ 6885061 w 8810623"/>
                <a:gd name="connsiteY284" fmla="*/ 343592 h 787401"/>
                <a:gd name="connsiteX285" fmla="*/ 6887684 w 8810623"/>
                <a:gd name="connsiteY285" fmla="*/ 422455 h 787401"/>
                <a:gd name="connsiteX286" fmla="*/ 6878860 w 8810623"/>
                <a:gd name="connsiteY286" fmla="*/ 431006 h 787401"/>
                <a:gd name="connsiteX287" fmla="*/ 6604365 w 8810623"/>
                <a:gd name="connsiteY287" fmla="*/ 431006 h 787401"/>
                <a:gd name="connsiteX288" fmla="*/ 6601027 w 8810623"/>
                <a:gd name="connsiteY288" fmla="*/ 434569 h 787401"/>
                <a:gd name="connsiteX289" fmla="*/ 6606035 w 8810623"/>
                <a:gd name="connsiteY289" fmla="*/ 478989 h 787401"/>
                <a:gd name="connsiteX290" fmla="*/ 6644431 w 8810623"/>
                <a:gd name="connsiteY290" fmla="*/ 532673 h 787401"/>
                <a:gd name="connsiteX291" fmla="*/ 6717168 w 8810623"/>
                <a:gd name="connsiteY291" fmla="*/ 551914 h 787401"/>
                <a:gd name="connsiteX292" fmla="*/ 6815185 w 8810623"/>
                <a:gd name="connsiteY292" fmla="*/ 499655 h 787401"/>
                <a:gd name="connsiteX293" fmla="*/ 6826394 w 8810623"/>
                <a:gd name="connsiteY293" fmla="*/ 497042 h 787401"/>
                <a:gd name="connsiteX294" fmla="*/ 6875521 w 8810623"/>
                <a:gd name="connsiteY294" fmla="*/ 529585 h 787401"/>
                <a:gd name="connsiteX295" fmla="*/ 6878145 w 8810623"/>
                <a:gd name="connsiteY295" fmla="*/ 540749 h 787401"/>
                <a:gd name="connsiteX296" fmla="*/ 6809700 w 8810623"/>
                <a:gd name="connsiteY296" fmla="*/ 601560 h 787401"/>
                <a:gd name="connsiteX297" fmla="*/ 6709298 w 8810623"/>
                <a:gd name="connsiteY297" fmla="*/ 623888 h 787401"/>
                <a:gd name="connsiteX298" fmla="*/ 6603412 w 8810623"/>
                <a:gd name="connsiteY298" fmla="*/ 596571 h 787401"/>
                <a:gd name="connsiteX299" fmla="*/ 6539021 w 8810623"/>
                <a:gd name="connsiteY299" fmla="*/ 518421 h 787401"/>
                <a:gd name="connsiteX300" fmla="*/ 6518273 w 8810623"/>
                <a:gd name="connsiteY300" fmla="*/ 395850 h 787401"/>
                <a:gd name="connsiteX301" fmla="*/ 6527812 w 8810623"/>
                <a:gd name="connsiteY301" fmla="*/ 300835 h 787401"/>
                <a:gd name="connsiteX302" fmla="*/ 6589818 w 8810623"/>
                <a:gd name="connsiteY302" fmla="*/ 207244 h 787401"/>
                <a:gd name="connsiteX303" fmla="*/ 6702382 w 8810623"/>
                <a:gd name="connsiteY303" fmla="*/ 173038 h 787401"/>
                <a:gd name="connsiteX304" fmla="*/ 6260593 w 8810623"/>
                <a:gd name="connsiteY304" fmla="*/ 173038 h 787401"/>
                <a:gd name="connsiteX305" fmla="*/ 6372121 w 8810623"/>
                <a:gd name="connsiteY305" fmla="*/ 213930 h 787401"/>
                <a:gd name="connsiteX306" fmla="*/ 6413498 w 8810623"/>
                <a:gd name="connsiteY306" fmla="*/ 324242 h 787401"/>
                <a:gd name="connsiteX307" fmla="*/ 6413498 w 8810623"/>
                <a:gd name="connsiteY307" fmla="*/ 607393 h 787401"/>
                <a:gd name="connsiteX308" fmla="*/ 6404699 w 8810623"/>
                <a:gd name="connsiteY308" fmla="*/ 615951 h 787401"/>
                <a:gd name="connsiteX309" fmla="*/ 6339542 w 8810623"/>
                <a:gd name="connsiteY309" fmla="*/ 615951 h 787401"/>
                <a:gd name="connsiteX310" fmla="*/ 6330981 w 8810623"/>
                <a:gd name="connsiteY310" fmla="*/ 607393 h 787401"/>
                <a:gd name="connsiteX311" fmla="*/ 6330981 w 8810623"/>
                <a:gd name="connsiteY311" fmla="*/ 340408 h 787401"/>
                <a:gd name="connsiteX312" fmla="*/ 6306012 w 8810623"/>
                <a:gd name="connsiteY312" fmla="*/ 270988 h 787401"/>
                <a:gd name="connsiteX313" fmla="*/ 6239904 w 8810623"/>
                <a:gd name="connsiteY313" fmla="*/ 244361 h 787401"/>
                <a:gd name="connsiteX314" fmla="*/ 6173796 w 8810623"/>
                <a:gd name="connsiteY314" fmla="*/ 270988 h 787401"/>
                <a:gd name="connsiteX315" fmla="*/ 6148114 w 8810623"/>
                <a:gd name="connsiteY315" fmla="*/ 339695 h 787401"/>
                <a:gd name="connsiteX316" fmla="*/ 6148114 w 8810623"/>
                <a:gd name="connsiteY316" fmla="*/ 607393 h 787401"/>
                <a:gd name="connsiteX317" fmla="*/ 6139553 w 8810623"/>
                <a:gd name="connsiteY317" fmla="*/ 615951 h 787401"/>
                <a:gd name="connsiteX318" fmla="*/ 6074396 w 8810623"/>
                <a:gd name="connsiteY318" fmla="*/ 615951 h 787401"/>
                <a:gd name="connsiteX319" fmla="*/ 6065835 w 8810623"/>
                <a:gd name="connsiteY319" fmla="*/ 607393 h 787401"/>
                <a:gd name="connsiteX320" fmla="*/ 6065835 w 8810623"/>
                <a:gd name="connsiteY320" fmla="*/ 187778 h 787401"/>
                <a:gd name="connsiteX321" fmla="*/ 6074396 w 8810623"/>
                <a:gd name="connsiteY321" fmla="*/ 179220 h 787401"/>
                <a:gd name="connsiteX322" fmla="*/ 6139553 w 8810623"/>
                <a:gd name="connsiteY322" fmla="*/ 179220 h 787401"/>
                <a:gd name="connsiteX323" fmla="*/ 6148114 w 8810623"/>
                <a:gd name="connsiteY323" fmla="*/ 187778 h 787401"/>
                <a:gd name="connsiteX324" fmla="*/ 6148114 w 8810623"/>
                <a:gd name="connsiteY324" fmla="*/ 218685 h 787401"/>
                <a:gd name="connsiteX325" fmla="*/ 6149540 w 8810623"/>
                <a:gd name="connsiteY325" fmla="*/ 221062 h 787401"/>
                <a:gd name="connsiteX326" fmla="*/ 6151681 w 8810623"/>
                <a:gd name="connsiteY326" fmla="*/ 220349 h 787401"/>
                <a:gd name="connsiteX327" fmla="*/ 6260593 w 8810623"/>
                <a:gd name="connsiteY327" fmla="*/ 173038 h 787401"/>
                <a:gd name="connsiteX328" fmla="*/ 4806681 w 8810623"/>
                <a:gd name="connsiteY328" fmla="*/ 173038 h 787401"/>
                <a:gd name="connsiteX329" fmla="*/ 4918209 w 8810623"/>
                <a:gd name="connsiteY329" fmla="*/ 213930 h 787401"/>
                <a:gd name="connsiteX330" fmla="*/ 4959348 w 8810623"/>
                <a:gd name="connsiteY330" fmla="*/ 324242 h 787401"/>
                <a:gd name="connsiteX331" fmla="*/ 4959348 w 8810623"/>
                <a:gd name="connsiteY331" fmla="*/ 607393 h 787401"/>
                <a:gd name="connsiteX332" fmla="*/ 4950787 w 8810623"/>
                <a:gd name="connsiteY332" fmla="*/ 615951 h 787401"/>
                <a:gd name="connsiteX333" fmla="*/ 4885630 w 8810623"/>
                <a:gd name="connsiteY333" fmla="*/ 615951 h 787401"/>
                <a:gd name="connsiteX334" fmla="*/ 4877069 w 8810623"/>
                <a:gd name="connsiteY334" fmla="*/ 607393 h 787401"/>
                <a:gd name="connsiteX335" fmla="*/ 4877069 w 8810623"/>
                <a:gd name="connsiteY335" fmla="*/ 340408 h 787401"/>
                <a:gd name="connsiteX336" fmla="*/ 4852100 w 8810623"/>
                <a:gd name="connsiteY336" fmla="*/ 270988 h 787401"/>
                <a:gd name="connsiteX337" fmla="*/ 4785992 w 8810623"/>
                <a:gd name="connsiteY337" fmla="*/ 244361 h 787401"/>
                <a:gd name="connsiteX338" fmla="*/ 4719884 w 8810623"/>
                <a:gd name="connsiteY338" fmla="*/ 270988 h 787401"/>
                <a:gd name="connsiteX339" fmla="*/ 4694201 w 8810623"/>
                <a:gd name="connsiteY339" fmla="*/ 339695 h 787401"/>
                <a:gd name="connsiteX340" fmla="*/ 4694201 w 8810623"/>
                <a:gd name="connsiteY340" fmla="*/ 607393 h 787401"/>
                <a:gd name="connsiteX341" fmla="*/ 4685641 w 8810623"/>
                <a:gd name="connsiteY341" fmla="*/ 615951 h 787401"/>
                <a:gd name="connsiteX342" fmla="*/ 4620246 w 8810623"/>
                <a:gd name="connsiteY342" fmla="*/ 615951 h 787401"/>
                <a:gd name="connsiteX343" fmla="*/ 4611685 w 8810623"/>
                <a:gd name="connsiteY343" fmla="*/ 607393 h 787401"/>
                <a:gd name="connsiteX344" fmla="*/ 4611685 w 8810623"/>
                <a:gd name="connsiteY344" fmla="*/ 187778 h 787401"/>
                <a:gd name="connsiteX345" fmla="*/ 4620246 w 8810623"/>
                <a:gd name="connsiteY345" fmla="*/ 179220 h 787401"/>
                <a:gd name="connsiteX346" fmla="*/ 4685641 w 8810623"/>
                <a:gd name="connsiteY346" fmla="*/ 179220 h 787401"/>
                <a:gd name="connsiteX347" fmla="*/ 4694201 w 8810623"/>
                <a:gd name="connsiteY347" fmla="*/ 187778 h 787401"/>
                <a:gd name="connsiteX348" fmla="*/ 4694201 w 8810623"/>
                <a:gd name="connsiteY348" fmla="*/ 218685 h 787401"/>
                <a:gd name="connsiteX349" fmla="*/ 4695390 w 8810623"/>
                <a:gd name="connsiteY349" fmla="*/ 221062 h 787401"/>
                <a:gd name="connsiteX350" fmla="*/ 4697531 w 8810623"/>
                <a:gd name="connsiteY350" fmla="*/ 220349 h 787401"/>
                <a:gd name="connsiteX351" fmla="*/ 4806681 w 8810623"/>
                <a:gd name="connsiteY351" fmla="*/ 173038 h 787401"/>
                <a:gd name="connsiteX352" fmla="*/ 4320462 w 8810623"/>
                <a:gd name="connsiteY352" fmla="*/ 173038 h 787401"/>
                <a:gd name="connsiteX353" fmla="*/ 4449959 w 8810623"/>
                <a:gd name="connsiteY353" fmla="*/ 216270 h 787401"/>
                <a:gd name="connsiteX354" fmla="*/ 4502234 w 8810623"/>
                <a:gd name="connsiteY354" fmla="*/ 343592 h 787401"/>
                <a:gd name="connsiteX355" fmla="*/ 4504848 w 8810623"/>
                <a:gd name="connsiteY355" fmla="*/ 422455 h 787401"/>
                <a:gd name="connsiteX356" fmla="*/ 4496294 w 8810623"/>
                <a:gd name="connsiteY356" fmla="*/ 431006 h 787401"/>
                <a:gd name="connsiteX357" fmla="*/ 4222803 w 8810623"/>
                <a:gd name="connsiteY357" fmla="*/ 431006 h 787401"/>
                <a:gd name="connsiteX358" fmla="*/ 4219239 w 8810623"/>
                <a:gd name="connsiteY358" fmla="*/ 434569 h 787401"/>
                <a:gd name="connsiteX359" fmla="*/ 4224466 w 8810623"/>
                <a:gd name="connsiteY359" fmla="*/ 478989 h 787401"/>
                <a:gd name="connsiteX360" fmla="*/ 4262484 w 8810623"/>
                <a:gd name="connsiteY360" fmla="*/ 532673 h 787401"/>
                <a:gd name="connsiteX361" fmla="*/ 4334956 w 8810623"/>
                <a:gd name="connsiteY361" fmla="*/ 551914 h 787401"/>
                <a:gd name="connsiteX362" fmla="*/ 4432851 w 8810623"/>
                <a:gd name="connsiteY362" fmla="*/ 499655 h 787401"/>
                <a:gd name="connsiteX363" fmla="*/ 4444019 w 8810623"/>
                <a:gd name="connsiteY363" fmla="*/ 497042 h 787401"/>
                <a:gd name="connsiteX364" fmla="*/ 4492967 w 8810623"/>
                <a:gd name="connsiteY364" fmla="*/ 529585 h 787401"/>
                <a:gd name="connsiteX365" fmla="*/ 4495581 w 8810623"/>
                <a:gd name="connsiteY365" fmla="*/ 540749 h 787401"/>
                <a:gd name="connsiteX366" fmla="*/ 4427148 w 8810623"/>
                <a:gd name="connsiteY366" fmla="*/ 601560 h 787401"/>
                <a:gd name="connsiteX367" fmla="*/ 4327353 w 8810623"/>
                <a:gd name="connsiteY367" fmla="*/ 623888 h 787401"/>
                <a:gd name="connsiteX368" fmla="*/ 4221853 w 8810623"/>
                <a:gd name="connsiteY368" fmla="*/ 596571 h 787401"/>
                <a:gd name="connsiteX369" fmla="*/ 4157460 w 8810623"/>
                <a:gd name="connsiteY369" fmla="*/ 518421 h 787401"/>
                <a:gd name="connsiteX370" fmla="*/ 4137025 w 8810623"/>
                <a:gd name="connsiteY370" fmla="*/ 395850 h 787401"/>
                <a:gd name="connsiteX371" fmla="*/ 4146292 w 8810623"/>
                <a:gd name="connsiteY371" fmla="*/ 300835 h 787401"/>
                <a:gd name="connsiteX372" fmla="*/ 4208071 w 8810623"/>
                <a:gd name="connsiteY372" fmla="*/ 207244 h 787401"/>
                <a:gd name="connsiteX373" fmla="*/ 4320462 w 8810623"/>
                <a:gd name="connsiteY373" fmla="*/ 173038 h 787401"/>
                <a:gd name="connsiteX374" fmla="*/ 3635297 w 8810623"/>
                <a:gd name="connsiteY374" fmla="*/ 173038 h 787401"/>
                <a:gd name="connsiteX375" fmla="*/ 3710009 w 8810623"/>
                <a:gd name="connsiteY375" fmla="*/ 189918 h 787401"/>
                <a:gd name="connsiteX376" fmla="*/ 3758072 w 8810623"/>
                <a:gd name="connsiteY376" fmla="*/ 239130 h 787401"/>
                <a:gd name="connsiteX377" fmla="*/ 3763306 w 8810623"/>
                <a:gd name="connsiteY377" fmla="*/ 239130 h 787401"/>
                <a:gd name="connsiteX378" fmla="*/ 3817793 w 8810623"/>
                <a:gd name="connsiteY378" fmla="*/ 189442 h 787401"/>
                <a:gd name="connsiteX379" fmla="*/ 3892981 w 8810623"/>
                <a:gd name="connsiteY379" fmla="*/ 173038 h 787401"/>
                <a:gd name="connsiteX380" fmla="*/ 3996006 w 8810623"/>
                <a:gd name="connsiteY380" fmla="*/ 212266 h 787401"/>
                <a:gd name="connsiteX381" fmla="*/ 4033838 w 8810623"/>
                <a:gd name="connsiteY381" fmla="*/ 320676 h 787401"/>
                <a:gd name="connsiteX382" fmla="*/ 4033838 w 8810623"/>
                <a:gd name="connsiteY382" fmla="*/ 607393 h 787401"/>
                <a:gd name="connsiteX383" fmla="*/ 4025272 w 8810623"/>
                <a:gd name="connsiteY383" fmla="*/ 615951 h 787401"/>
                <a:gd name="connsiteX384" fmla="*/ 3960792 w 8810623"/>
                <a:gd name="connsiteY384" fmla="*/ 615951 h 787401"/>
                <a:gd name="connsiteX385" fmla="*/ 3952226 w 8810623"/>
                <a:gd name="connsiteY385" fmla="*/ 607393 h 787401"/>
                <a:gd name="connsiteX386" fmla="*/ 3952226 w 8810623"/>
                <a:gd name="connsiteY386" fmla="*/ 337793 h 787401"/>
                <a:gd name="connsiteX387" fmla="*/ 3928671 w 8810623"/>
                <a:gd name="connsiteY387" fmla="*/ 269561 h 787401"/>
                <a:gd name="connsiteX388" fmla="*/ 3865380 w 8810623"/>
                <a:gd name="connsiteY388" fmla="*/ 244361 h 787401"/>
                <a:gd name="connsiteX389" fmla="*/ 3801138 w 8810623"/>
                <a:gd name="connsiteY389" fmla="*/ 269324 h 787401"/>
                <a:gd name="connsiteX390" fmla="*/ 3776155 w 8810623"/>
                <a:gd name="connsiteY390" fmla="*/ 336129 h 787401"/>
                <a:gd name="connsiteX391" fmla="*/ 3776155 w 8810623"/>
                <a:gd name="connsiteY391" fmla="*/ 607393 h 787401"/>
                <a:gd name="connsiteX392" fmla="*/ 3767589 w 8810623"/>
                <a:gd name="connsiteY392" fmla="*/ 615951 h 787401"/>
                <a:gd name="connsiteX393" fmla="*/ 3703109 w 8810623"/>
                <a:gd name="connsiteY393" fmla="*/ 615951 h 787401"/>
                <a:gd name="connsiteX394" fmla="*/ 3694543 w 8810623"/>
                <a:gd name="connsiteY394" fmla="*/ 607393 h 787401"/>
                <a:gd name="connsiteX395" fmla="*/ 3694543 w 8810623"/>
                <a:gd name="connsiteY395" fmla="*/ 337793 h 787401"/>
                <a:gd name="connsiteX396" fmla="*/ 3670987 w 8810623"/>
                <a:gd name="connsiteY396" fmla="*/ 269561 h 787401"/>
                <a:gd name="connsiteX397" fmla="*/ 3607935 w 8810623"/>
                <a:gd name="connsiteY397" fmla="*/ 244361 h 787401"/>
                <a:gd name="connsiteX398" fmla="*/ 3544644 w 8810623"/>
                <a:gd name="connsiteY398" fmla="*/ 269324 h 787401"/>
                <a:gd name="connsiteX399" fmla="*/ 3521088 w 8810623"/>
                <a:gd name="connsiteY399" fmla="*/ 336129 h 787401"/>
                <a:gd name="connsiteX400" fmla="*/ 3521088 w 8810623"/>
                <a:gd name="connsiteY400" fmla="*/ 607393 h 787401"/>
                <a:gd name="connsiteX401" fmla="*/ 3512523 w 8810623"/>
                <a:gd name="connsiteY401" fmla="*/ 615951 h 787401"/>
                <a:gd name="connsiteX402" fmla="*/ 3447329 w 8810623"/>
                <a:gd name="connsiteY402" fmla="*/ 615951 h 787401"/>
                <a:gd name="connsiteX403" fmla="*/ 3438525 w 8810623"/>
                <a:gd name="connsiteY403" fmla="*/ 607393 h 787401"/>
                <a:gd name="connsiteX404" fmla="*/ 3438525 w 8810623"/>
                <a:gd name="connsiteY404" fmla="*/ 187778 h 787401"/>
                <a:gd name="connsiteX405" fmla="*/ 3447329 w 8810623"/>
                <a:gd name="connsiteY405" fmla="*/ 179220 h 787401"/>
                <a:gd name="connsiteX406" fmla="*/ 3512523 w 8810623"/>
                <a:gd name="connsiteY406" fmla="*/ 179220 h 787401"/>
                <a:gd name="connsiteX407" fmla="*/ 3521088 w 8810623"/>
                <a:gd name="connsiteY407" fmla="*/ 187778 h 787401"/>
                <a:gd name="connsiteX408" fmla="*/ 3521088 w 8810623"/>
                <a:gd name="connsiteY408" fmla="*/ 216783 h 787401"/>
                <a:gd name="connsiteX409" fmla="*/ 3522278 w 8810623"/>
                <a:gd name="connsiteY409" fmla="*/ 219398 h 787401"/>
                <a:gd name="connsiteX410" fmla="*/ 3525371 w 8810623"/>
                <a:gd name="connsiteY410" fmla="*/ 218685 h 787401"/>
                <a:gd name="connsiteX411" fmla="*/ 3635297 w 8810623"/>
                <a:gd name="connsiteY411" fmla="*/ 173038 h 787401"/>
                <a:gd name="connsiteX412" fmla="*/ 2676723 w 8810623"/>
                <a:gd name="connsiteY412" fmla="*/ 173038 h 787401"/>
                <a:gd name="connsiteX413" fmla="*/ 2806697 w 8810623"/>
                <a:gd name="connsiteY413" fmla="*/ 216270 h 787401"/>
                <a:gd name="connsiteX414" fmla="*/ 2859163 w 8810623"/>
                <a:gd name="connsiteY414" fmla="*/ 343592 h 787401"/>
                <a:gd name="connsiteX415" fmla="*/ 2861786 w 8810623"/>
                <a:gd name="connsiteY415" fmla="*/ 422455 h 787401"/>
                <a:gd name="connsiteX416" fmla="*/ 2853201 w 8810623"/>
                <a:gd name="connsiteY416" fmla="*/ 431006 h 787401"/>
                <a:gd name="connsiteX417" fmla="*/ 2578468 w 8810623"/>
                <a:gd name="connsiteY417" fmla="*/ 431006 h 787401"/>
                <a:gd name="connsiteX418" fmla="*/ 2575129 w 8810623"/>
                <a:gd name="connsiteY418" fmla="*/ 434569 h 787401"/>
                <a:gd name="connsiteX419" fmla="*/ 2580376 w 8810623"/>
                <a:gd name="connsiteY419" fmla="*/ 478989 h 787401"/>
                <a:gd name="connsiteX420" fmla="*/ 2618533 w 8810623"/>
                <a:gd name="connsiteY420" fmla="*/ 532673 h 787401"/>
                <a:gd name="connsiteX421" fmla="*/ 2691271 w 8810623"/>
                <a:gd name="connsiteY421" fmla="*/ 551914 h 787401"/>
                <a:gd name="connsiteX422" fmla="*/ 2789526 w 8810623"/>
                <a:gd name="connsiteY422" fmla="*/ 499655 h 787401"/>
                <a:gd name="connsiteX423" fmla="*/ 2800735 w 8810623"/>
                <a:gd name="connsiteY423" fmla="*/ 497042 h 787401"/>
                <a:gd name="connsiteX424" fmla="*/ 2849624 w 8810623"/>
                <a:gd name="connsiteY424" fmla="*/ 529585 h 787401"/>
                <a:gd name="connsiteX425" fmla="*/ 2852247 w 8810623"/>
                <a:gd name="connsiteY425" fmla="*/ 540749 h 787401"/>
                <a:gd name="connsiteX426" fmla="*/ 2783802 w 8810623"/>
                <a:gd name="connsiteY426" fmla="*/ 601560 h 787401"/>
                <a:gd name="connsiteX427" fmla="*/ 2683639 w 8810623"/>
                <a:gd name="connsiteY427" fmla="*/ 623888 h 787401"/>
                <a:gd name="connsiteX428" fmla="*/ 2577753 w 8810623"/>
                <a:gd name="connsiteY428" fmla="*/ 596571 h 787401"/>
                <a:gd name="connsiteX429" fmla="*/ 2513124 w 8810623"/>
                <a:gd name="connsiteY429" fmla="*/ 518421 h 787401"/>
                <a:gd name="connsiteX430" fmla="*/ 2492375 w 8810623"/>
                <a:gd name="connsiteY430" fmla="*/ 395850 h 787401"/>
                <a:gd name="connsiteX431" fmla="*/ 2501915 w 8810623"/>
                <a:gd name="connsiteY431" fmla="*/ 300835 h 787401"/>
                <a:gd name="connsiteX432" fmla="*/ 2563920 w 8810623"/>
                <a:gd name="connsiteY432" fmla="*/ 207244 h 787401"/>
                <a:gd name="connsiteX433" fmla="*/ 2676723 w 8810623"/>
                <a:gd name="connsiteY433" fmla="*/ 173038 h 787401"/>
                <a:gd name="connsiteX434" fmla="*/ 2234933 w 8810623"/>
                <a:gd name="connsiteY434" fmla="*/ 173038 h 787401"/>
                <a:gd name="connsiteX435" fmla="*/ 2346461 w 8810623"/>
                <a:gd name="connsiteY435" fmla="*/ 213930 h 787401"/>
                <a:gd name="connsiteX436" fmla="*/ 2387601 w 8810623"/>
                <a:gd name="connsiteY436" fmla="*/ 324242 h 787401"/>
                <a:gd name="connsiteX437" fmla="*/ 2387601 w 8810623"/>
                <a:gd name="connsiteY437" fmla="*/ 607393 h 787401"/>
                <a:gd name="connsiteX438" fmla="*/ 2379040 w 8810623"/>
                <a:gd name="connsiteY438" fmla="*/ 615951 h 787401"/>
                <a:gd name="connsiteX439" fmla="*/ 2313883 w 8810623"/>
                <a:gd name="connsiteY439" fmla="*/ 615951 h 787401"/>
                <a:gd name="connsiteX440" fmla="*/ 2305322 w 8810623"/>
                <a:gd name="connsiteY440" fmla="*/ 607393 h 787401"/>
                <a:gd name="connsiteX441" fmla="*/ 2305322 w 8810623"/>
                <a:gd name="connsiteY441" fmla="*/ 340408 h 787401"/>
                <a:gd name="connsiteX442" fmla="*/ 2280353 w 8810623"/>
                <a:gd name="connsiteY442" fmla="*/ 270988 h 787401"/>
                <a:gd name="connsiteX443" fmla="*/ 2214245 w 8810623"/>
                <a:gd name="connsiteY443" fmla="*/ 244361 h 787401"/>
                <a:gd name="connsiteX444" fmla="*/ 2148137 w 8810623"/>
                <a:gd name="connsiteY444" fmla="*/ 270988 h 787401"/>
                <a:gd name="connsiteX445" fmla="*/ 2122454 w 8810623"/>
                <a:gd name="connsiteY445" fmla="*/ 339695 h 787401"/>
                <a:gd name="connsiteX446" fmla="*/ 2122454 w 8810623"/>
                <a:gd name="connsiteY446" fmla="*/ 607393 h 787401"/>
                <a:gd name="connsiteX447" fmla="*/ 2113893 w 8810623"/>
                <a:gd name="connsiteY447" fmla="*/ 615951 h 787401"/>
                <a:gd name="connsiteX448" fmla="*/ 2048736 w 8810623"/>
                <a:gd name="connsiteY448" fmla="*/ 615951 h 787401"/>
                <a:gd name="connsiteX449" fmla="*/ 2039937 w 8810623"/>
                <a:gd name="connsiteY449" fmla="*/ 607393 h 787401"/>
                <a:gd name="connsiteX450" fmla="*/ 2039937 w 8810623"/>
                <a:gd name="connsiteY450" fmla="*/ 187778 h 787401"/>
                <a:gd name="connsiteX451" fmla="*/ 2048736 w 8810623"/>
                <a:gd name="connsiteY451" fmla="*/ 179220 h 787401"/>
                <a:gd name="connsiteX452" fmla="*/ 2113893 w 8810623"/>
                <a:gd name="connsiteY452" fmla="*/ 179220 h 787401"/>
                <a:gd name="connsiteX453" fmla="*/ 2122454 w 8810623"/>
                <a:gd name="connsiteY453" fmla="*/ 187778 h 787401"/>
                <a:gd name="connsiteX454" fmla="*/ 2122454 w 8810623"/>
                <a:gd name="connsiteY454" fmla="*/ 218685 h 787401"/>
                <a:gd name="connsiteX455" fmla="*/ 2123881 w 8810623"/>
                <a:gd name="connsiteY455" fmla="*/ 221062 h 787401"/>
                <a:gd name="connsiteX456" fmla="*/ 2125783 w 8810623"/>
                <a:gd name="connsiteY456" fmla="*/ 220349 h 787401"/>
                <a:gd name="connsiteX457" fmla="*/ 2234933 w 8810623"/>
                <a:gd name="connsiteY457" fmla="*/ 173038 h 787401"/>
                <a:gd name="connsiteX458" fmla="*/ 1424862 w 8810623"/>
                <a:gd name="connsiteY458" fmla="*/ 173038 h 787401"/>
                <a:gd name="connsiteX459" fmla="*/ 1554361 w 8810623"/>
                <a:gd name="connsiteY459" fmla="*/ 216270 h 787401"/>
                <a:gd name="connsiteX460" fmla="*/ 1606635 w 8810623"/>
                <a:gd name="connsiteY460" fmla="*/ 343592 h 787401"/>
                <a:gd name="connsiteX461" fmla="*/ 1609249 w 8810623"/>
                <a:gd name="connsiteY461" fmla="*/ 422455 h 787401"/>
                <a:gd name="connsiteX462" fmla="*/ 1600696 w 8810623"/>
                <a:gd name="connsiteY462" fmla="*/ 431006 h 787401"/>
                <a:gd name="connsiteX463" fmla="*/ 1326965 w 8810623"/>
                <a:gd name="connsiteY463" fmla="*/ 431006 h 787401"/>
                <a:gd name="connsiteX464" fmla="*/ 1323638 w 8810623"/>
                <a:gd name="connsiteY464" fmla="*/ 434569 h 787401"/>
                <a:gd name="connsiteX465" fmla="*/ 1328865 w 8810623"/>
                <a:gd name="connsiteY465" fmla="*/ 478989 h 787401"/>
                <a:gd name="connsiteX466" fmla="*/ 1366883 w 8810623"/>
                <a:gd name="connsiteY466" fmla="*/ 532673 h 787401"/>
                <a:gd name="connsiteX467" fmla="*/ 1439357 w 8810623"/>
                <a:gd name="connsiteY467" fmla="*/ 551914 h 787401"/>
                <a:gd name="connsiteX468" fmla="*/ 1537252 w 8810623"/>
                <a:gd name="connsiteY468" fmla="*/ 499655 h 787401"/>
                <a:gd name="connsiteX469" fmla="*/ 1548421 w 8810623"/>
                <a:gd name="connsiteY469" fmla="*/ 497042 h 787401"/>
                <a:gd name="connsiteX470" fmla="*/ 1597131 w 8810623"/>
                <a:gd name="connsiteY470" fmla="*/ 529585 h 787401"/>
                <a:gd name="connsiteX471" fmla="*/ 1599744 w 8810623"/>
                <a:gd name="connsiteY471" fmla="*/ 540749 h 787401"/>
                <a:gd name="connsiteX472" fmla="*/ 1531549 w 8810623"/>
                <a:gd name="connsiteY472" fmla="*/ 601560 h 787401"/>
                <a:gd name="connsiteX473" fmla="*/ 1431752 w 8810623"/>
                <a:gd name="connsiteY473" fmla="*/ 623888 h 787401"/>
                <a:gd name="connsiteX474" fmla="*/ 1326253 w 8810623"/>
                <a:gd name="connsiteY474" fmla="*/ 596571 h 787401"/>
                <a:gd name="connsiteX475" fmla="*/ 1261858 w 8810623"/>
                <a:gd name="connsiteY475" fmla="*/ 518421 h 787401"/>
                <a:gd name="connsiteX476" fmla="*/ 1241425 w 8810623"/>
                <a:gd name="connsiteY476" fmla="*/ 395850 h 787401"/>
                <a:gd name="connsiteX477" fmla="*/ 1250692 w 8810623"/>
                <a:gd name="connsiteY477" fmla="*/ 300835 h 787401"/>
                <a:gd name="connsiteX478" fmla="*/ 1312471 w 8810623"/>
                <a:gd name="connsiteY478" fmla="*/ 207244 h 787401"/>
                <a:gd name="connsiteX479" fmla="*/ 1424862 w 8810623"/>
                <a:gd name="connsiteY479" fmla="*/ 173038 h 787401"/>
                <a:gd name="connsiteX480" fmla="*/ 666483 w 8810623"/>
                <a:gd name="connsiteY480" fmla="*/ 173038 h 787401"/>
                <a:gd name="connsiteX481" fmla="*/ 778011 w 8810623"/>
                <a:gd name="connsiteY481" fmla="*/ 213930 h 787401"/>
                <a:gd name="connsiteX482" fmla="*/ 819150 w 8810623"/>
                <a:gd name="connsiteY482" fmla="*/ 324242 h 787401"/>
                <a:gd name="connsiteX483" fmla="*/ 819150 w 8810623"/>
                <a:gd name="connsiteY483" fmla="*/ 607393 h 787401"/>
                <a:gd name="connsiteX484" fmla="*/ 810589 w 8810623"/>
                <a:gd name="connsiteY484" fmla="*/ 615951 h 787401"/>
                <a:gd name="connsiteX485" fmla="*/ 745432 w 8810623"/>
                <a:gd name="connsiteY485" fmla="*/ 615951 h 787401"/>
                <a:gd name="connsiteX486" fmla="*/ 736870 w 8810623"/>
                <a:gd name="connsiteY486" fmla="*/ 607393 h 787401"/>
                <a:gd name="connsiteX487" fmla="*/ 736870 w 8810623"/>
                <a:gd name="connsiteY487" fmla="*/ 340408 h 787401"/>
                <a:gd name="connsiteX488" fmla="*/ 711902 w 8810623"/>
                <a:gd name="connsiteY488" fmla="*/ 270988 h 787401"/>
                <a:gd name="connsiteX489" fmla="*/ 645794 w 8810623"/>
                <a:gd name="connsiteY489" fmla="*/ 244361 h 787401"/>
                <a:gd name="connsiteX490" fmla="*/ 579685 w 8810623"/>
                <a:gd name="connsiteY490" fmla="*/ 270988 h 787401"/>
                <a:gd name="connsiteX491" fmla="*/ 554003 w 8810623"/>
                <a:gd name="connsiteY491" fmla="*/ 339695 h 787401"/>
                <a:gd name="connsiteX492" fmla="*/ 554003 w 8810623"/>
                <a:gd name="connsiteY492" fmla="*/ 607393 h 787401"/>
                <a:gd name="connsiteX493" fmla="*/ 545443 w 8810623"/>
                <a:gd name="connsiteY493" fmla="*/ 615951 h 787401"/>
                <a:gd name="connsiteX494" fmla="*/ 480047 w 8810623"/>
                <a:gd name="connsiteY494" fmla="*/ 615951 h 787401"/>
                <a:gd name="connsiteX495" fmla="*/ 471487 w 8810623"/>
                <a:gd name="connsiteY495" fmla="*/ 607393 h 787401"/>
                <a:gd name="connsiteX496" fmla="*/ 471487 w 8810623"/>
                <a:gd name="connsiteY496" fmla="*/ 187778 h 787401"/>
                <a:gd name="connsiteX497" fmla="*/ 480047 w 8810623"/>
                <a:gd name="connsiteY497" fmla="*/ 179220 h 787401"/>
                <a:gd name="connsiteX498" fmla="*/ 545443 w 8810623"/>
                <a:gd name="connsiteY498" fmla="*/ 179220 h 787401"/>
                <a:gd name="connsiteX499" fmla="*/ 554003 w 8810623"/>
                <a:gd name="connsiteY499" fmla="*/ 187778 h 787401"/>
                <a:gd name="connsiteX500" fmla="*/ 554003 w 8810623"/>
                <a:gd name="connsiteY500" fmla="*/ 218685 h 787401"/>
                <a:gd name="connsiteX501" fmla="*/ 555193 w 8810623"/>
                <a:gd name="connsiteY501" fmla="*/ 221062 h 787401"/>
                <a:gd name="connsiteX502" fmla="*/ 557333 w 8810623"/>
                <a:gd name="connsiteY502" fmla="*/ 220349 h 787401"/>
                <a:gd name="connsiteX503" fmla="*/ 666483 w 8810623"/>
                <a:gd name="connsiteY503" fmla="*/ 173038 h 787401"/>
                <a:gd name="connsiteX504" fmla="*/ 981340 w 8810623"/>
                <a:gd name="connsiteY504" fmla="*/ 65088 h 787401"/>
                <a:gd name="connsiteX505" fmla="*/ 1043412 w 8810623"/>
                <a:gd name="connsiteY505" fmla="*/ 65088 h 787401"/>
                <a:gd name="connsiteX506" fmla="*/ 1052005 w 8810623"/>
                <a:gd name="connsiteY506" fmla="*/ 73657 h 787401"/>
                <a:gd name="connsiteX507" fmla="*/ 1052005 w 8810623"/>
                <a:gd name="connsiteY507" fmla="*/ 175055 h 787401"/>
                <a:gd name="connsiteX508" fmla="*/ 1055588 w 8810623"/>
                <a:gd name="connsiteY508" fmla="*/ 178387 h 787401"/>
                <a:gd name="connsiteX509" fmla="*/ 1148693 w 8810623"/>
                <a:gd name="connsiteY509" fmla="*/ 178387 h 787401"/>
                <a:gd name="connsiteX510" fmla="*/ 1157288 w 8810623"/>
                <a:gd name="connsiteY510" fmla="*/ 187194 h 787401"/>
                <a:gd name="connsiteX511" fmla="*/ 1157288 w 8810623"/>
                <a:gd name="connsiteY511" fmla="*/ 237893 h 787401"/>
                <a:gd name="connsiteX512" fmla="*/ 1148693 w 8810623"/>
                <a:gd name="connsiteY512" fmla="*/ 246461 h 787401"/>
                <a:gd name="connsiteX513" fmla="*/ 1055588 w 8810623"/>
                <a:gd name="connsiteY513" fmla="*/ 246461 h 787401"/>
                <a:gd name="connsiteX514" fmla="*/ 1052005 w 8810623"/>
                <a:gd name="connsiteY514" fmla="*/ 249794 h 787401"/>
                <a:gd name="connsiteX515" fmla="*/ 1052005 w 8810623"/>
                <a:gd name="connsiteY515" fmla="*/ 477581 h 787401"/>
                <a:gd name="connsiteX516" fmla="*/ 1068478 w 8810623"/>
                <a:gd name="connsiteY516" fmla="*/ 529470 h 787401"/>
                <a:gd name="connsiteX517" fmla="*/ 1119328 w 8810623"/>
                <a:gd name="connsiteY517" fmla="*/ 545417 h 787401"/>
                <a:gd name="connsiteX518" fmla="*/ 1144396 w 8810623"/>
                <a:gd name="connsiteY518" fmla="*/ 545417 h 787401"/>
                <a:gd name="connsiteX519" fmla="*/ 1152990 w 8810623"/>
                <a:gd name="connsiteY519" fmla="*/ 553986 h 787401"/>
                <a:gd name="connsiteX520" fmla="*/ 1152990 w 8810623"/>
                <a:gd name="connsiteY520" fmla="*/ 607303 h 787401"/>
                <a:gd name="connsiteX521" fmla="*/ 1144396 w 8810623"/>
                <a:gd name="connsiteY521" fmla="*/ 615872 h 787401"/>
                <a:gd name="connsiteX522" fmla="*/ 1104765 w 8810623"/>
                <a:gd name="connsiteY522" fmla="*/ 617538 h 787401"/>
                <a:gd name="connsiteX523" fmla="*/ 1005931 w 8810623"/>
                <a:gd name="connsiteY523" fmla="*/ 593974 h 787401"/>
                <a:gd name="connsiteX524" fmla="*/ 972746 w 8810623"/>
                <a:gd name="connsiteY524" fmla="*/ 506620 h 787401"/>
                <a:gd name="connsiteX525" fmla="*/ 972746 w 8810623"/>
                <a:gd name="connsiteY525" fmla="*/ 249794 h 787401"/>
                <a:gd name="connsiteX526" fmla="*/ 969403 w 8810623"/>
                <a:gd name="connsiteY526" fmla="*/ 246461 h 787401"/>
                <a:gd name="connsiteX527" fmla="*/ 916883 w 8810623"/>
                <a:gd name="connsiteY527" fmla="*/ 246461 h 787401"/>
                <a:gd name="connsiteX528" fmla="*/ 908049 w 8810623"/>
                <a:gd name="connsiteY528" fmla="*/ 237893 h 787401"/>
                <a:gd name="connsiteX529" fmla="*/ 908049 w 8810623"/>
                <a:gd name="connsiteY529" fmla="*/ 187194 h 787401"/>
                <a:gd name="connsiteX530" fmla="*/ 916883 w 8810623"/>
                <a:gd name="connsiteY530" fmla="*/ 178387 h 787401"/>
                <a:gd name="connsiteX531" fmla="*/ 969403 w 8810623"/>
                <a:gd name="connsiteY531" fmla="*/ 178387 h 787401"/>
                <a:gd name="connsiteX532" fmla="*/ 972746 w 8810623"/>
                <a:gd name="connsiteY532" fmla="*/ 175055 h 787401"/>
                <a:gd name="connsiteX533" fmla="*/ 972746 w 8810623"/>
                <a:gd name="connsiteY533" fmla="*/ 73657 h 787401"/>
                <a:gd name="connsiteX534" fmla="*/ 981340 w 8810623"/>
                <a:gd name="connsiteY534" fmla="*/ 65088 h 787401"/>
                <a:gd name="connsiteX535" fmla="*/ 2978773 w 8810623"/>
                <a:gd name="connsiteY535" fmla="*/ 15875 h 787401"/>
                <a:gd name="connsiteX536" fmla="*/ 3043930 w 8810623"/>
                <a:gd name="connsiteY536" fmla="*/ 15875 h 787401"/>
                <a:gd name="connsiteX537" fmla="*/ 3052491 w 8810623"/>
                <a:gd name="connsiteY537" fmla="*/ 24424 h 787401"/>
                <a:gd name="connsiteX538" fmla="*/ 3052491 w 8810623"/>
                <a:gd name="connsiteY538" fmla="*/ 219146 h 787401"/>
                <a:gd name="connsiteX539" fmla="*/ 3053918 w 8810623"/>
                <a:gd name="connsiteY539" fmla="*/ 221520 h 787401"/>
                <a:gd name="connsiteX540" fmla="*/ 3056058 w 8810623"/>
                <a:gd name="connsiteY540" fmla="*/ 220808 h 787401"/>
                <a:gd name="connsiteX541" fmla="*/ 3164970 w 8810623"/>
                <a:gd name="connsiteY541" fmla="*/ 173552 h 787401"/>
                <a:gd name="connsiteX542" fmla="*/ 3276736 w 8810623"/>
                <a:gd name="connsiteY542" fmla="*/ 214396 h 787401"/>
                <a:gd name="connsiteX543" fmla="*/ 3317875 w 8810623"/>
                <a:gd name="connsiteY543" fmla="*/ 324580 h 787401"/>
                <a:gd name="connsiteX544" fmla="*/ 3317875 w 8810623"/>
                <a:gd name="connsiteY544" fmla="*/ 607401 h 787401"/>
                <a:gd name="connsiteX545" fmla="*/ 3309314 w 8810623"/>
                <a:gd name="connsiteY545" fmla="*/ 615950 h 787401"/>
                <a:gd name="connsiteX546" fmla="*/ 3243920 w 8810623"/>
                <a:gd name="connsiteY546" fmla="*/ 615950 h 787401"/>
                <a:gd name="connsiteX547" fmla="*/ 3235359 w 8810623"/>
                <a:gd name="connsiteY547" fmla="*/ 607401 h 787401"/>
                <a:gd name="connsiteX548" fmla="*/ 3235359 w 8810623"/>
                <a:gd name="connsiteY548" fmla="*/ 340728 h 787401"/>
                <a:gd name="connsiteX549" fmla="*/ 3210628 w 8810623"/>
                <a:gd name="connsiteY549" fmla="*/ 271388 h 787401"/>
                <a:gd name="connsiteX550" fmla="*/ 3144519 w 8810623"/>
                <a:gd name="connsiteY550" fmla="*/ 244792 h 787401"/>
                <a:gd name="connsiteX551" fmla="*/ 3078411 w 8810623"/>
                <a:gd name="connsiteY551" fmla="*/ 271388 h 787401"/>
                <a:gd name="connsiteX552" fmla="*/ 3052491 w 8810623"/>
                <a:gd name="connsiteY552" fmla="*/ 340015 h 787401"/>
                <a:gd name="connsiteX553" fmla="*/ 3052491 w 8810623"/>
                <a:gd name="connsiteY553" fmla="*/ 607401 h 787401"/>
                <a:gd name="connsiteX554" fmla="*/ 3043930 w 8810623"/>
                <a:gd name="connsiteY554" fmla="*/ 615950 h 787401"/>
                <a:gd name="connsiteX555" fmla="*/ 2978773 w 8810623"/>
                <a:gd name="connsiteY555" fmla="*/ 615950 h 787401"/>
                <a:gd name="connsiteX556" fmla="*/ 2970212 w 8810623"/>
                <a:gd name="connsiteY556" fmla="*/ 607401 h 787401"/>
                <a:gd name="connsiteX557" fmla="*/ 2970212 w 8810623"/>
                <a:gd name="connsiteY557" fmla="*/ 24424 h 787401"/>
                <a:gd name="connsiteX558" fmla="*/ 2978773 w 8810623"/>
                <a:gd name="connsiteY558" fmla="*/ 15875 h 787401"/>
                <a:gd name="connsiteX559" fmla="*/ 7824785 w 8810623"/>
                <a:gd name="connsiteY559" fmla="*/ 0 h 787401"/>
                <a:gd name="connsiteX560" fmla="*/ 7864954 w 8810623"/>
                <a:gd name="connsiteY560" fmla="*/ 15634 h 787401"/>
                <a:gd name="connsiteX561" fmla="*/ 7880348 w 8810623"/>
                <a:gd name="connsiteY561" fmla="*/ 55562 h 787401"/>
                <a:gd name="connsiteX562" fmla="*/ 7864954 w 8810623"/>
                <a:gd name="connsiteY562" fmla="*/ 95490 h 787401"/>
                <a:gd name="connsiteX563" fmla="*/ 7824785 w 8810623"/>
                <a:gd name="connsiteY563" fmla="*/ 111125 h 787401"/>
                <a:gd name="connsiteX564" fmla="*/ 7784857 w 8810623"/>
                <a:gd name="connsiteY564" fmla="*/ 95490 h 787401"/>
                <a:gd name="connsiteX565" fmla="*/ 7769223 w 8810623"/>
                <a:gd name="connsiteY565" fmla="*/ 55562 h 787401"/>
                <a:gd name="connsiteX566" fmla="*/ 7784857 w 8810623"/>
                <a:gd name="connsiteY566" fmla="*/ 15634 h 787401"/>
                <a:gd name="connsiteX567" fmla="*/ 7824785 w 8810623"/>
                <a:gd name="connsiteY567" fmla="*/ 0 h 787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</a:cxnLst>
              <a:rect l="l" t="t" r="r" b="b"/>
              <a:pathLst>
                <a:path w="8810623" h="787401">
                  <a:moveTo>
                    <a:pt x="8170503" y="242888"/>
                  </a:moveTo>
                  <a:cubicBezTo>
                    <a:pt x="8145787" y="242888"/>
                    <a:pt x="8125585" y="249137"/>
                    <a:pt x="8109425" y="261635"/>
                  </a:cubicBezTo>
                  <a:cubicBezTo>
                    <a:pt x="8093501" y="274132"/>
                    <a:pt x="8082569" y="290716"/>
                    <a:pt x="8076865" y="311385"/>
                  </a:cubicBezTo>
                  <a:cubicBezTo>
                    <a:pt x="8072825" y="324123"/>
                    <a:pt x="8070211" y="340466"/>
                    <a:pt x="8069260" y="360174"/>
                  </a:cubicBezTo>
                  <a:cubicBezTo>
                    <a:pt x="8069260" y="362337"/>
                    <a:pt x="8070211" y="363538"/>
                    <a:pt x="8072587" y="363538"/>
                  </a:cubicBezTo>
                  <a:cubicBezTo>
                    <a:pt x="8269133" y="363538"/>
                    <a:pt x="8269133" y="363538"/>
                    <a:pt x="8269133" y="363538"/>
                  </a:cubicBezTo>
                  <a:cubicBezTo>
                    <a:pt x="8271271" y="363538"/>
                    <a:pt x="8272460" y="362337"/>
                    <a:pt x="8272460" y="360174"/>
                  </a:cubicBezTo>
                  <a:cubicBezTo>
                    <a:pt x="8271271" y="340946"/>
                    <a:pt x="8269608" y="326766"/>
                    <a:pt x="8267469" y="317634"/>
                  </a:cubicBezTo>
                  <a:cubicBezTo>
                    <a:pt x="8261527" y="295042"/>
                    <a:pt x="8250357" y="277016"/>
                    <a:pt x="8233483" y="263317"/>
                  </a:cubicBezTo>
                  <a:cubicBezTo>
                    <a:pt x="8216610" y="249858"/>
                    <a:pt x="8195458" y="242888"/>
                    <a:pt x="8170503" y="242888"/>
                  </a:cubicBezTo>
                  <a:close/>
                  <a:moveTo>
                    <a:pt x="7476614" y="242888"/>
                  </a:moveTo>
                  <a:cubicBezTo>
                    <a:pt x="7452516" y="242888"/>
                    <a:pt x="7432235" y="249819"/>
                    <a:pt x="7416249" y="263203"/>
                  </a:cubicBezTo>
                  <a:cubicBezTo>
                    <a:pt x="7400264" y="276825"/>
                    <a:pt x="7388811" y="294272"/>
                    <a:pt x="7381892" y="315542"/>
                  </a:cubicBezTo>
                  <a:cubicBezTo>
                    <a:pt x="7375450" y="332749"/>
                    <a:pt x="7372348" y="359516"/>
                    <a:pt x="7372348" y="395604"/>
                  </a:cubicBezTo>
                  <a:cubicBezTo>
                    <a:pt x="7372348" y="435277"/>
                    <a:pt x="7375211" y="462283"/>
                    <a:pt x="7380937" y="476862"/>
                  </a:cubicBezTo>
                  <a:cubicBezTo>
                    <a:pt x="7386664" y="498132"/>
                    <a:pt x="7398116" y="515339"/>
                    <a:pt x="7415056" y="528962"/>
                  </a:cubicBezTo>
                  <a:cubicBezTo>
                    <a:pt x="7431997" y="542584"/>
                    <a:pt x="7452516" y="549276"/>
                    <a:pt x="7476614" y="549276"/>
                  </a:cubicBezTo>
                  <a:cubicBezTo>
                    <a:pt x="7501905" y="549276"/>
                    <a:pt x="7522424" y="542584"/>
                    <a:pt x="7538172" y="528962"/>
                  </a:cubicBezTo>
                  <a:cubicBezTo>
                    <a:pt x="7553919" y="515339"/>
                    <a:pt x="7564178" y="498132"/>
                    <a:pt x="7568712" y="476862"/>
                  </a:cubicBezTo>
                  <a:cubicBezTo>
                    <a:pt x="7570382" y="467541"/>
                    <a:pt x="7571814" y="457742"/>
                    <a:pt x="7572529" y="447466"/>
                  </a:cubicBezTo>
                  <a:cubicBezTo>
                    <a:pt x="7573484" y="436950"/>
                    <a:pt x="7573961" y="419742"/>
                    <a:pt x="7573961" y="395604"/>
                  </a:cubicBezTo>
                  <a:cubicBezTo>
                    <a:pt x="7573961" y="371466"/>
                    <a:pt x="7573484" y="354498"/>
                    <a:pt x="7572529" y="344221"/>
                  </a:cubicBezTo>
                  <a:cubicBezTo>
                    <a:pt x="7571814" y="334183"/>
                    <a:pt x="7570143" y="324624"/>
                    <a:pt x="7567757" y="315542"/>
                  </a:cubicBezTo>
                  <a:cubicBezTo>
                    <a:pt x="7563224" y="294272"/>
                    <a:pt x="7552964" y="276825"/>
                    <a:pt x="7536740" y="263203"/>
                  </a:cubicBezTo>
                  <a:cubicBezTo>
                    <a:pt x="7520754" y="249819"/>
                    <a:pt x="7500712" y="242888"/>
                    <a:pt x="7476614" y="242888"/>
                  </a:cubicBezTo>
                  <a:close/>
                  <a:moveTo>
                    <a:pt x="6701829" y="242888"/>
                  </a:moveTo>
                  <a:cubicBezTo>
                    <a:pt x="6677350" y="242888"/>
                    <a:pt x="6657148" y="249137"/>
                    <a:pt x="6640988" y="261635"/>
                  </a:cubicBezTo>
                  <a:cubicBezTo>
                    <a:pt x="6625064" y="274132"/>
                    <a:pt x="6614132" y="290716"/>
                    <a:pt x="6608428" y="311385"/>
                  </a:cubicBezTo>
                  <a:cubicBezTo>
                    <a:pt x="6604388" y="324123"/>
                    <a:pt x="6601774" y="340466"/>
                    <a:pt x="6600823" y="360174"/>
                  </a:cubicBezTo>
                  <a:cubicBezTo>
                    <a:pt x="6600823" y="362337"/>
                    <a:pt x="6601774" y="363538"/>
                    <a:pt x="6604150" y="363538"/>
                  </a:cubicBezTo>
                  <a:cubicBezTo>
                    <a:pt x="6800696" y="363538"/>
                    <a:pt x="6800696" y="363538"/>
                    <a:pt x="6800696" y="363538"/>
                  </a:cubicBezTo>
                  <a:cubicBezTo>
                    <a:pt x="6802835" y="363538"/>
                    <a:pt x="6804023" y="362337"/>
                    <a:pt x="6804023" y="360174"/>
                  </a:cubicBezTo>
                  <a:cubicBezTo>
                    <a:pt x="6802835" y="340946"/>
                    <a:pt x="6801171" y="326766"/>
                    <a:pt x="6798794" y="317634"/>
                  </a:cubicBezTo>
                  <a:cubicBezTo>
                    <a:pt x="6793090" y="295042"/>
                    <a:pt x="6781920" y="277016"/>
                    <a:pt x="6765046" y="263317"/>
                  </a:cubicBezTo>
                  <a:cubicBezTo>
                    <a:pt x="6748173" y="249858"/>
                    <a:pt x="6727021" y="242888"/>
                    <a:pt x="6701829" y="242888"/>
                  </a:cubicBezTo>
                  <a:close/>
                  <a:moveTo>
                    <a:pt x="4320700" y="242888"/>
                  </a:moveTo>
                  <a:cubicBezTo>
                    <a:pt x="4296250" y="242888"/>
                    <a:pt x="4275835" y="249137"/>
                    <a:pt x="4259930" y="261635"/>
                  </a:cubicBezTo>
                  <a:cubicBezTo>
                    <a:pt x="4243788" y="274132"/>
                    <a:pt x="4233106" y="290716"/>
                    <a:pt x="4227409" y="311385"/>
                  </a:cubicBezTo>
                  <a:cubicBezTo>
                    <a:pt x="4223373" y="324123"/>
                    <a:pt x="4220762" y="340466"/>
                    <a:pt x="4219575" y="360174"/>
                  </a:cubicBezTo>
                  <a:cubicBezTo>
                    <a:pt x="4219575" y="362337"/>
                    <a:pt x="4220762" y="363538"/>
                    <a:pt x="4223136" y="363538"/>
                  </a:cubicBezTo>
                  <a:cubicBezTo>
                    <a:pt x="4419212" y="363538"/>
                    <a:pt x="4419212" y="363538"/>
                    <a:pt x="4419212" y="363538"/>
                  </a:cubicBezTo>
                  <a:cubicBezTo>
                    <a:pt x="4421586" y="363538"/>
                    <a:pt x="4422773" y="362337"/>
                    <a:pt x="4422773" y="360174"/>
                  </a:cubicBezTo>
                  <a:cubicBezTo>
                    <a:pt x="4421586" y="340946"/>
                    <a:pt x="4419924" y="326766"/>
                    <a:pt x="4417551" y="317634"/>
                  </a:cubicBezTo>
                  <a:cubicBezTo>
                    <a:pt x="4411853" y="295042"/>
                    <a:pt x="4400461" y="277016"/>
                    <a:pt x="4383607" y="263317"/>
                  </a:cubicBezTo>
                  <a:cubicBezTo>
                    <a:pt x="4366753" y="249858"/>
                    <a:pt x="4345863" y="242888"/>
                    <a:pt x="4320700" y="242888"/>
                  </a:cubicBezTo>
                  <a:close/>
                  <a:moveTo>
                    <a:pt x="2676960" y="242888"/>
                  </a:moveTo>
                  <a:cubicBezTo>
                    <a:pt x="2652050" y="242888"/>
                    <a:pt x="2631691" y="249137"/>
                    <a:pt x="2615643" y="261635"/>
                  </a:cubicBezTo>
                  <a:cubicBezTo>
                    <a:pt x="2599356" y="274132"/>
                    <a:pt x="2588578" y="290716"/>
                    <a:pt x="2582590" y="311385"/>
                  </a:cubicBezTo>
                  <a:cubicBezTo>
                    <a:pt x="2578758" y="324123"/>
                    <a:pt x="2576123" y="340466"/>
                    <a:pt x="2574925" y="360174"/>
                  </a:cubicBezTo>
                  <a:cubicBezTo>
                    <a:pt x="2574925" y="362337"/>
                    <a:pt x="2576123" y="363538"/>
                    <a:pt x="2578279" y="363538"/>
                  </a:cubicBezTo>
                  <a:cubicBezTo>
                    <a:pt x="2776360" y="363538"/>
                    <a:pt x="2776360" y="363538"/>
                    <a:pt x="2776360" y="363538"/>
                  </a:cubicBezTo>
                  <a:cubicBezTo>
                    <a:pt x="2778755" y="363538"/>
                    <a:pt x="2779713" y="362337"/>
                    <a:pt x="2779713" y="360174"/>
                  </a:cubicBezTo>
                  <a:cubicBezTo>
                    <a:pt x="2778755" y="340946"/>
                    <a:pt x="2776839" y="326766"/>
                    <a:pt x="2774683" y="317634"/>
                  </a:cubicBezTo>
                  <a:cubicBezTo>
                    <a:pt x="2768935" y="295042"/>
                    <a:pt x="2757438" y="277016"/>
                    <a:pt x="2740432" y="263317"/>
                  </a:cubicBezTo>
                  <a:cubicBezTo>
                    <a:pt x="2723427" y="249858"/>
                    <a:pt x="2702349" y="242888"/>
                    <a:pt x="2676960" y="242888"/>
                  </a:cubicBezTo>
                  <a:close/>
                  <a:moveTo>
                    <a:pt x="1425100" y="242888"/>
                  </a:moveTo>
                  <a:cubicBezTo>
                    <a:pt x="1400650" y="242888"/>
                    <a:pt x="1380234" y="249137"/>
                    <a:pt x="1364331" y="261635"/>
                  </a:cubicBezTo>
                  <a:cubicBezTo>
                    <a:pt x="1348187" y="274132"/>
                    <a:pt x="1337506" y="290716"/>
                    <a:pt x="1331571" y="311385"/>
                  </a:cubicBezTo>
                  <a:cubicBezTo>
                    <a:pt x="1327772" y="324123"/>
                    <a:pt x="1325162" y="340466"/>
                    <a:pt x="1323974" y="360174"/>
                  </a:cubicBezTo>
                  <a:cubicBezTo>
                    <a:pt x="1323974" y="362337"/>
                    <a:pt x="1325162" y="363538"/>
                    <a:pt x="1327297" y="363538"/>
                  </a:cubicBezTo>
                  <a:cubicBezTo>
                    <a:pt x="1523613" y="363538"/>
                    <a:pt x="1523613" y="363538"/>
                    <a:pt x="1523613" y="363538"/>
                  </a:cubicBezTo>
                  <a:cubicBezTo>
                    <a:pt x="1525988" y="363538"/>
                    <a:pt x="1527175" y="362337"/>
                    <a:pt x="1527175" y="360174"/>
                  </a:cubicBezTo>
                  <a:cubicBezTo>
                    <a:pt x="1525988" y="340946"/>
                    <a:pt x="1524088" y="326766"/>
                    <a:pt x="1521951" y="317634"/>
                  </a:cubicBezTo>
                  <a:cubicBezTo>
                    <a:pt x="1516254" y="295042"/>
                    <a:pt x="1504860" y="277016"/>
                    <a:pt x="1488007" y="263317"/>
                  </a:cubicBezTo>
                  <a:cubicBezTo>
                    <a:pt x="1471151" y="249858"/>
                    <a:pt x="1450263" y="242888"/>
                    <a:pt x="1425100" y="242888"/>
                  </a:cubicBezTo>
                  <a:close/>
                  <a:moveTo>
                    <a:pt x="7790487" y="179388"/>
                  </a:moveTo>
                  <a:cubicBezTo>
                    <a:pt x="7855671" y="179388"/>
                    <a:pt x="7855671" y="179388"/>
                    <a:pt x="7855671" y="179388"/>
                  </a:cubicBezTo>
                  <a:cubicBezTo>
                    <a:pt x="7861380" y="179388"/>
                    <a:pt x="7864473" y="182246"/>
                    <a:pt x="7864473" y="187962"/>
                  </a:cubicBezTo>
                  <a:cubicBezTo>
                    <a:pt x="7864473" y="607377"/>
                    <a:pt x="7864473" y="607377"/>
                    <a:pt x="7864473" y="607377"/>
                  </a:cubicBezTo>
                  <a:cubicBezTo>
                    <a:pt x="7864473" y="613093"/>
                    <a:pt x="7861380" y="615951"/>
                    <a:pt x="7855671" y="615951"/>
                  </a:cubicBezTo>
                  <a:cubicBezTo>
                    <a:pt x="7790487" y="615951"/>
                    <a:pt x="7790487" y="615951"/>
                    <a:pt x="7790487" y="615951"/>
                  </a:cubicBezTo>
                  <a:cubicBezTo>
                    <a:pt x="7784778" y="615951"/>
                    <a:pt x="7781923" y="613093"/>
                    <a:pt x="7781923" y="607377"/>
                  </a:cubicBezTo>
                  <a:cubicBezTo>
                    <a:pt x="7781923" y="187962"/>
                    <a:pt x="7781923" y="187962"/>
                    <a:pt x="7781923" y="187962"/>
                  </a:cubicBezTo>
                  <a:cubicBezTo>
                    <a:pt x="7781923" y="182246"/>
                    <a:pt x="7784778" y="179388"/>
                    <a:pt x="7790487" y="179388"/>
                  </a:cubicBezTo>
                  <a:close/>
                  <a:moveTo>
                    <a:pt x="5619666" y="179388"/>
                  </a:moveTo>
                  <a:cubicBezTo>
                    <a:pt x="5689184" y="179388"/>
                    <a:pt x="5689184" y="179388"/>
                    <a:pt x="5689184" y="179388"/>
                  </a:cubicBezTo>
                  <a:cubicBezTo>
                    <a:pt x="5694422" y="179388"/>
                    <a:pt x="5697755" y="181530"/>
                    <a:pt x="5699421" y="186051"/>
                  </a:cubicBezTo>
                  <a:cubicBezTo>
                    <a:pt x="5796556" y="509928"/>
                    <a:pt x="5796556" y="509928"/>
                    <a:pt x="5796556" y="509928"/>
                  </a:cubicBezTo>
                  <a:cubicBezTo>
                    <a:pt x="5797032" y="511118"/>
                    <a:pt x="5797984" y="511832"/>
                    <a:pt x="5799175" y="511832"/>
                  </a:cubicBezTo>
                  <a:cubicBezTo>
                    <a:pt x="5800365" y="511832"/>
                    <a:pt x="5801079" y="511118"/>
                    <a:pt x="5801794" y="509928"/>
                  </a:cubicBezTo>
                  <a:cubicBezTo>
                    <a:pt x="5897976" y="186051"/>
                    <a:pt x="5897976" y="186051"/>
                    <a:pt x="5897976" y="186051"/>
                  </a:cubicBezTo>
                  <a:cubicBezTo>
                    <a:pt x="5899642" y="181530"/>
                    <a:pt x="5903213" y="179388"/>
                    <a:pt x="5908213" y="179388"/>
                  </a:cubicBezTo>
                  <a:cubicBezTo>
                    <a:pt x="5976302" y="179388"/>
                    <a:pt x="5976302" y="179388"/>
                    <a:pt x="5976302" y="179388"/>
                  </a:cubicBezTo>
                  <a:cubicBezTo>
                    <a:pt x="5982492" y="179388"/>
                    <a:pt x="5984873" y="182482"/>
                    <a:pt x="5983206" y="188669"/>
                  </a:cubicBezTo>
                  <a:cubicBezTo>
                    <a:pt x="5826553" y="646523"/>
                    <a:pt x="5826553" y="646523"/>
                    <a:pt x="5826553" y="646523"/>
                  </a:cubicBezTo>
                  <a:cubicBezTo>
                    <a:pt x="5813459" y="686026"/>
                    <a:pt x="5800365" y="715534"/>
                    <a:pt x="5787033" y="734572"/>
                  </a:cubicBezTo>
                  <a:cubicBezTo>
                    <a:pt x="5773939" y="753847"/>
                    <a:pt x="5756797" y="767412"/>
                    <a:pt x="5735609" y="775503"/>
                  </a:cubicBezTo>
                  <a:cubicBezTo>
                    <a:pt x="5714420" y="783356"/>
                    <a:pt x="5684661" y="787401"/>
                    <a:pt x="5646093" y="787401"/>
                  </a:cubicBezTo>
                  <a:cubicBezTo>
                    <a:pt x="5640141" y="787401"/>
                    <a:pt x="5640141" y="787401"/>
                    <a:pt x="5640141" y="787401"/>
                  </a:cubicBezTo>
                  <a:lnTo>
                    <a:pt x="5634189" y="787401"/>
                  </a:lnTo>
                  <a:cubicBezTo>
                    <a:pt x="5634189" y="778834"/>
                    <a:pt x="5634189" y="778834"/>
                    <a:pt x="5634189" y="778834"/>
                  </a:cubicBezTo>
                  <a:cubicBezTo>
                    <a:pt x="5634189" y="728147"/>
                    <a:pt x="5634189" y="728147"/>
                    <a:pt x="5634189" y="728147"/>
                  </a:cubicBezTo>
                  <a:cubicBezTo>
                    <a:pt x="5634189" y="722435"/>
                    <a:pt x="5637046" y="719580"/>
                    <a:pt x="5642760" y="719580"/>
                  </a:cubicBezTo>
                  <a:cubicBezTo>
                    <a:pt x="5644426" y="719580"/>
                    <a:pt x="5644426" y="719580"/>
                    <a:pt x="5644426" y="719580"/>
                  </a:cubicBezTo>
                  <a:cubicBezTo>
                    <a:pt x="5667281" y="719104"/>
                    <a:pt x="5685375" y="716248"/>
                    <a:pt x="5698707" y="711013"/>
                  </a:cubicBezTo>
                  <a:cubicBezTo>
                    <a:pt x="5711801" y="705778"/>
                    <a:pt x="5722753" y="696259"/>
                    <a:pt x="5731323" y="682219"/>
                  </a:cubicBezTo>
                  <a:cubicBezTo>
                    <a:pt x="5739894" y="668178"/>
                    <a:pt x="5748227" y="647237"/>
                    <a:pt x="5756083" y="619157"/>
                  </a:cubicBezTo>
                  <a:cubicBezTo>
                    <a:pt x="5756797" y="618443"/>
                    <a:pt x="5756797" y="616777"/>
                    <a:pt x="5756083" y="613921"/>
                  </a:cubicBezTo>
                  <a:cubicBezTo>
                    <a:pt x="5612762" y="188669"/>
                    <a:pt x="5612762" y="188669"/>
                    <a:pt x="5612762" y="188669"/>
                  </a:cubicBezTo>
                  <a:cubicBezTo>
                    <a:pt x="5611810" y="185337"/>
                    <a:pt x="5611810" y="185337"/>
                    <a:pt x="5611810" y="185337"/>
                  </a:cubicBezTo>
                  <a:cubicBezTo>
                    <a:pt x="5611810" y="181292"/>
                    <a:pt x="5614429" y="179388"/>
                    <a:pt x="5619666" y="179388"/>
                  </a:cubicBezTo>
                  <a:close/>
                  <a:moveTo>
                    <a:pt x="8799" y="179388"/>
                  </a:moveTo>
                  <a:cubicBezTo>
                    <a:pt x="73005" y="179388"/>
                    <a:pt x="73005" y="179388"/>
                    <a:pt x="73005" y="179388"/>
                  </a:cubicBezTo>
                  <a:cubicBezTo>
                    <a:pt x="78713" y="179388"/>
                    <a:pt x="81565" y="182243"/>
                    <a:pt x="81565" y="187952"/>
                  </a:cubicBezTo>
                  <a:cubicBezTo>
                    <a:pt x="81565" y="454841"/>
                    <a:pt x="81565" y="454841"/>
                    <a:pt x="81565" y="454841"/>
                  </a:cubicBezTo>
                  <a:cubicBezTo>
                    <a:pt x="81565" y="484575"/>
                    <a:pt x="89413" y="508124"/>
                    <a:pt x="105345" y="525250"/>
                  </a:cubicBezTo>
                  <a:cubicBezTo>
                    <a:pt x="121040" y="542377"/>
                    <a:pt x="143157" y="551178"/>
                    <a:pt x="171691" y="551178"/>
                  </a:cubicBezTo>
                  <a:cubicBezTo>
                    <a:pt x="200465" y="551178"/>
                    <a:pt x="223293" y="542377"/>
                    <a:pt x="240415" y="524775"/>
                  </a:cubicBezTo>
                  <a:cubicBezTo>
                    <a:pt x="257537" y="507410"/>
                    <a:pt x="266097" y="484099"/>
                    <a:pt x="266097" y="454841"/>
                  </a:cubicBezTo>
                  <a:cubicBezTo>
                    <a:pt x="266097" y="187952"/>
                    <a:pt x="266097" y="187952"/>
                    <a:pt x="266097" y="187952"/>
                  </a:cubicBezTo>
                  <a:cubicBezTo>
                    <a:pt x="266097" y="182243"/>
                    <a:pt x="268952" y="179388"/>
                    <a:pt x="274896" y="179388"/>
                  </a:cubicBezTo>
                  <a:cubicBezTo>
                    <a:pt x="339103" y="179388"/>
                    <a:pt x="339103" y="179388"/>
                    <a:pt x="339103" y="179388"/>
                  </a:cubicBezTo>
                  <a:cubicBezTo>
                    <a:pt x="344810" y="179388"/>
                    <a:pt x="347662" y="182243"/>
                    <a:pt x="347662" y="187952"/>
                  </a:cubicBezTo>
                  <a:cubicBezTo>
                    <a:pt x="347662" y="607791"/>
                    <a:pt x="347662" y="607791"/>
                    <a:pt x="347662" y="607791"/>
                  </a:cubicBezTo>
                  <a:cubicBezTo>
                    <a:pt x="347662" y="613500"/>
                    <a:pt x="344810" y="616354"/>
                    <a:pt x="339103" y="616354"/>
                  </a:cubicBezTo>
                  <a:cubicBezTo>
                    <a:pt x="274896" y="616354"/>
                    <a:pt x="274896" y="616354"/>
                    <a:pt x="274896" y="616354"/>
                  </a:cubicBezTo>
                  <a:cubicBezTo>
                    <a:pt x="268952" y="616354"/>
                    <a:pt x="266097" y="613500"/>
                    <a:pt x="266097" y="607791"/>
                  </a:cubicBezTo>
                  <a:cubicBezTo>
                    <a:pt x="266097" y="575917"/>
                    <a:pt x="266097" y="575917"/>
                    <a:pt x="266097" y="575917"/>
                  </a:cubicBezTo>
                  <a:cubicBezTo>
                    <a:pt x="266097" y="574727"/>
                    <a:pt x="265859" y="574014"/>
                    <a:pt x="264909" y="573776"/>
                  </a:cubicBezTo>
                  <a:cubicBezTo>
                    <a:pt x="263957" y="573538"/>
                    <a:pt x="263007" y="574014"/>
                    <a:pt x="261817" y="575203"/>
                  </a:cubicBezTo>
                  <a:cubicBezTo>
                    <a:pt x="238988" y="606602"/>
                    <a:pt x="203795" y="622301"/>
                    <a:pt x="156234" y="622301"/>
                  </a:cubicBezTo>
                  <a:cubicBezTo>
                    <a:pt x="128174" y="622301"/>
                    <a:pt x="102492" y="616830"/>
                    <a:pt x="78713" y="606126"/>
                  </a:cubicBezTo>
                  <a:cubicBezTo>
                    <a:pt x="54933" y="595184"/>
                    <a:pt x="35909" y="579247"/>
                    <a:pt x="21642" y="557839"/>
                  </a:cubicBezTo>
                  <a:cubicBezTo>
                    <a:pt x="7134" y="536668"/>
                    <a:pt x="0" y="510978"/>
                    <a:pt x="0" y="480769"/>
                  </a:cubicBezTo>
                  <a:cubicBezTo>
                    <a:pt x="0" y="187952"/>
                    <a:pt x="0" y="187952"/>
                    <a:pt x="0" y="187952"/>
                  </a:cubicBezTo>
                  <a:cubicBezTo>
                    <a:pt x="0" y="182243"/>
                    <a:pt x="2854" y="179388"/>
                    <a:pt x="8799" y="179388"/>
                  </a:cubicBezTo>
                  <a:close/>
                  <a:moveTo>
                    <a:pt x="7185536" y="174625"/>
                  </a:moveTo>
                  <a:cubicBezTo>
                    <a:pt x="7203807" y="174625"/>
                    <a:pt x="7220417" y="178430"/>
                    <a:pt x="7235128" y="185801"/>
                  </a:cubicBezTo>
                  <a:cubicBezTo>
                    <a:pt x="7239162" y="187703"/>
                    <a:pt x="7240586" y="191032"/>
                    <a:pt x="7239399" y="196263"/>
                  </a:cubicBezTo>
                  <a:cubicBezTo>
                    <a:pt x="7225637" y="260703"/>
                    <a:pt x="7225637" y="260703"/>
                    <a:pt x="7225637" y="260703"/>
                  </a:cubicBezTo>
                  <a:cubicBezTo>
                    <a:pt x="7225162" y="265696"/>
                    <a:pt x="7221840" y="267361"/>
                    <a:pt x="7215434" y="265696"/>
                  </a:cubicBezTo>
                  <a:cubicBezTo>
                    <a:pt x="7205705" y="261654"/>
                    <a:pt x="7194316" y="259752"/>
                    <a:pt x="7181265" y="259752"/>
                  </a:cubicBezTo>
                  <a:cubicBezTo>
                    <a:pt x="7169164" y="260703"/>
                    <a:pt x="7169164" y="260703"/>
                    <a:pt x="7169164" y="260703"/>
                  </a:cubicBezTo>
                  <a:cubicBezTo>
                    <a:pt x="7142350" y="261654"/>
                    <a:pt x="7120283" y="270927"/>
                    <a:pt x="7102724" y="288523"/>
                  </a:cubicBezTo>
                  <a:cubicBezTo>
                    <a:pt x="7085402" y="305881"/>
                    <a:pt x="7076623" y="328709"/>
                    <a:pt x="7076623" y="356767"/>
                  </a:cubicBezTo>
                  <a:cubicBezTo>
                    <a:pt x="7076623" y="607390"/>
                    <a:pt x="7076623" y="607390"/>
                    <a:pt x="7076623" y="607390"/>
                  </a:cubicBezTo>
                  <a:cubicBezTo>
                    <a:pt x="7076623" y="613097"/>
                    <a:pt x="7073776" y="615950"/>
                    <a:pt x="7068081" y="615950"/>
                  </a:cubicBezTo>
                  <a:cubicBezTo>
                    <a:pt x="7003065" y="615950"/>
                    <a:pt x="7003065" y="615950"/>
                    <a:pt x="7003065" y="615950"/>
                  </a:cubicBezTo>
                  <a:cubicBezTo>
                    <a:pt x="6997370" y="615950"/>
                    <a:pt x="6994523" y="613097"/>
                    <a:pt x="6994523" y="607390"/>
                  </a:cubicBezTo>
                  <a:cubicBezTo>
                    <a:pt x="6994523" y="187703"/>
                    <a:pt x="6994523" y="187703"/>
                    <a:pt x="6994523" y="187703"/>
                  </a:cubicBezTo>
                  <a:cubicBezTo>
                    <a:pt x="6994523" y="181997"/>
                    <a:pt x="6997370" y="179143"/>
                    <a:pt x="7003065" y="179143"/>
                  </a:cubicBezTo>
                  <a:cubicBezTo>
                    <a:pt x="7068081" y="179143"/>
                    <a:pt x="7068081" y="179143"/>
                    <a:pt x="7068081" y="179143"/>
                  </a:cubicBezTo>
                  <a:cubicBezTo>
                    <a:pt x="7073776" y="179143"/>
                    <a:pt x="7076623" y="181997"/>
                    <a:pt x="7076623" y="187703"/>
                  </a:cubicBezTo>
                  <a:cubicBezTo>
                    <a:pt x="7076623" y="233120"/>
                    <a:pt x="7076623" y="233120"/>
                    <a:pt x="7076623" y="233120"/>
                  </a:cubicBezTo>
                  <a:cubicBezTo>
                    <a:pt x="7076623" y="234784"/>
                    <a:pt x="7077098" y="235735"/>
                    <a:pt x="7078047" y="236211"/>
                  </a:cubicBezTo>
                  <a:cubicBezTo>
                    <a:pt x="7078759" y="236449"/>
                    <a:pt x="7079470" y="235973"/>
                    <a:pt x="7080182" y="234784"/>
                  </a:cubicBezTo>
                  <a:cubicBezTo>
                    <a:pt x="7105809" y="194837"/>
                    <a:pt x="7140927" y="174625"/>
                    <a:pt x="7185536" y="174625"/>
                  </a:cubicBezTo>
                  <a:close/>
                  <a:moveTo>
                    <a:pt x="5407142" y="174625"/>
                  </a:moveTo>
                  <a:cubicBezTo>
                    <a:pt x="5440487" y="174625"/>
                    <a:pt x="5469783" y="180108"/>
                    <a:pt x="5495269" y="190597"/>
                  </a:cubicBezTo>
                  <a:cubicBezTo>
                    <a:pt x="5520754" y="201324"/>
                    <a:pt x="5540523" y="216103"/>
                    <a:pt x="5554337" y="234935"/>
                  </a:cubicBezTo>
                  <a:cubicBezTo>
                    <a:pt x="5567914" y="253767"/>
                    <a:pt x="5574821" y="275221"/>
                    <a:pt x="5574821" y="298582"/>
                  </a:cubicBezTo>
                  <a:cubicBezTo>
                    <a:pt x="5574821" y="301204"/>
                    <a:pt x="5574821" y="301204"/>
                    <a:pt x="5574821" y="301204"/>
                  </a:cubicBezTo>
                  <a:cubicBezTo>
                    <a:pt x="5574821" y="306925"/>
                    <a:pt x="5571963" y="309786"/>
                    <a:pt x="5566246" y="309786"/>
                  </a:cubicBezTo>
                  <a:cubicBezTo>
                    <a:pt x="5505987" y="309786"/>
                    <a:pt x="5505987" y="309786"/>
                    <a:pt x="5505987" y="309786"/>
                  </a:cubicBezTo>
                  <a:cubicBezTo>
                    <a:pt x="5500270" y="309786"/>
                    <a:pt x="5497412" y="306925"/>
                    <a:pt x="5497412" y="301204"/>
                  </a:cubicBezTo>
                  <a:cubicBezTo>
                    <a:pt x="5497412" y="298582"/>
                    <a:pt x="5497412" y="298582"/>
                    <a:pt x="5497412" y="298582"/>
                  </a:cubicBezTo>
                  <a:cubicBezTo>
                    <a:pt x="5497412" y="281896"/>
                    <a:pt x="5489314" y="268070"/>
                    <a:pt x="5472880" y="256866"/>
                  </a:cubicBezTo>
                  <a:cubicBezTo>
                    <a:pt x="5456683" y="245662"/>
                    <a:pt x="5434532" y="240179"/>
                    <a:pt x="5406427" y="240179"/>
                  </a:cubicBezTo>
                  <a:cubicBezTo>
                    <a:pt x="5381180" y="240179"/>
                    <a:pt x="5360696" y="244947"/>
                    <a:pt x="5344738" y="254720"/>
                  </a:cubicBezTo>
                  <a:cubicBezTo>
                    <a:pt x="5329018" y="264494"/>
                    <a:pt x="5321158" y="277605"/>
                    <a:pt x="5321158" y="294291"/>
                  </a:cubicBezTo>
                  <a:cubicBezTo>
                    <a:pt x="5321158" y="310978"/>
                    <a:pt x="5328780" y="323612"/>
                    <a:pt x="5344024" y="332193"/>
                  </a:cubicBezTo>
                  <a:cubicBezTo>
                    <a:pt x="5359267" y="340775"/>
                    <a:pt x="5383800" y="350072"/>
                    <a:pt x="5417622" y="359845"/>
                  </a:cubicBezTo>
                  <a:cubicBezTo>
                    <a:pt x="5450729" y="368904"/>
                    <a:pt x="5478358" y="377962"/>
                    <a:pt x="5500509" y="386782"/>
                  </a:cubicBezTo>
                  <a:cubicBezTo>
                    <a:pt x="5522659" y="395841"/>
                    <a:pt x="5541237" y="408951"/>
                    <a:pt x="5556719" y="426353"/>
                  </a:cubicBezTo>
                  <a:cubicBezTo>
                    <a:pt x="5572201" y="443993"/>
                    <a:pt x="5580061" y="466639"/>
                    <a:pt x="5580061" y="494768"/>
                  </a:cubicBezTo>
                  <a:cubicBezTo>
                    <a:pt x="5580061" y="533862"/>
                    <a:pt x="5564579" y="564851"/>
                    <a:pt x="5534092" y="587735"/>
                  </a:cubicBezTo>
                  <a:cubicBezTo>
                    <a:pt x="5503367" y="610620"/>
                    <a:pt x="5462638" y="622300"/>
                    <a:pt x="5411429" y="622300"/>
                  </a:cubicBezTo>
                  <a:cubicBezTo>
                    <a:pt x="5377131" y="622300"/>
                    <a:pt x="5346882" y="617056"/>
                    <a:pt x="5320682" y="606806"/>
                  </a:cubicBezTo>
                  <a:cubicBezTo>
                    <a:pt x="5294720" y="596317"/>
                    <a:pt x="5274475" y="582253"/>
                    <a:pt x="5260184" y="564136"/>
                  </a:cubicBezTo>
                  <a:cubicBezTo>
                    <a:pt x="5245893" y="546019"/>
                    <a:pt x="5238748" y="525995"/>
                    <a:pt x="5238748" y="504303"/>
                  </a:cubicBezTo>
                  <a:cubicBezTo>
                    <a:pt x="5238748" y="494768"/>
                    <a:pt x="5238748" y="494768"/>
                    <a:pt x="5238748" y="494768"/>
                  </a:cubicBezTo>
                  <a:cubicBezTo>
                    <a:pt x="5238748" y="489047"/>
                    <a:pt x="5241606" y="486186"/>
                    <a:pt x="5247322" y="486186"/>
                  </a:cubicBezTo>
                  <a:cubicBezTo>
                    <a:pt x="5309249" y="486186"/>
                    <a:pt x="5309249" y="486186"/>
                    <a:pt x="5309249" y="486186"/>
                  </a:cubicBezTo>
                  <a:cubicBezTo>
                    <a:pt x="5314966" y="486186"/>
                    <a:pt x="5317824" y="489047"/>
                    <a:pt x="5317824" y="494768"/>
                  </a:cubicBezTo>
                  <a:cubicBezTo>
                    <a:pt x="5317824" y="499059"/>
                    <a:pt x="5317824" y="499059"/>
                    <a:pt x="5317824" y="499059"/>
                  </a:cubicBezTo>
                  <a:cubicBezTo>
                    <a:pt x="5317824" y="515268"/>
                    <a:pt x="5326637" y="529333"/>
                    <a:pt x="5344024" y="541252"/>
                  </a:cubicBezTo>
                  <a:cubicBezTo>
                    <a:pt x="5361411" y="553409"/>
                    <a:pt x="5383800" y="559368"/>
                    <a:pt x="5410714" y="559368"/>
                  </a:cubicBezTo>
                  <a:cubicBezTo>
                    <a:pt x="5436438" y="559368"/>
                    <a:pt x="5457398" y="553886"/>
                    <a:pt x="5473356" y="542682"/>
                  </a:cubicBezTo>
                  <a:cubicBezTo>
                    <a:pt x="5489552" y="531478"/>
                    <a:pt x="5497412" y="517175"/>
                    <a:pt x="5497412" y="500012"/>
                  </a:cubicBezTo>
                  <a:cubicBezTo>
                    <a:pt x="5497412" y="483326"/>
                    <a:pt x="5490029" y="470930"/>
                    <a:pt x="5475261" y="462587"/>
                  </a:cubicBezTo>
                  <a:cubicBezTo>
                    <a:pt x="5460256" y="454243"/>
                    <a:pt x="5436200" y="445423"/>
                    <a:pt x="5402854" y="436365"/>
                  </a:cubicBezTo>
                  <a:cubicBezTo>
                    <a:pt x="5370224" y="427068"/>
                    <a:pt x="5342833" y="417771"/>
                    <a:pt x="5320682" y="408475"/>
                  </a:cubicBezTo>
                  <a:cubicBezTo>
                    <a:pt x="5298769" y="398939"/>
                    <a:pt x="5280192" y="385352"/>
                    <a:pt x="5264948" y="367950"/>
                  </a:cubicBezTo>
                  <a:cubicBezTo>
                    <a:pt x="5249704" y="350310"/>
                    <a:pt x="5242082" y="327903"/>
                    <a:pt x="5242082" y="300489"/>
                  </a:cubicBezTo>
                  <a:cubicBezTo>
                    <a:pt x="5242082" y="261872"/>
                    <a:pt x="5257088" y="231359"/>
                    <a:pt x="5287337" y="208713"/>
                  </a:cubicBezTo>
                  <a:cubicBezTo>
                    <a:pt x="5317348" y="186067"/>
                    <a:pt x="5357362" y="174625"/>
                    <a:pt x="5407142" y="174625"/>
                  </a:cubicBezTo>
                  <a:close/>
                  <a:moveTo>
                    <a:pt x="1908331" y="174625"/>
                  </a:moveTo>
                  <a:cubicBezTo>
                    <a:pt x="1926719" y="174625"/>
                    <a:pt x="1943438" y="178430"/>
                    <a:pt x="1958484" y="185801"/>
                  </a:cubicBezTo>
                  <a:cubicBezTo>
                    <a:pt x="1962305" y="187703"/>
                    <a:pt x="1963738" y="191032"/>
                    <a:pt x="1962782" y="196263"/>
                  </a:cubicBezTo>
                  <a:cubicBezTo>
                    <a:pt x="1948931" y="260703"/>
                    <a:pt x="1948931" y="260703"/>
                    <a:pt x="1948931" y="260703"/>
                  </a:cubicBezTo>
                  <a:cubicBezTo>
                    <a:pt x="1948454" y="265696"/>
                    <a:pt x="1944871" y="267361"/>
                    <a:pt x="1938661" y="265696"/>
                  </a:cubicBezTo>
                  <a:cubicBezTo>
                    <a:pt x="1928870" y="261654"/>
                    <a:pt x="1917406" y="259752"/>
                    <a:pt x="1904033" y="259752"/>
                  </a:cubicBezTo>
                  <a:cubicBezTo>
                    <a:pt x="1892091" y="260703"/>
                    <a:pt x="1892091" y="260703"/>
                    <a:pt x="1892091" y="260703"/>
                  </a:cubicBezTo>
                  <a:cubicBezTo>
                    <a:pt x="1865105" y="261654"/>
                    <a:pt x="1842658" y="270927"/>
                    <a:pt x="1825224" y="288523"/>
                  </a:cubicBezTo>
                  <a:cubicBezTo>
                    <a:pt x="1807553" y="305881"/>
                    <a:pt x="1798954" y="328709"/>
                    <a:pt x="1798954" y="356767"/>
                  </a:cubicBezTo>
                  <a:cubicBezTo>
                    <a:pt x="1798954" y="607390"/>
                    <a:pt x="1798954" y="607390"/>
                    <a:pt x="1798954" y="607390"/>
                  </a:cubicBezTo>
                  <a:cubicBezTo>
                    <a:pt x="1798954" y="613097"/>
                    <a:pt x="1796088" y="615950"/>
                    <a:pt x="1790358" y="615950"/>
                  </a:cubicBezTo>
                  <a:cubicBezTo>
                    <a:pt x="1724683" y="615950"/>
                    <a:pt x="1724683" y="615950"/>
                    <a:pt x="1724683" y="615950"/>
                  </a:cubicBezTo>
                  <a:cubicBezTo>
                    <a:pt x="1718951" y="615950"/>
                    <a:pt x="1716086" y="613097"/>
                    <a:pt x="1716086" y="607390"/>
                  </a:cubicBezTo>
                  <a:cubicBezTo>
                    <a:pt x="1716086" y="187703"/>
                    <a:pt x="1716086" y="187703"/>
                    <a:pt x="1716086" y="187703"/>
                  </a:cubicBezTo>
                  <a:cubicBezTo>
                    <a:pt x="1716086" y="181997"/>
                    <a:pt x="1718951" y="179143"/>
                    <a:pt x="1724683" y="179143"/>
                  </a:cubicBezTo>
                  <a:cubicBezTo>
                    <a:pt x="1790358" y="179143"/>
                    <a:pt x="1790358" y="179143"/>
                    <a:pt x="1790358" y="179143"/>
                  </a:cubicBezTo>
                  <a:cubicBezTo>
                    <a:pt x="1796088" y="179143"/>
                    <a:pt x="1798954" y="181997"/>
                    <a:pt x="1798954" y="187703"/>
                  </a:cubicBezTo>
                  <a:cubicBezTo>
                    <a:pt x="1798954" y="233120"/>
                    <a:pt x="1798954" y="233120"/>
                    <a:pt x="1798954" y="233120"/>
                  </a:cubicBezTo>
                  <a:cubicBezTo>
                    <a:pt x="1798954" y="234784"/>
                    <a:pt x="1799432" y="235735"/>
                    <a:pt x="1800149" y="236211"/>
                  </a:cubicBezTo>
                  <a:cubicBezTo>
                    <a:pt x="1801104" y="236449"/>
                    <a:pt x="1801820" y="235973"/>
                    <a:pt x="1802297" y="234784"/>
                  </a:cubicBezTo>
                  <a:cubicBezTo>
                    <a:pt x="1828329" y="194837"/>
                    <a:pt x="1863673" y="174625"/>
                    <a:pt x="1908331" y="174625"/>
                  </a:cubicBezTo>
                  <a:close/>
                  <a:moveTo>
                    <a:pt x="8657956" y="173038"/>
                  </a:moveTo>
                  <a:cubicBezTo>
                    <a:pt x="8704802" y="173038"/>
                    <a:pt x="8742137" y="186590"/>
                    <a:pt x="8769484" y="213930"/>
                  </a:cubicBezTo>
                  <a:cubicBezTo>
                    <a:pt x="8797069" y="241032"/>
                    <a:pt x="8810623" y="277882"/>
                    <a:pt x="8810623" y="324242"/>
                  </a:cubicBezTo>
                  <a:cubicBezTo>
                    <a:pt x="8810623" y="607393"/>
                    <a:pt x="8810623" y="607393"/>
                    <a:pt x="8810623" y="607393"/>
                  </a:cubicBezTo>
                  <a:cubicBezTo>
                    <a:pt x="8810623" y="613098"/>
                    <a:pt x="8807770" y="615951"/>
                    <a:pt x="8802062" y="615951"/>
                  </a:cubicBezTo>
                  <a:cubicBezTo>
                    <a:pt x="8736905" y="615951"/>
                    <a:pt x="8736905" y="615951"/>
                    <a:pt x="8736905" y="615951"/>
                  </a:cubicBezTo>
                  <a:cubicBezTo>
                    <a:pt x="8731198" y="615951"/>
                    <a:pt x="8728345" y="613098"/>
                    <a:pt x="8728345" y="607393"/>
                  </a:cubicBezTo>
                  <a:cubicBezTo>
                    <a:pt x="8728345" y="340408"/>
                    <a:pt x="8728345" y="340408"/>
                    <a:pt x="8728345" y="340408"/>
                  </a:cubicBezTo>
                  <a:cubicBezTo>
                    <a:pt x="8728345" y="311879"/>
                    <a:pt x="8720022" y="288581"/>
                    <a:pt x="8703376" y="270988"/>
                  </a:cubicBezTo>
                  <a:cubicBezTo>
                    <a:pt x="8686730" y="253157"/>
                    <a:pt x="8664852" y="244361"/>
                    <a:pt x="8637267" y="244361"/>
                  </a:cubicBezTo>
                  <a:cubicBezTo>
                    <a:pt x="8610396" y="244361"/>
                    <a:pt x="8588518" y="253157"/>
                    <a:pt x="8571159" y="270988"/>
                  </a:cubicBezTo>
                  <a:cubicBezTo>
                    <a:pt x="8554037" y="288581"/>
                    <a:pt x="8545477" y="311642"/>
                    <a:pt x="8545477" y="339695"/>
                  </a:cubicBezTo>
                  <a:cubicBezTo>
                    <a:pt x="8545477" y="607393"/>
                    <a:pt x="8545477" y="607393"/>
                    <a:pt x="8545477" y="607393"/>
                  </a:cubicBezTo>
                  <a:cubicBezTo>
                    <a:pt x="8545477" y="613098"/>
                    <a:pt x="8542623" y="615951"/>
                    <a:pt x="8536916" y="615951"/>
                  </a:cubicBezTo>
                  <a:cubicBezTo>
                    <a:pt x="8471759" y="615951"/>
                    <a:pt x="8471759" y="615951"/>
                    <a:pt x="8471759" y="615951"/>
                  </a:cubicBezTo>
                  <a:cubicBezTo>
                    <a:pt x="8466052" y="615951"/>
                    <a:pt x="8462960" y="613098"/>
                    <a:pt x="8462960" y="607393"/>
                  </a:cubicBezTo>
                  <a:cubicBezTo>
                    <a:pt x="8462960" y="187778"/>
                    <a:pt x="8462960" y="187778"/>
                    <a:pt x="8462960" y="187778"/>
                  </a:cubicBezTo>
                  <a:cubicBezTo>
                    <a:pt x="8462960" y="182072"/>
                    <a:pt x="8466052" y="179220"/>
                    <a:pt x="8471759" y="179220"/>
                  </a:cubicBezTo>
                  <a:cubicBezTo>
                    <a:pt x="8536916" y="179220"/>
                    <a:pt x="8536916" y="179220"/>
                    <a:pt x="8536916" y="179220"/>
                  </a:cubicBezTo>
                  <a:cubicBezTo>
                    <a:pt x="8542623" y="179220"/>
                    <a:pt x="8545477" y="182072"/>
                    <a:pt x="8545477" y="187778"/>
                  </a:cubicBezTo>
                  <a:cubicBezTo>
                    <a:pt x="8545477" y="218685"/>
                    <a:pt x="8545477" y="218685"/>
                    <a:pt x="8545477" y="218685"/>
                  </a:cubicBezTo>
                  <a:cubicBezTo>
                    <a:pt x="8545477" y="219636"/>
                    <a:pt x="8545952" y="220587"/>
                    <a:pt x="8546666" y="221062"/>
                  </a:cubicBezTo>
                  <a:cubicBezTo>
                    <a:pt x="8547617" y="221775"/>
                    <a:pt x="8548330" y="221538"/>
                    <a:pt x="8548806" y="220349"/>
                  </a:cubicBezTo>
                  <a:cubicBezTo>
                    <a:pt x="8573537" y="188729"/>
                    <a:pt x="8609920" y="173038"/>
                    <a:pt x="8657956" y="173038"/>
                  </a:cubicBezTo>
                  <a:close/>
                  <a:moveTo>
                    <a:pt x="8170266" y="173038"/>
                  </a:moveTo>
                  <a:cubicBezTo>
                    <a:pt x="8227969" y="173038"/>
                    <a:pt x="8270949" y="187291"/>
                    <a:pt x="8299682" y="216270"/>
                  </a:cubicBezTo>
                  <a:cubicBezTo>
                    <a:pt x="8328177" y="245250"/>
                    <a:pt x="8345511" y="287532"/>
                    <a:pt x="8351923" y="343592"/>
                  </a:cubicBezTo>
                  <a:cubicBezTo>
                    <a:pt x="8354297" y="367108"/>
                    <a:pt x="8355010" y="393237"/>
                    <a:pt x="8354535" y="422455"/>
                  </a:cubicBezTo>
                  <a:cubicBezTo>
                    <a:pt x="8354535" y="428156"/>
                    <a:pt x="8351685" y="431006"/>
                    <a:pt x="8345986" y="431006"/>
                  </a:cubicBezTo>
                  <a:cubicBezTo>
                    <a:pt x="8072433" y="431006"/>
                    <a:pt x="8072433" y="431006"/>
                    <a:pt x="8072433" y="431006"/>
                  </a:cubicBezTo>
                  <a:cubicBezTo>
                    <a:pt x="8070058" y="431006"/>
                    <a:pt x="8069108" y="432194"/>
                    <a:pt x="8069108" y="434569"/>
                  </a:cubicBezTo>
                  <a:cubicBezTo>
                    <a:pt x="8069108" y="453810"/>
                    <a:pt x="8070771" y="468775"/>
                    <a:pt x="8074095" y="478989"/>
                  </a:cubicBezTo>
                  <a:cubicBezTo>
                    <a:pt x="8080506" y="502030"/>
                    <a:pt x="8093092" y="519846"/>
                    <a:pt x="8112326" y="532673"/>
                  </a:cubicBezTo>
                  <a:cubicBezTo>
                    <a:pt x="8131560" y="545500"/>
                    <a:pt x="8155544" y="551914"/>
                    <a:pt x="8184751" y="551914"/>
                  </a:cubicBezTo>
                  <a:cubicBezTo>
                    <a:pt x="8227019" y="551914"/>
                    <a:pt x="8259551" y="534573"/>
                    <a:pt x="8282347" y="499655"/>
                  </a:cubicBezTo>
                  <a:cubicBezTo>
                    <a:pt x="8285197" y="493954"/>
                    <a:pt x="8288996" y="493004"/>
                    <a:pt x="8293508" y="497042"/>
                  </a:cubicBezTo>
                  <a:cubicBezTo>
                    <a:pt x="8342424" y="529585"/>
                    <a:pt x="8342424" y="529585"/>
                    <a:pt x="8342424" y="529585"/>
                  </a:cubicBezTo>
                  <a:cubicBezTo>
                    <a:pt x="8346461" y="533148"/>
                    <a:pt x="8347411" y="536711"/>
                    <a:pt x="8345036" y="540749"/>
                  </a:cubicBezTo>
                  <a:cubicBezTo>
                    <a:pt x="8329127" y="566641"/>
                    <a:pt x="8306331" y="586832"/>
                    <a:pt x="8276886" y="601560"/>
                  </a:cubicBezTo>
                  <a:cubicBezTo>
                    <a:pt x="8247441" y="616525"/>
                    <a:pt x="8214196" y="623888"/>
                    <a:pt x="8176915" y="623888"/>
                  </a:cubicBezTo>
                  <a:cubicBezTo>
                    <a:pt x="8135360" y="623888"/>
                    <a:pt x="8100216" y="614862"/>
                    <a:pt x="8071483" y="596571"/>
                  </a:cubicBezTo>
                  <a:cubicBezTo>
                    <a:pt x="8042988" y="578281"/>
                    <a:pt x="8021616" y="552151"/>
                    <a:pt x="8007369" y="518421"/>
                  </a:cubicBezTo>
                  <a:cubicBezTo>
                    <a:pt x="7993596" y="484690"/>
                    <a:pt x="7986710" y="443833"/>
                    <a:pt x="7986710" y="395850"/>
                  </a:cubicBezTo>
                  <a:cubicBezTo>
                    <a:pt x="7986710" y="354281"/>
                    <a:pt x="7989797" y="322451"/>
                    <a:pt x="7996208" y="300835"/>
                  </a:cubicBezTo>
                  <a:cubicBezTo>
                    <a:pt x="8006419" y="261165"/>
                    <a:pt x="8027078" y="230048"/>
                    <a:pt x="8057948" y="207244"/>
                  </a:cubicBezTo>
                  <a:cubicBezTo>
                    <a:pt x="8088818" y="184440"/>
                    <a:pt x="8126099" y="173038"/>
                    <a:pt x="8170266" y="173038"/>
                  </a:cubicBezTo>
                  <a:close/>
                  <a:moveTo>
                    <a:pt x="7457407" y="173038"/>
                  </a:moveTo>
                  <a:cubicBezTo>
                    <a:pt x="7504287" y="173038"/>
                    <a:pt x="7541411" y="187304"/>
                    <a:pt x="7568301" y="215834"/>
                  </a:cubicBezTo>
                  <a:cubicBezTo>
                    <a:pt x="7569491" y="217023"/>
                    <a:pt x="7570443" y="217499"/>
                    <a:pt x="7571157" y="217261"/>
                  </a:cubicBezTo>
                  <a:cubicBezTo>
                    <a:pt x="7572109" y="216785"/>
                    <a:pt x="7572585" y="216072"/>
                    <a:pt x="7572585" y="215121"/>
                  </a:cubicBezTo>
                  <a:cubicBezTo>
                    <a:pt x="7572585" y="188492"/>
                    <a:pt x="7572585" y="188492"/>
                    <a:pt x="7572585" y="188492"/>
                  </a:cubicBezTo>
                  <a:cubicBezTo>
                    <a:pt x="7572585" y="182786"/>
                    <a:pt x="7575441" y="179933"/>
                    <a:pt x="7581152" y="179933"/>
                  </a:cubicBezTo>
                  <a:cubicBezTo>
                    <a:pt x="7646356" y="179933"/>
                    <a:pt x="7646356" y="179933"/>
                    <a:pt x="7646356" y="179933"/>
                  </a:cubicBezTo>
                  <a:cubicBezTo>
                    <a:pt x="7652067" y="179933"/>
                    <a:pt x="7654923" y="182786"/>
                    <a:pt x="7654923" y="188492"/>
                  </a:cubicBezTo>
                  <a:cubicBezTo>
                    <a:pt x="7654923" y="594343"/>
                    <a:pt x="7654923" y="594343"/>
                    <a:pt x="7654923" y="594343"/>
                  </a:cubicBezTo>
                  <a:cubicBezTo>
                    <a:pt x="7654923" y="663530"/>
                    <a:pt x="7635409" y="712983"/>
                    <a:pt x="7596144" y="742941"/>
                  </a:cubicBezTo>
                  <a:cubicBezTo>
                    <a:pt x="7556879" y="772660"/>
                    <a:pt x="7504287" y="787401"/>
                    <a:pt x="7438607" y="787401"/>
                  </a:cubicBezTo>
                  <a:cubicBezTo>
                    <a:pt x="7429327" y="787401"/>
                    <a:pt x="7415048" y="786926"/>
                    <a:pt x="7395535" y="785737"/>
                  </a:cubicBezTo>
                  <a:cubicBezTo>
                    <a:pt x="7389823" y="785261"/>
                    <a:pt x="7386968" y="781933"/>
                    <a:pt x="7386968" y="776227"/>
                  </a:cubicBezTo>
                  <a:cubicBezTo>
                    <a:pt x="7389585" y="717025"/>
                    <a:pt x="7389585" y="717025"/>
                    <a:pt x="7389585" y="717025"/>
                  </a:cubicBezTo>
                  <a:cubicBezTo>
                    <a:pt x="7389585" y="714885"/>
                    <a:pt x="7390537" y="712746"/>
                    <a:pt x="7392203" y="711081"/>
                  </a:cubicBezTo>
                  <a:cubicBezTo>
                    <a:pt x="7393869" y="709417"/>
                    <a:pt x="7396011" y="708704"/>
                    <a:pt x="7399104" y="709417"/>
                  </a:cubicBezTo>
                  <a:cubicBezTo>
                    <a:pt x="7406957" y="709893"/>
                    <a:pt x="7418856" y="710130"/>
                    <a:pt x="7434324" y="710130"/>
                  </a:cubicBezTo>
                  <a:cubicBezTo>
                    <a:pt x="7482870" y="710130"/>
                    <a:pt x="7518090" y="701333"/>
                    <a:pt x="7539983" y="683264"/>
                  </a:cubicBezTo>
                  <a:cubicBezTo>
                    <a:pt x="7561638" y="665194"/>
                    <a:pt x="7572585" y="634762"/>
                    <a:pt x="7572585" y="591728"/>
                  </a:cubicBezTo>
                  <a:cubicBezTo>
                    <a:pt x="7572585" y="576273"/>
                    <a:pt x="7572585" y="576273"/>
                    <a:pt x="7572585" y="576273"/>
                  </a:cubicBezTo>
                  <a:cubicBezTo>
                    <a:pt x="7572585" y="575085"/>
                    <a:pt x="7572109" y="574371"/>
                    <a:pt x="7571157" y="573658"/>
                  </a:cubicBezTo>
                  <a:cubicBezTo>
                    <a:pt x="7570443" y="573183"/>
                    <a:pt x="7569491" y="573420"/>
                    <a:pt x="7568301" y="574609"/>
                  </a:cubicBezTo>
                  <a:cubicBezTo>
                    <a:pt x="7544266" y="602664"/>
                    <a:pt x="7509047" y="616692"/>
                    <a:pt x="7462642" y="616692"/>
                  </a:cubicBezTo>
                  <a:cubicBezTo>
                    <a:pt x="7425281" y="616692"/>
                    <a:pt x="7391727" y="606944"/>
                    <a:pt x="7361505" y="587448"/>
                  </a:cubicBezTo>
                  <a:cubicBezTo>
                    <a:pt x="7331521" y="567952"/>
                    <a:pt x="7310817" y="539421"/>
                    <a:pt x="7299395" y="501618"/>
                  </a:cubicBezTo>
                  <a:cubicBezTo>
                    <a:pt x="7292017" y="476416"/>
                    <a:pt x="7288210" y="441703"/>
                    <a:pt x="7288210" y="397005"/>
                  </a:cubicBezTo>
                  <a:cubicBezTo>
                    <a:pt x="7288210" y="349454"/>
                    <a:pt x="7292493" y="312839"/>
                    <a:pt x="7301060" y="287161"/>
                  </a:cubicBezTo>
                  <a:cubicBezTo>
                    <a:pt x="7312007" y="252687"/>
                    <a:pt x="7331283" y="225107"/>
                    <a:pt x="7359125" y="204184"/>
                  </a:cubicBezTo>
                  <a:cubicBezTo>
                    <a:pt x="7386730" y="183500"/>
                    <a:pt x="7419570" y="173038"/>
                    <a:pt x="7457407" y="173038"/>
                  </a:cubicBezTo>
                  <a:close/>
                  <a:moveTo>
                    <a:pt x="6702382" y="173038"/>
                  </a:moveTo>
                  <a:cubicBezTo>
                    <a:pt x="6760572" y="173038"/>
                    <a:pt x="6803738" y="187291"/>
                    <a:pt x="6832594" y="216270"/>
                  </a:cubicBezTo>
                  <a:cubicBezTo>
                    <a:pt x="6861212" y="245250"/>
                    <a:pt x="6878622" y="287532"/>
                    <a:pt x="6885061" y="343592"/>
                  </a:cubicBezTo>
                  <a:cubicBezTo>
                    <a:pt x="6887207" y="367108"/>
                    <a:pt x="6888161" y="393237"/>
                    <a:pt x="6887684" y="422455"/>
                  </a:cubicBezTo>
                  <a:cubicBezTo>
                    <a:pt x="6887684" y="428156"/>
                    <a:pt x="6884584" y="431006"/>
                    <a:pt x="6878860" y="431006"/>
                  </a:cubicBezTo>
                  <a:cubicBezTo>
                    <a:pt x="6604365" y="431006"/>
                    <a:pt x="6604365" y="431006"/>
                    <a:pt x="6604365" y="431006"/>
                  </a:cubicBezTo>
                  <a:cubicBezTo>
                    <a:pt x="6601981" y="431006"/>
                    <a:pt x="6601027" y="432194"/>
                    <a:pt x="6601027" y="434569"/>
                  </a:cubicBezTo>
                  <a:cubicBezTo>
                    <a:pt x="6601027" y="453810"/>
                    <a:pt x="6602696" y="468775"/>
                    <a:pt x="6606035" y="478989"/>
                  </a:cubicBezTo>
                  <a:cubicBezTo>
                    <a:pt x="6612474" y="502030"/>
                    <a:pt x="6625114" y="519846"/>
                    <a:pt x="6644431" y="532673"/>
                  </a:cubicBezTo>
                  <a:cubicBezTo>
                    <a:pt x="6663509" y="545500"/>
                    <a:pt x="6687835" y="551914"/>
                    <a:pt x="6717168" y="551914"/>
                  </a:cubicBezTo>
                  <a:cubicBezTo>
                    <a:pt x="6759618" y="551914"/>
                    <a:pt x="6792290" y="534573"/>
                    <a:pt x="6815185" y="499655"/>
                  </a:cubicBezTo>
                  <a:cubicBezTo>
                    <a:pt x="6818047" y="493954"/>
                    <a:pt x="6821862" y="493004"/>
                    <a:pt x="6826394" y="497042"/>
                  </a:cubicBezTo>
                  <a:cubicBezTo>
                    <a:pt x="6875521" y="529585"/>
                    <a:pt x="6875521" y="529585"/>
                    <a:pt x="6875521" y="529585"/>
                  </a:cubicBezTo>
                  <a:cubicBezTo>
                    <a:pt x="6879575" y="533148"/>
                    <a:pt x="6880291" y="536711"/>
                    <a:pt x="6878145" y="540749"/>
                  </a:cubicBezTo>
                  <a:cubicBezTo>
                    <a:pt x="6862166" y="566641"/>
                    <a:pt x="6839272" y="586832"/>
                    <a:pt x="6809700" y="601560"/>
                  </a:cubicBezTo>
                  <a:cubicBezTo>
                    <a:pt x="6780128" y="616525"/>
                    <a:pt x="6746740" y="623888"/>
                    <a:pt x="6709298" y="623888"/>
                  </a:cubicBezTo>
                  <a:cubicBezTo>
                    <a:pt x="6667564" y="623888"/>
                    <a:pt x="6632268" y="614862"/>
                    <a:pt x="6603412" y="596571"/>
                  </a:cubicBezTo>
                  <a:cubicBezTo>
                    <a:pt x="6574793" y="578281"/>
                    <a:pt x="6553330" y="552151"/>
                    <a:pt x="6539021" y="518421"/>
                  </a:cubicBezTo>
                  <a:cubicBezTo>
                    <a:pt x="6525189" y="484690"/>
                    <a:pt x="6518273" y="443833"/>
                    <a:pt x="6518273" y="395850"/>
                  </a:cubicBezTo>
                  <a:cubicBezTo>
                    <a:pt x="6518273" y="354281"/>
                    <a:pt x="6521373" y="322451"/>
                    <a:pt x="6527812" y="300835"/>
                  </a:cubicBezTo>
                  <a:cubicBezTo>
                    <a:pt x="6538067" y="261165"/>
                    <a:pt x="6558815" y="230048"/>
                    <a:pt x="6589818" y="207244"/>
                  </a:cubicBezTo>
                  <a:cubicBezTo>
                    <a:pt x="6620821" y="184440"/>
                    <a:pt x="6658263" y="173038"/>
                    <a:pt x="6702382" y="173038"/>
                  </a:cubicBezTo>
                  <a:close/>
                  <a:moveTo>
                    <a:pt x="6260593" y="173038"/>
                  </a:moveTo>
                  <a:cubicBezTo>
                    <a:pt x="6307439" y="173038"/>
                    <a:pt x="6344774" y="186590"/>
                    <a:pt x="6372121" y="213930"/>
                  </a:cubicBezTo>
                  <a:cubicBezTo>
                    <a:pt x="6399705" y="241032"/>
                    <a:pt x="6413498" y="277882"/>
                    <a:pt x="6413498" y="324242"/>
                  </a:cubicBezTo>
                  <a:cubicBezTo>
                    <a:pt x="6413498" y="607393"/>
                    <a:pt x="6413498" y="607393"/>
                    <a:pt x="6413498" y="607393"/>
                  </a:cubicBezTo>
                  <a:cubicBezTo>
                    <a:pt x="6413498" y="613098"/>
                    <a:pt x="6410644" y="615951"/>
                    <a:pt x="6404699" y="615951"/>
                  </a:cubicBezTo>
                  <a:cubicBezTo>
                    <a:pt x="6339542" y="615951"/>
                    <a:pt x="6339542" y="615951"/>
                    <a:pt x="6339542" y="615951"/>
                  </a:cubicBezTo>
                  <a:cubicBezTo>
                    <a:pt x="6333835" y="615951"/>
                    <a:pt x="6330981" y="613098"/>
                    <a:pt x="6330981" y="607393"/>
                  </a:cubicBezTo>
                  <a:cubicBezTo>
                    <a:pt x="6330981" y="340408"/>
                    <a:pt x="6330981" y="340408"/>
                    <a:pt x="6330981" y="340408"/>
                  </a:cubicBezTo>
                  <a:cubicBezTo>
                    <a:pt x="6330981" y="311879"/>
                    <a:pt x="6322658" y="288581"/>
                    <a:pt x="6306012" y="270988"/>
                  </a:cubicBezTo>
                  <a:cubicBezTo>
                    <a:pt x="6289366" y="253157"/>
                    <a:pt x="6267489" y="244361"/>
                    <a:pt x="6239904" y="244361"/>
                  </a:cubicBezTo>
                  <a:cubicBezTo>
                    <a:pt x="6213033" y="244361"/>
                    <a:pt x="6191155" y="253157"/>
                    <a:pt x="6173796" y="270988"/>
                  </a:cubicBezTo>
                  <a:cubicBezTo>
                    <a:pt x="6156674" y="288581"/>
                    <a:pt x="6148114" y="311642"/>
                    <a:pt x="6148114" y="339695"/>
                  </a:cubicBezTo>
                  <a:cubicBezTo>
                    <a:pt x="6148114" y="607393"/>
                    <a:pt x="6148114" y="607393"/>
                    <a:pt x="6148114" y="607393"/>
                  </a:cubicBezTo>
                  <a:cubicBezTo>
                    <a:pt x="6148114" y="613098"/>
                    <a:pt x="6145260" y="615951"/>
                    <a:pt x="6139553" y="615951"/>
                  </a:cubicBezTo>
                  <a:cubicBezTo>
                    <a:pt x="6074396" y="615951"/>
                    <a:pt x="6074396" y="615951"/>
                    <a:pt x="6074396" y="615951"/>
                  </a:cubicBezTo>
                  <a:cubicBezTo>
                    <a:pt x="6068689" y="615951"/>
                    <a:pt x="6065835" y="613098"/>
                    <a:pt x="6065835" y="607393"/>
                  </a:cubicBezTo>
                  <a:cubicBezTo>
                    <a:pt x="6065835" y="187778"/>
                    <a:pt x="6065835" y="187778"/>
                    <a:pt x="6065835" y="187778"/>
                  </a:cubicBezTo>
                  <a:cubicBezTo>
                    <a:pt x="6065835" y="182072"/>
                    <a:pt x="6068689" y="179220"/>
                    <a:pt x="6074396" y="179220"/>
                  </a:cubicBezTo>
                  <a:cubicBezTo>
                    <a:pt x="6139553" y="179220"/>
                    <a:pt x="6139553" y="179220"/>
                    <a:pt x="6139553" y="179220"/>
                  </a:cubicBezTo>
                  <a:cubicBezTo>
                    <a:pt x="6145260" y="179220"/>
                    <a:pt x="6148114" y="182072"/>
                    <a:pt x="6148114" y="187778"/>
                  </a:cubicBezTo>
                  <a:cubicBezTo>
                    <a:pt x="6148114" y="218685"/>
                    <a:pt x="6148114" y="218685"/>
                    <a:pt x="6148114" y="218685"/>
                  </a:cubicBezTo>
                  <a:cubicBezTo>
                    <a:pt x="6148114" y="219636"/>
                    <a:pt x="6148589" y="220587"/>
                    <a:pt x="6149540" y="221062"/>
                  </a:cubicBezTo>
                  <a:cubicBezTo>
                    <a:pt x="6150254" y="221775"/>
                    <a:pt x="6150967" y="221538"/>
                    <a:pt x="6151681" y="220349"/>
                  </a:cubicBezTo>
                  <a:cubicBezTo>
                    <a:pt x="6176174" y="188729"/>
                    <a:pt x="6212557" y="173038"/>
                    <a:pt x="6260593" y="173038"/>
                  </a:cubicBezTo>
                  <a:close/>
                  <a:moveTo>
                    <a:pt x="4806681" y="173038"/>
                  </a:moveTo>
                  <a:cubicBezTo>
                    <a:pt x="4853527" y="173038"/>
                    <a:pt x="4890624" y="186590"/>
                    <a:pt x="4918209" y="213930"/>
                  </a:cubicBezTo>
                  <a:cubicBezTo>
                    <a:pt x="4945793" y="241032"/>
                    <a:pt x="4959348" y="277882"/>
                    <a:pt x="4959348" y="324242"/>
                  </a:cubicBezTo>
                  <a:cubicBezTo>
                    <a:pt x="4959348" y="607393"/>
                    <a:pt x="4959348" y="607393"/>
                    <a:pt x="4959348" y="607393"/>
                  </a:cubicBezTo>
                  <a:cubicBezTo>
                    <a:pt x="4959348" y="613098"/>
                    <a:pt x="4956494" y="615951"/>
                    <a:pt x="4950787" y="615951"/>
                  </a:cubicBezTo>
                  <a:cubicBezTo>
                    <a:pt x="4885630" y="615951"/>
                    <a:pt x="4885630" y="615951"/>
                    <a:pt x="4885630" y="615951"/>
                  </a:cubicBezTo>
                  <a:cubicBezTo>
                    <a:pt x="4879923" y="615951"/>
                    <a:pt x="4877069" y="613098"/>
                    <a:pt x="4877069" y="607393"/>
                  </a:cubicBezTo>
                  <a:cubicBezTo>
                    <a:pt x="4877069" y="340408"/>
                    <a:pt x="4877069" y="340408"/>
                    <a:pt x="4877069" y="340408"/>
                  </a:cubicBezTo>
                  <a:cubicBezTo>
                    <a:pt x="4877069" y="311879"/>
                    <a:pt x="4868746" y="288581"/>
                    <a:pt x="4852100" y="270988"/>
                  </a:cubicBezTo>
                  <a:cubicBezTo>
                    <a:pt x="4835454" y="253157"/>
                    <a:pt x="4813577" y="244361"/>
                    <a:pt x="4785992" y="244361"/>
                  </a:cubicBezTo>
                  <a:cubicBezTo>
                    <a:pt x="4759121" y="244361"/>
                    <a:pt x="4737005" y="253157"/>
                    <a:pt x="4719884" y="270988"/>
                  </a:cubicBezTo>
                  <a:cubicBezTo>
                    <a:pt x="4702762" y="288581"/>
                    <a:pt x="4694201" y="311642"/>
                    <a:pt x="4694201" y="339695"/>
                  </a:cubicBezTo>
                  <a:cubicBezTo>
                    <a:pt x="4694201" y="607393"/>
                    <a:pt x="4694201" y="607393"/>
                    <a:pt x="4694201" y="607393"/>
                  </a:cubicBezTo>
                  <a:cubicBezTo>
                    <a:pt x="4694201" y="613098"/>
                    <a:pt x="4691348" y="615951"/>
                    <a:pt x="4685641" y="615951"/>
                  </a:cubicBezTo>
                  <a:cubicBezTo>
                    <a:pt x="4620246" y="615951"/>
                    <a:pt x="4620246" y="615951"/>
                    <a:pt x="4620246" y="615951"/>
                  </a:cubicBezTo>
                  <a:cubicBezTo>
                    <a:pt x="4614539" y="615951"/>
                    <a:pt x="4611685" y="613098"/>
                    <a:pt x="4611685" y="607393"/>
                  </a:cubicBezTo>
                  <a:cubicBezTo>
                    <a:pt x="4611685" y="187778"/>
                    <a:pt x="4611685" y="187778"/>
                    <a:pt x="4611685" y="187778"/>
                  </a:cubicBezTo>
                  <a:cubicBezTo>
                    <a:pt x="4611685" y="182072"/>
                    <a:pt x="4614539" y="179220"/>
                    <a:pt x="4620246" y="179220"/>
                  </a:cubicBezTo>
                  <a:cubicBezTo>
                    <a:pt x="4685641" y="179220"/>
                    <a:pt x="4685641" y="179220"/>
                    <a:pt x="4685641" y="179220"/>
                  </a:cubicBezTo>
                  <a:cubicBezTo>
                    <a:pt x="4691348" y="179220"/>
                    <a:pt x="4694201" y="182072"/>
                    <a:pt x="4694201" y="187778"/>
                  </a:cubicBezTo>
                  <a:cubicBezTo>
                    <a:pt x="4694201" y="218685"/>
                    <a:pt x="4694201" y="218685"/>
                    <a:pt x="4694201" y="218685"/>
                  </a:cubicBezTo>
                  <a:cubicBezTo>
                    <a:pt x="4694201" y="219636"/>
                    <a:pt x="4694677" y="220587"/>
                    <a:pt x="4695390" y="221062"/>
                  </a:cubicBezTo>
                  <a:cubicBezTo>
                    <a:pt x="4696342" y="221775"/>
                    <a:pt x="4697055" y="221538"/>
                    <a:pt x="4697531" y="220349"/>
                  </a:cubicBezTo>
                  <a:cubicBezTo>
                    <a:pt x="4722262" y="188729"/>
                    <a:pt x="4758645" y="173038"/>
                    <a:pt x="4806681" y="173038"/>
                  </a:cubicBezTo>
                  <a:close/>
                  <a:moveTo>
                    <a:pt x="4320462" y="173038"/>
                  </a:moveTo>
                  <a:cubicBezTo>
                    <a:pt x="4378202" y="173038"/>
                    <a:pt x="4421446" y="187291"/>
                    <a:pt x="4449959" y="216270"/>
                  </a:cubicBezTo>
                  <a:cubicBezTo>
                    <a:pt x="4478473" y="245250"/>
                    <a:pt x="4496056" y="287532"/>
                    <a:pt x="4502234" y="343592"/>
                  </a:cubicBezTo>
                  <a:cubicBezTo>
                    <a:pt x="4504610" y="367108"/>
                    <a:pt x="4505323" y="393237"/>
                    <a:pt x="4504848" y="422455"/>
                  </a:cubicBezTo>
                  <a:cubicBezTo>
                    <a:pt x="4504848" y="428156"/>
                    <a:pt x="4501996" y="431006"/>
                    <a:pt x="4496294" y="431006"/>
                  </a:cubicBezTo>
                  <a:cubicBezTo>
                    <a:pt x="4222803" y="431006"/>
                    <a:pt x="4222803" y="431006"/>
                    <a:pt x="4222803" y="431006"/>
                  </a:cubicBezTo>
                  <a:cubicBezTo>
                    <a:pt x="4220427" y="431006"/>
                    <a:pt x="4219239" y="432194"/>
                    <a:pt x="4219239" y="434569"/>
                  </a:cubicBezTo>
                  <a:cubicBezTo>
                    <a:pt x="4219239" y="453810"/>
                    <a:pt x="4220902" y="468775"/>
                    <a:pt x="4224466" y="478989"/>
                  </a:cubicBezTo>
                  <a:cubicBezTo>
                    <a:pt x="4230644" y="502030"/>
                    <a:pt x="4243475" y="519846"/>
                    <a:pt x="4262484" y="532673"/>
                  </a:cubicBezTo>
                  <a:cubicBezTo>
                    <a:pt x="4281731" y="545500"/>
                    <a:pt x="4305968" y="551914"/>
                    <a:pt x="4334956" y="551914"/>
                  </a:cubicBezTo>
                  <a:cubicBezTo>
                    <a:pt x="4377251" y="551914"/>
                    <a:pt x="4410040" y="534573"/>
                    <a:pt x="4432851" y="499655"/>
                  </a:cubicBezTo>
                  <a:cubicBezTo>
                    <a:pt x="4435702" y="493954"/>
                    <a:pt x="4439267" y="493004"/>
                    <a:pt x="4444019" y="497042"/>
                  </a:cubicBezTo>
                  <a:cubicBezTo>
                    <a:pt x="4492967" y="529585"/>
                    <a:pt x="4492967" y="529585"/>
                    <a:pt x="4492967" y="529585"/>
                  </a:cubicBezTo>
                  <a:cubicBezTo>
                    <a:pt x="4496769" y="533148"/>
                    <a:pt x="4497719" y="536711"/>
                    <a:pt x="4495581" y="540749"/>
                  </a:cubicBezTo>
                  <a:cubicBezTo>
                    <a:pt x="4479423" y="566641"/>
                    <a:pt x="4456612" y="586832"/>
                    <a:pt x="4427148" y="601560"/>
                  </a:cubicBezTo>
                  <a:cubicBezTo>
                    <a:pt x="4397686" y="616525"/>
                    <a:pt x="4364420" y="623888"/>
                    <a:pt x="4327353" y="623888"/>
                  </a:cubicBezTo>
                  <a:cubicBezTo>
                    <a:pt x="4285533" y="623888"/>
                    <a:pt x="4250366" y="614862"/>
                    <a:pt x="4221853" y="596571"/>
                  </a:cubicBezTo>
                  <a:cubicBezTo>
                    <a:pt x="4193339" y="578281"/>
                    <a:pt x="4171716" y="552151"/>
                    <a:pt x="4157460" y="518421"/>
                  </a:cubicBezTo>
                  <a:cubicBezTo>
                    <a:pt x="4143678" y="484690"/>
                    <a:pt x="4137025" y="443833"/>
                    <a:pt x="4137025" y="395850"/>
                  </a:cubicBezTo>
                  <a:cubicBezTo>
                    <a:pt x="4137025" y="354281"/>
                    <a:pt x="4140114" y="322451"/>
                    <a:pt x="4146292" y="300835"/>
                  </a:cubicBezTo>
                  <a:cubicBezTo>
                    <a:pt x="4156747" y="261165"/>
                    <a:pt x="4177181" y="230048"/>
                    <a:pt x="4208071" y="207244"/>
                  </a:cubicBezTo>
                  <a:cubicBezTo>
                    <a:pt x="4238961" y="184440"/>
                    <a:pt x="4276504" y="173038"/>
                    <a:pt x="4320462" y="173038"/>
                  </a:cubicBezTo>
                  <a:close/>
                  <a:moveTo>
                    <a:pt x="3635297" y="173038"/>
                  </a:moveTo>
                  <a:cubicBezTo>
                    <a:pt x="3664563" y="173038"/>
                    <a:pt x="3689308" y="178744"/>
                    <a:pt x="3710009" y="189918"/>
                  </a:cubicBezTo>
                  <a:cubicBezTo>
                    <a:pt x="3730709" y="201092"/>
                    <a:pt x="3746651" y="217496"/>
                    <a:pt x="3758072" y="239130"/>
                  </a:cubicBezTo>
                  <a:cubicBezTo>
                    <a:pt x="3759737" y="241508"/>
                    <a:pt x="3761641" y="241508"/>
                    <a:pt x="3763306" y="239130"/>
                  </a:cubicBezTo>
                  <a:cubicBezTo>
                    <a:pt x="3777106" y="216783"/>
                    <a:pt x="3795189" y="200141"/>
                    <a:pt x="3817793" y="189442"/>
                  </a:cubicBezTo>
                  <a:cubicBezTo>
                    <a:pt x="3840397" y="178506"/>
                    <a:pt x="3865380" y="173038"/>
                    <a:pt x="3892981" y="173038"/>
                  </a:cubicBezTo>
                  <a:cubicBezTo>
                    <a:pt x="3936523" y="173038"/>
                    <a:pt x="3970785" y="186114"/>
                    <a:pt x="3996006" y="212266"/>
                  </a:cubicBezTo>
                  <a:cubicBezTo>
                    <a:pt x="4021227" y="238180"/>
                    <a:pt x="4033838" y="274316"/>
                    <a:pt x="4033838" y="320676"/>
                  </a:cubicBezTo>
                  <a:cubicBezTo>
                    <a:pt x="4033838" y="607393"/>
                    <a:pt x="4033838" y="607393"/>
                    <a:pt x="4033838" y="607393"/>
                  </a:cubicBezTo>
                  <a:cubicBezTo>
                    <a:pt x="4033838" y="613098"/>
                    <a:pt x="4030983" y="615951"/>
                    <a:pt x="4025272" y="615951"/>
                  </a:cubicBezTo>
                  <a:cubicBezTo>
                    <a:pt x="3960792" y="615951"/>
                    <a:pt x="3960792" y="615951"/>
                    <a:pt x="3960792" y="615951"/>
                  </a:cubicBezTo>
                  <a:cubicBezTo>
                    <a:pt x="3955082" y="615951"/>
                    <a:pt x="3952226" y="613098"/>
                    <a:pt x="3952226" y="607393"/>
                  </a:cubicBezTo>
                  <a:cubicBezTo>
                    <a:pt x="3952226" y="337793"/>
                    <a:pt x="3952226" y="337793"/>
                    <a:pt x="3952226" y="337793"/>
                  </a:cubicBezTo>
                  <a:cubicBezTo>
                    <a:pt x="3952226" y="309264"/>
                    <a:pt x="3944375" y="286441"/>
                    <a:pt x="3928671" y="269561"/>
                  </a:cubicBezTo>
                  <a:cubicBezTo>
                    <a:pt x="3912967" y="252682"/>
                    <a:pt x="3891791" y="244361"/>
                    <a:pt x="3865380" y="244361"/>
                  </a:cubicBezTo>
                  <a:cubicBezTo>
                    <a:pt x="3839207" y="244361"/>
                    <a:pt x="3817793" y="252682"/>
                    <a:pt x="3801138" y="269324"/>
                  </a:cubicBezTo>
                  <a:cubicBezTo>
                    <a:pt x="3784482" y="285728"/>
                    <a:pt x="3776155" y="308076"/>
                    <a:pt x="3776155" y="336129"/>
                  </a:cubicBezTo>
                  <a:cubicBezTo>
                    <a:pt x="3776155" y="607393"/>
                    <a:pt x="3776155" y="607393"/>
                    <a:pt x="3776155" y="607393"/>
                  </a:cubicBezTo>
                  <a:cubicBezTo>
                    <a:pt x="3776155" y="613098"/>
                    <a:pt x="3773299" y="615951"/>
                    <a:pt x="3767589" y="615951"/>
                  </a:cubicBezTo>
                  <a:cubicBezTo>
                    <a:pt x="3703109" y="615951"/>
                    <a:pt x="3703109" y="615951"/>
                    <a:pt x="3703109" y="615951"/>
                  </a:cubicBezTo>
                  <a:cubicBezTo>
                    <a:pt x="3697398" y="615951"/>
                    <a:pt x="3694543" y="613098"/>
                    <a:pt x="3694543" y="607393"/>
                  </a:cubicBezTo>
                  <a:cubicBezTo>
                    <a:pt x="3694543" y="337793"/>
                    <a:pt x="3694543" y="337793"/>
                    <a:pt x="3694543" y="337793"/>
                  </a:cubicBezTo>
                  <a:cubicBezTo>
                    <a:pt x="3694543" y="309264"/>
                    <a:pt x="3686691" y="286441"/>
                    <a:pt x="3670987" y="269561"/>
                  </a:cubicBezTo>
                  <a:cubicBezTo>
                    <a:pt x="3655284" y="252682"/>
                    <a:pt x="3634108" y="244361"/>
                    <a:pt x="3607935" y="244361"/>
                  </a:cubicBezTo>
                  <a:cubicBezTo>
                    <a:pt x="3581524" y="244361"/>
                    <a:pt x="3560348" y="252682"/>
                    <a:pt x="3544644" y="269324"/>
                  </a:cubicBezTo>
                  <a:cubicBezTo>
                    <a:pt x="3528940" y="285728"/>
                    <a:pt x="3521088" y="308076"/>
                    <a:pt x="3521088" y="336129"/>
                  </a:cubicBezTo>
                  <a:cubicBezTo>
                    <a:pt x="3521088" y="607393"/>
                    <a:pt x="3521088" y="607393"/>
                    <a:pt x="3521088" y="607393"/>
                  </a:cubicBezTo>
                  <a:cubicBezTo>
                    <a:pt x="3521088" y="613098"/>
                    <a:pt x="3518233" y="615951"/>
                    <a:pt x="3512523" y="615951"/>
                  </a:cubicBezTo>
                  <a:cubicBezTo>
                    <a:pt x="3447329" y="615951"/>
                    <a:pt x="3447329" y="615951"/>
                    <a:pt x="3447329" y="615951"/>
                  </a:cubicBezTo>
                  <a:cubicBezTo>
                    <a:pt x="3441380" y="615951"/>
                    <a:pt x="3438525" y="613098"/>
                    <a:pt x="3438525" y="607393"/>
                  </a:cubicBezTo>
                  <a:cubicBezTo>
                    <a:pt x="3438525" y="187778"/>
                    <a:pt x="3438525" y="187778"/>
                    <a:pt x="3438525" y="187778"/>
                  </a:cubicBezTo>
                  <a:cubicBezTo>
                    <a:pt x="3438525" y="182072"/>
                    <a:pt x="3441380" y="179220"/>
                    <a:pt x="3447329" y="179220"/>
                  </a:cubicBezTo>
                  <a:cubicBezTo>
                    <a:pt x="3512523" y="179220"/>
                    <a:pt x="3512523" y="179220"/>
                    <a:pt x="3512523" y="179220"/>
                  </a:cubicBezTo>
                  <a:cubicBezTo>
                    <a:pt x="3518233" y="179220"/>
                    <a:pt x="3521088" y="182072"/>
                    <a:pt x="3521088" y="187778"/>
                  </a:cubicBezTo>
                  <a:cubicBezTo>
                    <a:pt x="3521088" y="216783"/>
                    <a:pt x="3521088" y="216783"/>
                    <a:pt x="3521088" y="216783"/>
                  </a:cubicBezTo>
                  <a:cubicBezTo>
                    <a:pt x="3521088" y="217971"/>
                    <a:pt x="3521564" y="218922"/>
                    <a:pt x="3522278" y="219398"/>
                  </a:cubicBezTo>
                  <a:cubicBezTo>
                    <a:pt x="3523230" y="220111"/>
                    <a:pt x="3524182" y="219636"/>
                    <a:pt x="3525371" y="218685"/>
                  </a:cubicBezTo>
                  <a:cubicBezTo>
                    <a:pt x="3550592" y="188254"/>
                    <a:pt x="3587234" y="173038"/>
                    <a:pt x="3635297" y="173038"/>
                  </a:cubicBezTo>
                  <a:close/>
                  <a:moveTo>
                    <a:pt x="2676723" y="173038"/>
                  </a:moveTo>
                  <a:cubicBezTo>
                    <a:pt x="2734674" y="173038"/>
                    <a:pt x="2778078" y="187291"/>
                    <a:pt x="2806697" y="216270"/>
                  </a:cubicBezTo>
                  <a:cubicBezTo>
                    <a:pt x="2835315" y="245250"/>
                    <a:pt x="2852963" y="287532"/>
                    <a:pt x="2859163" y="343592"/>
                  </a:cubicBezTo>
                  <a:cubicBezTo>
                    <a:pt x="2861548" y="367108"/>
                    <a:pt x="2862263" y="393237"/>
                    <a:pt x="2861786" y="422455"/>
                  </a:cubicBezTo>
                  <a:cubicBezTo>
                    <a:pt x="2861786" y="428156"/>
                    <a:pt x="2858924" y="431006"/>
                    <a:pt x="2853201" y="431006"/>
                  </a:cubicBezTo>
                  <a:cubicBezTo>
                    <a:pt x="2578468" y="431006"/>
                    <a:pt x="2578468" y="431006"/>
                    <a:pt x="2578468" y="431006"/>
                  </a:cubicBezTo>
                  <a:cubicBezTo>
                    <a:pt x="2576322" y="431006"/>
                    <a:pt x="2575129" y="432194"/>
                    <a:pt x="2575129" y="434569"/>
                  </a:cubicBezTo>
                  <a:cubicBezTo>
                    <a:pt x="2575129" y="453810"/>
                    <a:pt x="2576798" y="468775"/>
                    <a:pt x="2580376" y="478989"/>
                  </a:cubicBezTo>
                  <a:cubicBezTo>
                    <a:pt x="2586576" y="502030"/>
                    <a:pt x="2599454" y="519846"/>
                    <a:pt x="2618533" y="532673"/>
                  </a:cubicBezTo>
                  <a:cubicBezTo>
                    <a:pt x="2637850" y="545500"/>
                    <a:pt x="2662176" y="551914"/>
                    <a:pt x="2691271" y="551914"/>
                  </a:cubicBezTo>
                  <a:cubicBezTo>
                    <a:pt x="2733721" y="551914"/>
                    <a:pt x="2766631" y="534573"/>
                    <a:pt x="2789526" y="499655"/>
                  </a:cubicBezTo>
                  <a:cubicBezTo>
                    <a:pt x="2792387" y="493954"/>
                    <a:pt x="2795965" y="493004"/>
                    <a:pt x="2800735" y="497042"/>
                  </a:cubicBezTo>
                  <a:cubicBezTo>
                    <a:pt x="2849624" y="529585"/>
                    <a:pt x="2849624" y="529585"/>
                    <a:pt x="2849624" y="529585"/>
                  </a:cubicBezTo>
                  <a:cubicBezTo>
                    <a:pt x="2853678" y="533148"/>
                    <a:pt x="2854632" y="536711"/>
                    <a:pt x="2852247" y="540749"/>
                  </a:cubicBezTo>
                  <a:cubicBezTo>
                    <a:pt x="2836269" y="566641"/>
                    <a:pt x="2813374" y="586832"/>
                    <a:pt x="2783802" y="601560"/>
                  </a:cubicBezTo>
                  <a:cubicBezTo>
                    <a:pt x="2754230" y="616525"/>
                    <a:pt x="2720843" y="623888"/>
                    <a:pt x="2683639" y="623888"/>
                  </a:cubicBezTo>
                  <a:cubicBezTo>
                    <a:pt x="2641666" y="623888"/>
                    <a:pt x="2606370" y="614862"/>
                    <a:pt x="2577753" y="596571"/>
                  </a:cubicBezTo>
                  <a:cubicBezTo>
                    <a:pt x="2548896" y="578281"/>
                    <a:pt x="2527433" y="552151"/>
                    <a:pt x="2513124" y="518421"/>
                  </a:cubicBezTo>
                  <a:cubicBezTo>
                    <a:pt x="2499291" y="484690"/>
                    <a:pt x="2492375" y="443833"/>
                    <a:pt x="2492375" y="395850"/>
                  </a:cubicBezTo>
                  <a:cubicBezTo>
                    <a:pt x="2492375" y="354281"/>
                    <a:pt x="2495714" y="322451"/>
                    <a:pt x="2501915" y="300835"/>
                  </a:cubicBezTo>
                  <a:cubicBezTo>
                    <a:pt x="2512169" y="261165"/>
                    <a:pt x="2532918" y="230048"/>
                    <a:pt x="2563920" y="207244"/>
                  </a:cubicBezTo>
                  <a:cubicBezTo>
                    <a:pt x="2594923" y="184440"/>
                    <a:pt x="2632604" y="173038"/>
                    <a:pt x="2676723" y="173038"/>
                  </a:cubicBezTo>
                  <a:close/>
                  <a:moveTo>
                    <a:pt x="2234933" y="173038"/>
                  </a:moveTo>
                  <a:cubicBezTo>
                    <a:pt x="2281780" y="173038"/>
                    <a:pt x="2319114" y="186590"/>
                    <a:pt x="2346461" y="213930"/>
                  </a:cubicBezTo>
                  <a:cubicBezTo>
                    <a:pt x="2374046" y="241032"/>
                    <a:pt x="2387601" y="277882"/>
                    <a:pt x="2387601" y="324242"/>
                  </a:cubicBezTo>
                  <a:cubicBezTo>
                    <a:pt x="2387601" y="607393"/>
                    <a:pt x="2387601" y="607393"/>
                    <a:pt x="2387601" y="607393"/>
                  </a:cubicBezTo>
                  <a:cubicBezTo>
                    <a:pt x="2387601" y="613098"/>
                    <a:pt x="2384747" y="615951"/>
                    <a:pt x="2379040" y="615951"/>
                  </a:cubicBezTo>
                  <a:cubicBezTo>
                    <a:pt x="2313883" y="615951"/>
                    <a:pt x="2313883" y="615951"/>
                    <a:pt x="2313883" y="615951"/>
                  </a:cubicBezTo>
                  <a:cubicBezTo>
                    <a:pt x="2308176" y="615951"/>
                    <a:pt x="2305322" y="613098"/>
                    <a:pt x="2305322" y="607393"/>
                  </a:cubicBezTo>
                  <a:cubicBezTo>
                    <a:pt x="2305322" y="340408"/>
                    <a:pt x="2305322" y="340408"/>
                    <a:pt x="2305322" y="340408"/>
                  </a:cubicBezTo>
                  <a:cubicBezTo>
                    <a:pt x="2305322" y="311879"/>
                    <a:pt x="2296999" y="288581"/>
                    <a:pt x="2280353" y="270988"/>
                  </a:cubicBezTo>
                  <a:cubicBezTo>
                    <a:pt x="2263707" y="253157"/>
                    <a:pt x="2241829" y="244361"/>
                    <a:pt x="2214245" y="244361"/>
                  </a:cubicBezTo>
                  <a:cubicBezTo>
                    <a:pt x="2187373" y="244361"/>
                    <a:pt x="2165496" y="253157"/>
                    <a:pt x="2148137" y="270988"/>
                  </a:cubicBezTo>
                  <a:cubicBezTo>
                    <a:pt x="2131015" y="288581"/>
                    <a:pt x="2122454" y="311642"/>
                    <a:pt x="2122454" y="339695"/>
                  </a:cubicBezTo>
                  <a:cubicBezTo>
                    <a:pt x="2122454" y="607393"/>
                    <a:pt x="2122454" y="607393"/>
                    <a:pt x="2122454" y="607393"/>
                  </a:cubicBezTo>
                  <a:cubicBezTo>
                    <a:pt x="2122454" y="613098"/>
                    <a:pt x="2119601" y="615951"/>
                    <a:pt x="2113893" y="615951"/>
                  </a:cubicBezTo>
                  <a:cubicBezTo>
                    <a:pt x="2048736" y="615951"/>
                    <a:pt x="2048736" y="615951"/>
                    <a:pt x="2048736" y="615951"/>
                  </a:cubicBezTo>
                  <a:cubicBezTo>
                    <a:pt x="2043029" y="615951"/>
                    <a:pt x="2039937" y="613098"/>
                    <a:pt x="2039937" y="607393"/>
                  </a:cubicBezTo>
                  <a:cubicBezTo>
                    <a:pt x="2039937" y="187778"/>
                    <a:pt x="2039937" y="187778"/>
                    <a:pt x="2039937" y="187778"/>
                  </a:cubicBezTo>
                  <a:cubicBezTo>
                    <a:pt x="2039937" y="182072"/>
                    <a:pt x="2043029" y="179220"/>
                    <a:pt x="2048736" y="179220"/>
                  </a:cubicBezTo>
                  <a:cubicBezTo>
                    <a:pt x="2113893" y="179220"/>
                    <a:pt x="2113893" y="179220"/>
                    <a:pt x="2113893" y="179220"/>
                  </a:cubicBezTo>
                  <a:cubicBezTo>
                    <a:pt x="2119601" y="179220"/>
                    <a:pt x="2122454" y="182072"/>
                    <a:pt x="2122454" y="187778"/>
                  </a:cubicBezTo>
                  <a:cubicBezTo>
                    <a:pt x="2122454" y="218685"/>
                    <a:pt x="2122454" y="218685"/>
                    <a:pt x="2122454" y="218685"/>
                  </a:cubicBezTo>
                  <a:cubicBezTo>
                    <a:pt x="2122454" y="219636"/>
                    <a:pt x="2122930" y="220587"/>
                    <a:pt x="2123881" y="221062"/>
                  </a:cubicBezTo>
                  <a:cubicBezTo>
                    <a:pt x="2124594" y="221775"/>
                    <a:pt x="2125308" y="221538"/>
                    <a:pt x="2125783" y="220349"/>
                  </a:cubicBezTo>
                  <a:cubicBezTo>
                    <a:pt x="2150514" y="188729"/>
                    <a:pt x="2186898" y="173038"/>
                    <a:pt x="2234933" y="173038"/>
                  </a:cubicBezTo>
                  <a:close/>
                  <a:moveTo>
                    <a:pt x="1424862" y="173038"/>
                  </a:moveTo>
                  <a:cubicBezTo>
                    <a:pt x="1482602" y="173038"/>
                    <a:pt x="1525847" y="187291"/>
                    <a:pt x="1554361" y="216270"/>
                  </a:cubicBezTo>
                  <a:cubicBezTo>
                    <a:pt x="1582874" y="245250"/>
                    <a:pt x="1600458" y="287532"/>
                    <a:pt x="1606635" y="343592"/>
                  </a:cubicBezTo>
                  <a:cubicBezTo>
                    <a:pt x="1609011" y="367108"/>
                    <a:pt x="1609725" y="393237"/>
                    <a:pt x="1609249" y="422455"/>
                  </a:cubicBezTo>
                  <a:cubicBezTo>
                    <a:pt x="1609249" y="428156"/>
                    <a:pt x="1606398" y="431006"/>
                    <a:pt x="1600696" y="431006"/>
                  </a:cubicBezTo>
                  <a:cubicBezTo>
                    <a:pt x="1326965" y="431006"/>
                    <a:pt x="1326965" y="431006"/>
                    <a:pt x="1326965" y="431006"/>
                  </a:cubicBezTo>
                  <a:cubicBezTo>
                    <a:pt x="1324826" y="431006"/>
                    <a:pt x="1323638" y="432194"/>
                    <a:pt x="1323638" y="434569"/>
                  </a:cubicBezTo>
                  <a:cubicBezTo>
                    <a:pt x="1323638" y="453810"/>
                    <a:pt x="1325303" y="468775"/>
                    <a:pt x="1328865" y="478989"/>
                  </a:cubicBezTo>
                  <a:cubicBezTo>
                    <a:pt x="1335045" y="502030"/>
                    <a:pt x="1347874" y="519846"/>
                    <a:pt x="1366883" y="532673"/>
                  </a:cubicBezTo>
                  <a:cubicBezTo>
                    <a:pt x="1386130" y="545500"/>
                    <a:pt x="1410368" y="551914"/>
                    <a:pt x="1439357" y="551914"/>
                  </a:cubicBezTo>
                  <a:cubicBezTo>
                    <a:pt x="1481652" y="551914"/>
                    <a:pt x="1514441" y="534573"/>
                    <a:pt x="1537252" y="499655"/>
                  </a:cubicBezTo>
                  <a:cubicBezTo>
                    <a:pt x="1540104" y="493954"/>
                    <a:pt x="1543669" y="493004"/>
                    <a:pt x="1548421" y="497042"/>
                  </a:cubicBezTo>
                  <a:cubicBezTo>
                    <a:pt x="1597131" y="529585"/>
                    <a:pt x="1597131" y="529585"/>
                    <a:pt x="1597131" y="529585"/>
                  </a:cubicBezTo>
                  <a:cubicBezTo>
                    <a:pt x="1601171" y="533148"/>
                    <a:pt x="1602121" y="536711"/>
                    <a:pt x="1599744" y="540749"/>
                  </a:cubicBezTo>
                  <a:cubicBezTo>
                    <a:pt x="1583824" y="566641"/>
                    <a:pt x="1561013" y="586832"/>
                    <a:pt x="1531549" y="601560"/>
                  </a:cubicBezTo>
                  <a:cubicBezTo>
                    <a:pt x="1502086" y="616525"/>
                    <a:pt x="1468820" y="623888"/>
                    <a:pt x="1431752" y="623888"/>
                  </a:cubicBezTo>
                  <a:cubicBezTo>
                    <a:pt x="1389932" y="623888"/>
                    <a:pt x="1354766" y="614862"/>
                    <a:pt x="1326253" y="596571"/>
                  </a:cubicBezTo>
                  <a:cubicBezTo>
                    <a:pt x="1297502" y="578281"/>
                    <a:pt x="1276115" y="552151"/>
                    <a:pt x="1261858" y="518421"/>
                  </a:cubicBezTo>
                  <a:cubicBezTo>
                    <a:pt x="1248077" y="484690"/>
                    <a:pt x="1241425" y="443833"/>
                    <a:pt x="1241425" y="395850"/>
                  </a:cubicBezTo>
                  <a:cubicBezTo>
                    <a:pt x="1241425" y="354281"/>
                    <a:pt x="1244513" y="322451"/>
                    <a:pt x="1250692" y="300835"/>
                  </a:cubicBezTo>
                  <a:cubicBezTo>
                    <a:pt x="1261146" y="261165"/>
                    <a:pt x="1281580" y="230048"/>
                    <a:pt x="1312471" y="207244"/>
                  </a:cubicBezTo>
                  <a:cubicBezTo>
                    <a:pt x="1343360" y="184440"/>
                    <a:pt x="1380903" y="173038"/>
                    <a:pt x="1424862" y="173038"/>
                  </a:cubicBezTo>
                  <a:close/>
                  <a:moveTo>
                    <a:pt x="666483" y="173038"/>
                  </a:moveTo>
                  <a:cubicBezTo>
                    <a:pt x="713330" y="173038"/>
                    <a:pt x="750425" y="186590"/>
                    <a:pt x="778011" y="213930"/>
                  </a:cubicBezTo>
                  <a:cubicBezTo>
                    <a:pt x="805358" y="241032"/>
                    <a:pt x="819150" y="277882"/>
                    <a:pt x="819150" y="324242"/>
                  </a:cubicBezTo>
                  <a:cubicBezTo>
                    <a:pt x="819150" y="607393"/>
                    <a:pt x="819150" y="607393"/>
                    <a:pt x="819150" y="607393"/>
                  </a:cubicBezTo>
                  <a:cubicBezTo>
                    <a:pt x="819150" y="613098"/>
                    <a:pt x="816295" y="615951"/>
                    <a:pt x="810589" y="615951"/>
                  </a:cubicBezTo>
                  <a:cubicBezTo>
                    <a:pt x="745432" y="615951"/>
                    <a:pt x="745432" y="615951"/>
                    <a:pt x="745432" y="615951"/>
                  </a:cubicBezTo>
                  <a:cubicBezTo>
                    <a:pt x="739724" y="615951"/>
                    <a:pt x="736870" y="613098"/>
                    <a:pt x="736870" y="607393"/>
                  </a:cubicBezTo>
                  <a:cubicBezTo>
                    <a:pt x="736870" y="340408"/>
                    <a:pt x="736870" y="340408"/>
                    <a:pt x="736870" y="340408"/>
                  </a:cubicBezTo>
                  <a:cubicBezTo>
                    <a:pt x="736870" y="311879"/>
                    <a:pt x="728548" y="288581"/>
                    <a:pt x="711902" y="270988"/>
                  </a:cubicBezTo>
                  <a:cubicBezTo>
                    <a:pt x="695256" y="253157"/>
                    <a:pt x="673378" y="244361"/>
                    <a:pt x="645794" y="244361"/>
                  </a:cubicBezTo>
                  <a:cubicBezTo>
                    <a:pt x="618922" y="244361"/>
                    <a:pt x="596807" y="253157"/>
                    <a:pt x="579685" y="270988"/>
                  </a:cubicBezTo>
                  <a:cubicBezTo>
                    <a:pt x="562564" y="288581"/>
                    <a:pt x="554003" y="311642"/>
                    <a:pt x="554003" y="339695"/>
                  </a:cubicBezTo>
                  <a:cubicBezTo>
                    <a:pt x="554003" y="607393"/>
                    <a:pt x="554003" y="607393"/>
                    <a:pt x="554003" y="607393"/>
                  </a:cubicBezTo>
                  <a:cubicBezTo>
                    <a:pt x="554003" y="613098"/>
                    <a:pt x="551151" y="615951"/>
                    <a:pt x="545443" y="615951"/>
                  </a:cubicBezTo>
                  <a:cubicBezTo>
                    <a:pt x="480047" y="615951"/>
                    <a:pt x="480047" y="615951"/>
                    <a:pt x="480047" y="615951"/>
                  </a:cubicBezTo>
                  <a:cubicBezTo>
                    <a:pt x="474340" y="615951"/>
                    <a:pt x="471487" y="613098"/>
                    <a:pt x="471487" y="607393"/>
                  </a:cubicBezTo>
                  <a:cubicBezTo>
                    <a:pt x="471487" y="187778"/>
                    <a:pt x="471487" y="187778"/>
                    <a:pt x="471487" y="187778"/>
                  </a:cubicBezTo>
                  <a:cubicBezTo>
                    <a:pt x="471487" y="182072"/>
                    <a:pt x="474340" y="179220"/>
                    <a:pt x="480047" y="179220"/>
                  </a:cubicBezTo>
                  <a:cubicBezTo>
                    <a:pt x="545443" y="179220"/>
                    <a:pt x="545443" y="179220"/>
                    <a:pt x="545443" y="179220"/>
                  </a:cubicBezTo>
                  <a:cubicBezTo>
                    <a:pt x="551151" y="179220"/>
                    <a:pt x="554003" y="182072"/>
                    <a:pt x="554003" y="187778"/>
                  </a:cubicBezTo>
                  <a:cubicBezTo>
                    <a:pt x="554003" y="218685"/>
                    <a:pt x="554003" y="218685"/>
                    <a:pt x="554003" y="218685"/>
                  </a:cubicBezTo>
                  <a:cubicBezTo>
                    <a:pt x="554003" y="219636"/>
                    <a:pt x="554241" y="220587"/>
                    <a:pt x="555193" y="221062"/>
                  </a:cubicBezTo>
                  <a:cubicBezTo>
                    <a:pt x="556143" y="221775"/>
                    <a:pt x="556856" y="221538"/>
                    <a:pt x="557333" y="220349"/>
                  </a:cubicBezTo>
                  <a:cubicBezTo>
                    <a:pt x="582063" y="188729"/>
                    <a:pt x="618447" y="173038"/>
                    <a:pt x="666483" y="173038"/>
                  </a:cubicBezTo>
                  <a:close/>
                  <a:moveTo>
                    <a:pt x="981340" y="65088"/>
                  </a:moveTo>
                  <a:cubicBezTo>
                    <a:pt x="1043412" y="65088"/>
                    <a:pt x="1043412" y="65088"/>
                    <a:pt x="1043412" y="65088"/>
                  </a:cubicBezTo>
                  <a:cubicBezTo>
                    <a:pt x="1049141" y="65088"/>
                    <a:pt x="1052005" y="67944"/>
                    <a:pt x="1052005" y="73657"/>
                  </a:cubicBezTo>
                  <a:cubicBezTo>
                    <a:pt x="1052005" y="175055"/>
                    <a:pt x="1052005" y="175055"/>
                    <a:pt x="1052005" y="175055"/>
                  </a:cubicBezTo>
                  <a:cubicBezTo>
                    <a:pt x="1052005" y="177435"/>
                    <a:pt x="1053201" y="178387"/>
                    <a:pt x="1055588" y="178387"/>
                  </a:cubicBezTo>
                  <a:cubicBezTo>
                    <a:pt x="1148693" y="178387"/>
                    <a:pt x="1148693" y="178387"/>
                    <a:pt x="1148693" y="178387"/>
                  </a:cubicBezTo>
                  <a:cubicBezTo>
                    <a:pt x="1154423" y="178387"/>
                    <a:pt x="1157288" y="181481"/>
                    <a:pt x="1157288" y="187194"/>
                  </a:cubicBezTo>
                  <a:cubicBezTo>
                    <a:pt x="1157288" y="237893"/>
                    <a:pt x="1157288" y="237893"/>
                    <a:pt x="1157288" y="237893"/>
                  </a:cubicBezTo>
                  <a:cubicBezTo>
                    <a:pt x="1157288" y="243605"/>
                    <a:pt x="1154423" y="246461"/>
                    <a:pt x="1148693" y="246461"/>
                  </a:cubicBezTo>
                  <a:cubicBezTo>
                    <a:pt x="1055588" y="246461"/>
                    <a:pt x="1055588" y="246461"/>
                    <a:pt x="1055588" y="246461"/>
                  </a:cubicBezTo>
                  <a:cubicBezTo>
                    <a:pt x="1053201" y="246461"/>
                    <a:pt x="1052005" y="247651"/>
                    <a:pt x="1052005" y="249794"/>
                  </a:cubicBezTo>
                  <a:cubicBezTo>
                    <a:pt x="1052005" y="477581"/>
                    <a:pt x="1052005" y="477581"/>
                    <a:pt x="1052005" y="477581"/>
                  </a:cubicBezTo>
                  <a:cubicBezTo>
                    <a:pt x="1052005" y="501621"/>
                    <a:pt x="1057496" y="518997"/>
                    <a:pt x="1068478" y="529470"/>
                  </a:cubicBezTo>
                  <a:cubicBezTo>
                    <a:pt x="1079460" y="540181"/>
                    <a:pt x="1096410" y="545417"/>
                    <a:pt x="1119328" y="545417"/>
                  </a:cubicBezTo>
                  <a:cubicBezTo>
                    <a:pt x="1144396" y="545417"/>
                    <a:pt x="1144396" y="545417"/>
                    <a:pt x="1144396" y="545417"/>
                  </a:cubicBezTo>
                  <a:cubicBezTo>
                    <a:pt x="1150125" y="545417"/>
                    <a:pt x="1152990" y="548274"/>
                    <a:pt x="1152990" y="553986"/>
                  </a:cubicBezTo>
                  <a:cubicBezTo>
                    <a:pt x="1152990" y="607303"/>
                    <a:pt x="1152990" y="607303"/>
                    <a:pt x="1152990" y="607303"/>
                  </a:cubicBezTo>
                  <a:cubicBezTo>
                    <a:pt x="1152990" y="613016"/>
                    <a:pt x="1150125" y="615872"/>
                    <a:pt x="1144396" y="615872"/>
                  </a:cubicBezTo>
                  <a:cubicBezTo>
                    <a:pt x="1126014" y="617062"/>
                    <a:pt x="1112644" y="617538"/>
                    <a:pt x="1104765" y="617538"/>
                  </a:cubicBezTo>
                  <a:cubicBezTo>
                    <a:pt x="1061078" y="617538"/>
                    <a:pt x="1028132" y="609683"/>
                    <a:pt x="1005931" y="593974"/>
                  </a:cubicBezTo>
                  <a:cubicBezTo>
                    <a:pt x="983966" y="578265"/>
                    <a:pt x="972746" y="549226"/>
                    <a:pt x="972746" y="506620"/>
                  </a:cubicBezTo>
                  <a:cubicBezTo>
                    <a:pt x="972746" y="249794"/>
                    <a:pt x="972746" y="249794"/>
                    <a:pt x="972746" y="249794"/>
                  </a:cubicBezTo>
                  <a:cubicBezTo>
                    <a:pt x="972746" y="247651"/>
                    <a:pt x="971554" y="246461"/>
                    <a:pt x="969403" y="246461"/>
                  </a:cubicBezTo>
                  <a:cubicBezTo>
                    <a:pt x="916883" y="246461"/>
                    <a:pt x="916883" y="246461"/>
                    <a:pt x="916883" y="246461"/>
                  </a:cubicBezTo>
                  <a:cubicBezTo>
                    <a:pt x="911153" y="246461"/>
                    <a:pt x="908049" y="243605"/>
                    <a:pt x="908049" y="237893"/>
                  </a:cubicBezTo>
                  <a:cubicBezTo>
                    <a:pt x="908049" y="187194"/>
                    <a:pt x="908049" y="187194"/>
                    <a:pt x="908049" y="187194"/>
                  </a:cubicBezTo>
                  <a:cubicBezTo>
                    <a:pt x="908049" y="181481"/>
                    <a:pt x="911153" y="178387"/>
                    <a:pt x="916883" y="178387"/>
                  </a:cubicBezTo>
                  <a:cubicBezTo>
                    <a:pt x="969403" y="178387"/>
                    <a:pt x="969403" y="178387"/>
                    <a:pt x="969403" y="178387"/>
                  </a:cubicBezTo>
                  <a:cubicBezTo>
                    <a:pt x="971554" y="178387"/>
                    <a:pt x="972746" y="177435"/>
                    <a:pt x="972746" y="175055"/>
                  </a:cubicBezTo>
                  <a:cubicBezTo>
                    <a:pt x="972746" y="73657"/>
                    <a:pt x="972746" y="73657"/>
                    <a:pt x="972746" y="73657"/>
                  </a:cubicBezTo>
                  <a:cubicBezTo>
                    <a:pt x="972746" y="67944"/>
                    <a:pt x="975612" y="65088"/>
                    <a:pt x="981340" y="65088"/>
                  </a:cubicBezTo>
                  <a:close/>
                  <a:moveTo>
                    <a:pt x="2978773" y="15875"/>
                  </a:moveTo>
                  <a:cubicBezTo>
                    <a:pt x="3043930" y="15875"/>
                    <a:pt x="3043930" y="15875"/>
                    <a:pt x="3043930" y="15875"/>
                  </a:cubicBezTo>
                  <a:cubicBezTo>
                    <a:pt x="3049637" y="15875"/>
                    <a:pt x="3052491" y="18724"/>
                    <a:pt x="3052491" y="24424"/>
                  </a:cubicBezTo>
                  <a:cubicBezTo>
                    <a:pt x="3052491" y="219146"/>
                    <a:pt x="3052491" y="219146"/>
                    <a:pt x="3052491" y="219146"/>
                  </a:cubicBezTo>
                  <a:cubicBezTo>
                    <a:pt x="3052491" y="220095"/>
                    <a:pt x="3052966" y="221045"/>
                    <a:pt x="3053918" y="221520"/>
                  </a:cubicBezTo>
                  <a:cubicBezTo>
                    <a:pt x="3054631" y="222233"/>
                    <a:pt x="3055344" y="221995"/>
                    <a:pt x="3056058" y="220808"/>
                  </a:cubicBezTo>
                  <a:cubicBezTo>
                    <a:pt x="3080551" y="189225"/>
                    <a:pt x="3116935" y="173552"/>
                    <a:pt x="3164970" y="173552"/>
                  </a:cubicBezTo>
                  <a:cubicBezTo>
                    <a:pt x="3212054" y="173552"/>
                    <a:pt x="3249151" y="187088"/>
                    <a:pt x="3276736" y="214396"/>
                  </a:cubicBezTo>
                  <a:cubicBezTo>
                    <a:pt x="3304083" y="241467"/>
                    <a:pt x="3317875" y="278274"/>
                    <a:pt x="3317875" y="324580"/>
                  </a:cubicBezTo>
                  <a:cubicBezTo>
                    <a:pt x="3317875" y="607401"/>
                    <a:pt x="3317875" y="607401"/>
                    <a:pt x="3317875" y="607401"/>
                  </a:cubicBezTo>
                  <a:cubicBezTo>
                    <a:pt x="3317875" y="613101"/>
                    <a:pt x="3315022" y="615950"/>
                    <a:pt x="3309314" y="615950"/>
                  </a:cubicBezTo>
                  <a:cubicBezTo>
                    <a:pt x="3243920" y="615950"/>
                    <a:pt x="3243920" y="615950"/>
                    <a:pt x="3243920" y="615950"/>
                  </a:cubicBezTo>
                  <a:cubicBezTo>
                    <a:pt x="3238212" y="615950"/>
                    <a:pt x="3235359" y="613101"/>
                    <a:pt x="3235359" y="607401"/>
                  </a:cubicBezTo>
                  <a:cubicBezTo>
                    <a:pt x="3235359" y="340728"/>
                    <a:pt x="3235359" y="340728"/>
                    <a:pt x="3235359" y="340728"/>
                  </a:cubicBezTo>
                  <a:cubicBezTo>
                    <a:pt x="3235359" y="312232"/>
                    <a:pt x="3227036" y="288960"/>
                    <a:pt x="3210628" y="271388"/>
                  </a:cubicBezTo>
                  <a:cubicBezTo>
                    <a:pt x="3193982" y="253578"/>
                    <a:pt x="3171866" y="244792"/>
                    <a:pt x="3144519" y="244792"/>
                  </a:cubicBezTo>
                  <a:cubicBezTo>
                    <a:pt x="3117648" y="244792"/>
                    <a:pt x="3095533" y="253578"/>
                    <a:pt x="3078411" y="271388"/>
                  </a:cubicBezTo>
                  <a:cubicBezTo>
                    <a:pt x="3061289" y="288960"/>
                    <a:pt x="3052491" y="311995"/>
                    <a:pt x="3052491" y="340015"/>
                  </a:cubicBezTo>
                  <a:cubicBezTo>
                    <a:pt x="3052491" y="607401"/>
                    <a:pt x="3052491" y="607401"/>
                    <a:pt x="3052491" y="607401"/>
                  </a:cubicBezTo>
                  <a:cubicBezTo>
                    <a:pt x="3052491" y="613101"/>
                    <a:pt x="3049637" y="615950"/>
                    <a:pt x="3043930" y="615950"/>
                  </a:cubicBezTo>
                  <a:cubicBezTo>
                    <a:pt x="2978773" y="615950"/>
                    <a:pt x="2978773" y="615950"/>
                    <a:pt x="2978773" y="615950"/>
                  </a:cubicBezTo>
                  <a:cubicBezTo>
                    <a:pt x="2973066" y="615950"/>
                    <a:pt x="2970212" y="613101"/>
                    <a:pt x="2970212" y="607401"/>
                  </a:cubicBezTo>
                  <a:cubicBezTo>
                    <a:pt x="2970212" y="24424"/>
                    <a:pt x="2970212" y="24424"/>
                    <a:pt x="2970212" y="24424"/>
                  </a:cubicBezTo>
                  <a:cubicBezTo>
                    <a:pt x="2970212" y="18724"/>
                    <a:pt x="2973066" y="15875"/>
                    <a:pt x="2978773" y="15875"/>
                  </a:cubicBezTo>
                  <a:close/>
                  <a:moveTo>
                    <a:pt x="7824785" y="0"/>
                  </a:moveTo>
                  <a:cubicBezTo>
                    <a:pt x="7841141" y="0"/>
                    <a:pt x="7854371" y="5051"/>
                    <a:pt x="7864954" y="15634"/>
                  </a:cubicBezTo>
                  <a:cubicBezTo>
                    <a:pt x="7875297" y="25977"/>
                    <a:pt x="7880348" y="39206"/>
                    <a:pt x="7880348" y="55562"/>
                  </a:cubicBezTo>
                  <a:cubicBezTo>
                    <a:pt x="7880348" y="71678"/>
                    <a:pt x="7875297" y="84907"/>
                    <a:pt x="7864954" y="95490"/>
                  </a:cubicBezTo>
                  <a:cubicBezTo>
                    <a:pt x="7854371" y="105833"/>
                    <a:pt x="7841141" y="111125"/>
                    <a:pt x="7824785" y="111125"/>
                  </a:cubicBezTo>
                  <a:cubicBezTo>
                    <a:pt x="7808670" y="111125"/>
                    <a:pt x="7795441" y="105833"/>
                    <a:pt x="7784857" y="95490"/>
                  </a:cubicBezTo>
                  <a:cubicBezTo>
                    <a:pt x="7774515" y="84907"/>
                    <a:pt x="7769223" y="71678"/>
                    <a:pt x="7769223" y="55562"/>
                  </a:cubicBezTo>
                  <a:cubicBezTo>
                    <a:pt x="7769223" y="39206"/>
                    <a:pt x="7774515" y="25977"/>
                    <a:pt x="7784857" y="15634"/>
                  </a:cubicBezTo>
                  <a:cubicBezTo>
                    <a:pt x="7795441" y="5051"/>
                    <a:pt x="7808670" y="0"/>
                    <a:pt x="7824785" y="0"/>
                  </a:cubicBezTo>
                  <a:close/>
                </a:path>
              </a:pathLst>
            </a:custGeom>
            <a:solidFill>
              <a:srgbClr val="A2C5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310303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940BC4C-F4A3-4E12-BC8F-CBF3D8C0B1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3774" y="6264638"/>
            <a:ext cx="385230" cy="360000"/>
          </a:xfrm>
        </p:spPr>
        <p:txBody>
          <a:bodyPr/>
          <a:lstStyle>
            <a:lvl1pPr>
              <a:defRPr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6D02548-B012-465D-97A4-D547D95637A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848CD37-5DDF-433E-940A-C941E7BF2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2"/>
            <a:ext cx="9123457" cy="6857999"/>
          </a:xfrm>
          <a:custGeom>
            <a:avLst/>
            <a:gdLst>
              <a:gd name="connsiteX0" fmla="*/ 0 w 9122269"/>
              <a:gd name="connsiteY0" fmla="*/ 0 h 6857999"/>
              <a:gd name="connsiteX1" fmla="*/ 4897399 w 9122269"/>
              <a:gd name="connsiteY1" fmla="*/ 0 h 6857999"/>
              <a:gd name="connsiteX2" fmla="*/ 6666614 w 9122269"/>
              <a:gd name="connsiteY2" fmla="*/ 0 h 6857999"/>
              <a:gd name="connsiteX3" fmla="*/ 7228167 w 9122269"/>
              <a:gd name="connsiteY3" fmla="*/ 0 h 6857999"/>
              <a:gd name="connsiteX4" fmla="*/ 7316687 w 9122269"/>
              <a:gd name="connsiteY4" fmla="*/ 157200 h 6857999"/>
              <a:gd name="connsiteX5" fmla="*/ 9050394 w 9122269"/>
              <a:gd name="connsiteY5" fmla="*/ 3236060 h 6857999"/>
              <a:gd name="connsiteX6" fmla="*/ 9050394 w 9122269"/>
              <a:gd name="connsiteY6" fmla="*/ 3760430 h 6857999"/>
              <a:gd name="connsiteX7" fmla="*/ 7334311 w 9122269"/>
              <a:gd name="connsiteY7" fmla="*/ 6773816 h 6857999"/>
              <a:gd name="connsiteX8" fmla="*/ 7286370 w 9122269"/>
              <a:gd name="connsiteY8" fmla="*/ 6857999 h 6857999"/>
              <a:gd name="connsiteX9" fmla="*/ 1766949 w 9122269"/>
              <a:gd name="connsiteY9" fmla="*/ 6857999 h 6857999"/>
              <a:gd name="connsiteX10" fmla="*/ 1766949 w 9122269"/>
              <a:gd name="connsiteY10" fmla="*/ 6857998 h 6857999"/>
              <a:gd name="connsiteX11" fmla="*/ 0 w 9122269"/>
              <a:gd name="connsiteY11" fmla="*/ 685799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22269" h="6857999">
                <a:moveTo>
                  <a:pt x="0" y="0"/>
                </a:moveTo>
                <a:lnTo>
                  <a:pt x="4897399" y="0"/>
                </a:lnTo>
                <a:lnTo>
                  <a:pt x="6666614" y="0"/>
                </a:lnTo>
                <a:lnTo>
                  <a:pt x="7228167" y="0"/>
                </a:lnTo>
                <a:lnTo>
                  <a:pt x="7316687" y="157200"/>
                </a:lnTo>
                <a:cubicBezTo>
                  <a:pt x="9050394" y="3236060"/>
                  <a:pt x="9050394" y="3236060"/>
                  <a:pt x="9050394" y="3236060"/>
                </a:cubicBezTo>
                <a:cubicBezTo>
                  <a:pt x="9146228" y="3415943"/>
                  <a:pt x="9146228" y="3590964"/>
                  <a:pt x="9050394" y="3760430"/>
                </a:cubicBezTo>
                <a:cubicBezTo>
                  <a:pt x="8104100" y="5422093"/>
                  <a:pt x="7601381" y="6304851"/>
                  <a:pt x="7334311" y="6773816"/>
                </a:cubicBezTo>
                <a:lnTo>
                  <a:pt x="7286370" y="6857999"/>
                </a:lnTo>
                <a:lnTo>
                  <a:pt x="1766949" y="6857999"/>
                </a:lnTo>
                <a:lnTo>
                  <a:pt x="1766949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6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smtClean="0">
                <a:solidFill>
                  <a:schemeClr val="tx1">
                    <a:alpha val="0"/>
                  </a:schemeClr>
                </a:solidFill>
              </a:defRPr>
            </a:lvl1pPr>
            <a:lvl2pPr marL="187200" indent="0">
              <a:buNone/>
              <a:defRPr lang="de-DE" smtClean="0">
                <a:solidFill>
                  <a:schemeClr val="tx1"/>
                </a:solidFill>
              </a:defRPr>
            </a:lvl2pPr>
            <a:lvl3pPr marL="644400" indent="0">
              <a:buNone/>
              <a:defRPr lang="de-DE" sz="1800" smtClean="0">
                <a:solidFill>
                  <a:schemeClr val="tx1"/>
                </a:solidFill>
              </a:defRPr>
            </a:lvl3pPr>
            <a:lvl4pPr marL="1101600" indent="0">
              <a:buNone/>
              <a:defRPr lang="de-DE" sz="1800" smtClean="0">
                <a:solidFill>
                  <a:schemeClr val="tx1"/>
                </a:solidFill>
              </a:defRPr>
            </a:lvl4pPr>
            <a:lvl5pPr marL="1558800" indent="0">
              <a:buNone/>
              <a:defRPr lang="de-DE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4D1755F3-E269-4431-935E-E9F10CB1BB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" y="-2"/>
            <a:ext cx="8260406" cy="6858000"/>
          </a:xfrm>
          <a:custGeom>
            <a:avLst/>
            <a:gdLst>
              <a:gd name="connsiteX0" fmla="*/ 0 w 8259331"/>
              <a:gd name="connsiteY0" fmla="*/ 0 h 6858000"/>
              <a:gd name="connsiteX1" fmla="*/ 6134986 w 8259331"/>
              <a:gd name="connsiteY1" fmla="*/ 0 h 6858000"/>
              <a:gd name="connsiteX2" fmla="*/ 6134986 w 8259331"/>
              <a:gd name="connsiteY2" fmla="*/ 1 h 6858000"/>
              <a:gd name="connsiteX3" fmla="*/ 6365229 w 8259331"/>
              <a:gd name="connsiteY3" fmla="*/ 1 h 6858000"/>
              <a:gd name="connsiteX4" fmla="*/ 6453749 w 8259331"/>
              <a:gd name="connsiteY4" fmla="*/ 157201 h 6858000"/>
              <a:gd name="connsiteX5" fmla="*/ 8187456 w 8259331"/>
              <a:gd name="connsiteY5" fmla="*/ 3236061 h 6858000"/>
              <a:gd name="connsiteX6" fmla="*/ 8187456 w 8259331"/>
              <a:gd name="connsiteY6" fmla="*/ 3760431 h 6858000"/>
              <a:gd name="connsiteX7" fmla="*/ 6471373 w 8259331"/>
              <a:gd name="connsiteY7" fmla="*/ 6773817 h 6858000"/>
              <a:gd name="connsiteX8" fmla="*/ 6423432 w 8259331"/>
              <a:gd name="connsiteY8" fmla="*/ 6858000 h 6858000"/>
              <a:gd name="connsiteX9" fmla="*/ 904011 w 8259331"/>
              <a:gd name="connsiteY9" fmla="*/ 6858000 h 6858000"/>
              <a:gd name="connsiteX10" fmla="*/ 904011 w 8259331"/>
              <a:gd name="connsiteY10" fmla="*/ 6857999 h 6858000"/>
              <a:gd name="connsiteX11" fmla="*/ 0 w 8259331"/>
              <a:gd name="connsiteY11" fmla="*/ 68579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259331" h="6858000">
                <a:moveTo>
                  <a:pt x="0" y="0"/>
                </a:moveTo>
                <a:lnTo>
                  <a:pt x="6134986" y="0"/>
                </a:lnTo>
                <a:lnTo>
                  <a:pt x="6134986" y="1"/>
                </a:lnTo>
                <a:lnTo>
                  <a:pt x="6365229" y="1"/>
                </a:lnTo>
                <a:lnTo>
                  <a:pt x="6453749" y="157201"/>
                </a:lnTo>
                <a:cubicBezTo>
                  <a:pt x="8187456" y="3236061"/>
                  <a:pt x="8187456" y="3236061"/>
                  <a:pt x="8187456" y="3236061"/>
                </a:cubicBezTo>
                <a:cubicBezTo>
                  <a:pt x="8283290" y="3415944"/>
                  <a:pt x="8283290" y="3590965"/>
                  <a:pt x="8187456" y="3760431"/>
                </a:cubicBezTo>
                <a:cubicBezTo>
                  <a:pt x="7241162" y="5422094"/>
                  <a:pt x="6738443" y="6304852"/>
                  <a:pt x="6471373" y="6773817"/>
                </a:cubicBezTo>
                <a:lnTo>
                  <a:pt x="6423432" y="6858000"/>
                </a:lnTo>
                <a:lnTo>
                  <a:pt x="904011" y="6858000"/>
                </a:lnTo>
                <a:lnTo>
                  <a:pt x="904011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2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C3EA40BE-55BB-4E2B-80C4-A5FFBF620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-1"/>
            <a:ext cx="7720499" cy="6858000"/>
          </a:xfrm>
          <a:custGeom>
            <a:avLst/>
            <a:gdLst>
              <a:gd name="connsiteX0" fmla="*/ 0 w 7719494"/>
              <a:gd name="connsiteY0" fmla="*/ 0 h 6858000"/>
              <a:gd name="connsiteX1" fmla="*/ 3494624 w 7719494"/>
              <a:gd name="connsiteY1" fmla="*/ 0 h 6858000"/>
              <a:gd name="connsiteX2" fmla="*/ 5677786 w 7719494"/>
              <a:gd name="connsiteY2" fmla="*/ 0 h 6858000"/>
              <a:gd name="connsiteX3" fmla="*/ 5825392 w 7719494"/>
              <a:gd name="connsiteY3" fmla="*/ 0 h 6858000"/>
              <a:gd name="connsiteX4" fmla="*/ 5913912 w 7719494"/>
              <a:gd name="connsiteY4" fmla="*/ 157200 h 6858000"/>
              <a:gd name="connsiteX5" fmla="*/ 7647619 w 7719494"/>
              <a:gd name="connsiteY5" fmla="*/ 3236060 h 6858000"/>
              <a:gd name="connsiteX6" fmla="*/ 7647619 w 7719494"/>
              <a:gd name="connsiteY6" fmla="*/ 3760430 h 6858000"/>
              <a:gd name="connsiteX7" fmla="*/ 5931536 w 7719494"/>
              <a:gd name="connsiteY7" fmla="*/ 6773816 h 6858000"/>
              <a:gd name="connsiteX8" fmla="*/ 5883595 w 7719494"/>
              <a:gd name="connsiteY8" fmla="*/ 6857999 h 6858000"/>
              <a:gd name="connsiteX9" fmla="*/ 5677786 w 7719494"/>
              <a:gd name="connsiteY9" fmla="*/ 6857999 h 6858000"/>
              <a:gd name="connsiteX10" fmla="*/ 5677786 w 7719494"/>
              <a:gd name="connsiteY10" fmla="*/ 6858000 h 6858000"/>
              <a:gd name="connsiteX11" fmla="*/ 0 w 7719494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19494" h="6858000">
                <a:moveTo>
                  <a:pt x="0" y="0"/>
                </a:moveTo>
                <a:lnTo>
                  <a:pt x="3494624" y="0"/>
                </a:lnTo>
                <a:lnTo>
                  <a:pt x="5677786" y="0"/>
                </a:lnTo>
                <a:lnTo>
                  <a:pt x="5825392" y="0"/>
                </a:lnTo>
                <a:lnTo>
                  <a:pt x="5913912" y="157200"/>
                </a:lnTo>
                <a:cubicBezTo>
                  <a:pt x="7647619" y="3236060"/>
                  <a:pt x="7647619" y="3236060"/>
                  <a:pt x="7647619" y="3236060"/>
                </a:cubicBezTo>
                <a:cubicBezTo>
                  <a:pt x="7743453" y="3415943"/>
                  <a:pt x="7743453" y="3590964"/>
                  <a:pt x="7647619" y="3760430"/>
                </a:cubicBezTo>
                <a:cubicBezTo>
                  <a:pt x="6701325" y="5422093"/>
                  <a:pt x="6198606" y="6304851"/>
                  <a:pt x="5931536" y="6773816"/>
                </a:cubicBezTo>
                <a:lnTo>
                  <a:pt x="5883595" y="6857999"/>
                </a:lnTo>
                <a:lnTo>
                  <a:pt x="5677786" y="6857999"/>
                </a:lnTo>
                <a:lnTo>
                  <a:pt x="567778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/>
            <a:r>
              <a:rPr lang="de-DE"/>
              <a:t> 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63015C46-8F9E-4019-9AB5-AD94F5C0143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0" y="1"/>
            <a:ext cx="7356278" cy="6857999"/>
          </a:xfrm>
          <a:custGeom>
            <a:avLst/>
            <a:gdLst>
              <a:gd name="connsiteX0" fmla="*/ 3130450 w 7355320"/>
              <a:gd name="connsiteY0" fmla="*/ 0 h 6857999"/>
              <a:gd name="connsiteX1" fmla="*/ 5461218 w 7355320"/>
              <a:gd name="connsiteY1" fmla="*/ 0 h 6857999"/>
              <a:gd name="connsiteX2" fmla="*/ 5549738 w 7355320"/>
              <a:gd name="connsiteY2" fmla="*/ 157200 h 6857999"/>
              <a:gd name="connsiteX3" fmla="*/ 7283445 w 7355320"/>
              <a:gd name="connsiteY3" fmla="*/ 3236060 h 6857999"/>
              <a:gd name="connsiteX4" fmla="*/ 7283445 w 7355320"/>
              <a:gd name="connsiteY4" fmla="*/ 3760430 h 6857999"/>
              <a:gd name="connsiteX5" fmla="*/ 5567362 w 7355320"/>
              <a:gd name="connsiteY5" fmla="*/ 6773816 h 6857999"/>
              <a:gd name="connsiteX6" fmla="*/ 5519421 w 7355320"/>
              <a:gd name="connsiteY6" fmla="*/ 6857999 h 6857999"/>
              <a:gd name="connsiteX7" fmla="*/ 0 w 7355320"/>
              <a:gd name="connsiteY7" fmla="*/ 6857999 h 6857999"/>
              <a:gd name="connsiteX8" fmla="*/ 0 w 7355320"/>
              <a:gd name="connsiteY8" fmla="*/ 1 h 6857999"/>
              <a:gd name="connsiteX9" fmla="*/ 3130450 w 7355320"/>
              <a:gd name="connsiteY9" fmla="*/ 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55320" h="6857999">
                <a:moveTo>
                  <a:pt x="3130450" y="0"/>
                </a:moveTo>
                <a:lnTo>
                  <a:pt x="5461218" y="0"/>
                </a:lnTo>
                <a:lnTo>
                  <a:pt x="5549738" y="157200"/>
                </a:lnTo>
                <a:cubicBezTo>
                  <a:pt x="7283445" y="3236060"/>
                  <a:pt x="7283445" y="3236060"/>
                  <a:pt x="7283445" y="3236060"/>
                </a:cubicBezTo>
                <a:cubicBezTo>
                  <a:pt x="7379279" y="3415943"/>
                  <a:pt x="7379279" y="3590964"/>
                  <a:pt x="7283445" y="3760430"/>
                </a:cubicBezTo>
                <a:cubicBezTo>
                  <a:pt x="6337151" y="5422093"/>
                  <a:pt x="5834432" y="6304851"/>
                  <a:pt x="5567362" y="6773816"/>
                </a:cubicBezTo>
                <a:lnTo>
                  <a:pt x="5519421" y="6857999"/>
                </a:lnTo>
                <a:lnTo>
                  <a:pt x="0" y="6857999"/>
                </a:lnTo>
                <a:lnTo>
                  <a:pt x="0" y="1"/>
                </a:lnTo>
                <a:lnTo>
                  <a:pt x="3130450" y="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540000" rIns="864000" bIns="3146400" anchor="b">
            <a:noAutofit/>
          </a:bodyPr>
          <a:lstStyle>
            <a:lvl1pPr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 – mit Foto</a:t>
            </a:r>
          </a:p>
        </p:txBody>
      </p:sp>
      <p:sp>
        <p:nvSpPr>
          <p:cNvPr id="157" name="Textplatzhalter 156">
            <a:extLst>
              <a:ext uri="{FF2B5EF4-FFF2-40B4-BE49-F238E27FC236}">
                <a16:creationId xmlns:a16="http://schemas.microsoft.com/office/drawing/2014/main" id="{70B58961-16D4-46C7-9C13-A783C42268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42997" y="4080991"/>
            <a:ext cx="5767185" cy="615553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x Mustermann  |  Organisationseinheit XYZ</a:t>
            </a:r>
          </a:p>
          <a:p>
            <a:pPr lvl="0"/>
            <a:r>
              <a:rPr lang="de-DE"/>
              <a:t>xx.xx.2020, Ort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48FD608-4BD0-4910-BABA-2FAE4F6CC663}"/>
              </a:ext>
            </a:extLst>
          </p:cNvPr>
          <p:cNvGrpSpPr/>
          <p:nvPr userDrawn="1"/>
        </p:nvGrpSpPr>
        <p:grpSpPr>
          <a:xfrm>
            <a:off x="8646842" y="359593"/>
            <a:ext cx="3180937" cy="701629"/>
            <a:chOff x="-7418388" y="2211388"/>
            <a:chExt cx="12190413" cy="2689226"/>
          </a:xfrm>
          <a:solidFill>
            <a:schemeClr val="bg1"/>
          </a:solidFill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5238FAE1-0BA5-47C5-BFE3-ECBE4716C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7418388" y="2657475"/>
              <a:ext cx="2789391" cy="1589088"/>
            </a:xfrm>
            <a:custGeom>
              <a:avLst/>
              <a:gdLst>
                <a:gd name="connsiteX0" fmla="*/ 434334 w 2789391"/>
                <a:gd name="connsiteY0" fmla="*/ 258762 h 1589088"/>
                <a:gd name="connsiteX1" fmla="*/ 329041 w 2789391"/>
                <a:gd name="connsiteY1" fmla="*/ 290413 h 1589088"/>
                <a:gd name="connsiteX2" fmla="*/ 298450 w 2789391"/>
                <a:gd name="connsiteY2" fmla="*/ 397501 h 1589088"/>
                <a:gd name="connsiteX3" fmla="*/ 298450 w 2789391"/>
                <a:gd name="connsiteY3" fmla="*/ 747562 h 1589088"/>
                <a:gd name="connsiteX4" fmla="*/ 329041 w 2789391"/>
                <a:gd name="connsiteY4" fmla="*/ 853223 h 1589088"/>
                <a:gd name="connsiteX5" fmla="*/ 434334 w 2789391"/>
                <a:gd name="connsiteY5" fmla="*/ 883921 h 1589088"/>
                <a:gd name="connsiteX6" fmla="*/ 520892 w 2789391"/>
                <a:gd name="connsiteY6" fmla="*/ 883921 h 1589088"/>
                <a:gd name="connsiteX7" fmla="*/ 643022 w 2789391"/>
                <a:gd name="connsiteY7" fmla="*/ 885349 h 1589088"/>
                <a:gd name="connsiteX8" fmla="*/ 682625 w 2789391"/>
                <a:gd name="connsiteY8" fmla="*/ 846559 h 1589088"/>
                <a:gd name="connsiteX9" fmla="*/ 682625 w 2789391"/>
                <a:gd name="connsiteY9" fmla="*/ 284701 h 1589088"/>
                <a:gd name="connsiteX10" fmla="*/ 654405 w 2789391"/>
                <a:gd name="connsiteY10" fmla="*/ 258762 h 1589088"/>
                <a:gd name="connsiteX11" fmla="*/ 434334 w 2789391"/>
                <a:gd name="connsiteY11" fmla="*/ 258762 h 1589088"/>
                <a:gd name="connsiteX12" fmla="*/ 1806614 w 2789391"/>
                <a:gd name="connsiteY12" fmla="*/ 0 h 1589088"/>
                <a:gd name="connsiteX13" fmla="*/ 2013354 w 2789391"/>
                <a:gd name="connsiteY13" fmla="*/ 0 h 1589088"/>
                <a:gd name="connsiteX14" fmla="*/ 2069737 w 2789391"/>
                <a:gd name="connsiteY14" fmla="*/ 49266 h 1589088"/>
                <a:gd name="connsiteX15" fmla="*/ 2271720 w 2789391"/>
                <a:gd name="connsiteY15" fmla="*/ 932956 h 1589088"/>
                <a:gd name="connsiteX16" fmla="*/ 2288373 w 2789391"/>
                <a:gd name="connsiteY16" fmla="*/ 932956 h 1589088"/>
                <a:gd name="connsiteX17" fmla="*/ 2485597 w 2789391"/>
                <a:gd name="connsiteY17" fmla="*/ 49266 h 1589088"/>
                <a:gd name="connsiteX18" fmla="*/ 2544360 w 2789391"/>
                <a:gd name="connsiteY18" fmla="*/ 0 h 1589088"/>
                <a:gd name="connsiteX19" fmla="*/ 2751100 w 2789391"/>
                <a:gd name="connsiteY19" fmla="*/ 0 h 1589088"/>
                <a:gd name="connsiteX20" fmla="*/ 2786310 w 2789391"/>
                <a:gd name="connsiteY20" fmla="*/ 49266 h 1589088"/>
                <a:gd name="connsiteX21" fmla="*/ 2490355 w 2789391"/>
                <a:gd name="connsiteY21" fmla="*/ 1146917 h 1589088"/>
                <a:gd name="connsiteX22" fmla="*/ 2426834 w 2789391"/>
                <a:gd name="connsiteY22" fmla="*/ 1198563 h 1589088"/>
                <a:gd name="connsiteX23" fmla="*/ 2128500 w 2789391"/>
                <a:gd name="connsiteY23" fmla="*/ 1198563 h 1589088"/>
                <a:gd name="connsiteX24" fmla="*/ 2065217 w 2789391"/>
                <a:gd name="connsiteY24" fmla="*/ 1146917 h 1589088"/>
                <a:gd name="connsiteX25" fmla="*/ 1771404 w 2789391"/>
                <a:gd name="connsiteY25" fmla="*/ 49266 h 1589088"/>
                <a:gd name="connsiteX26" fmla="*/ 1806614 w 2789391"/>
                <a:gd name="connsiteY26" fmla="*/ 0 h 1589088"/>
                <a:gd name="connsiteX27" fmla="*/ 1434784 w 2789391"/>
                <a:gd name="connsiteY27" fmla="*/ 0 h 1589088"/>
                <a:gd name="connsiteX28" fmla="*/ 1662715 w 2789391"/>
                <a:gd name="connsiteY28" fmla="*/ 0 h 1589088"/>
                <a:gd name="connsiteX29" fmla="*/ 1700307 w 2789391"/>
                <a:gd name="connsiteY29" fmla="*/ 16422 h 1589088"/>
                <a:gd name="connsiteX30" fmla="*/ 1693407 w 2789391"/>
                <a:gd name="connsiteY30" fmla="*/ 58786 h 1589088"/>
                <a:gd name="connsiteX31" fmla="*/ 1380775 w 2789391"/>
                <a:gd name="connsiteY31" fmla="*/ 573340 h 1589088"/>
                <a:gd name="connsiteX32" fmla="*/ 1380775 w 2789391"/>
                <a:gd name="connsiteY32" fmla="*/ 582860 h 1589088"/>
                <a:gd name="connsiteX33" fmla="*/ 1707445 w 2789391"/>
                <a:gd name="connsiteY33" fmla="*/ 1139777 h 1589088"/>
                <a:gd name="connsiteX34" fmla="*/ 1709824 w 2789391"/>
                <a:gd name="connsiteY34" fmla="*/ 1180951 h 1589088"/>
                <a:gd name="connsiteX35" fmla="*/ 1667474 w 2789391"/>
                <a:gd name="connsiteY35" fmla="*/ 1198563 h 1589088"/>
                <a:gd name="connsiteX36" fmla="*/ 1465476 w 2789391"/>
                <a:gd name="connsiteY36" fmla="*/ 1198563 h 1589088"/>
                <a:gd name="connsiteX37" fmla="*/ 1407898 w 2789391"/>
                <a:gd name="connsiteY37" fmla="*/ 1189043 h 1589088"/>
                <a:gd name="connsiteX38" fmla="*/ 1371496 w 2789391"/>
                <a:gd name="connsiteY38" fmla="*/ 1149059 h 1589088"/>
                <a:gd name="connsiteX39" fmla="*/ 1073138 w 2789391"/>
                <a:gd name="connsiteY39" fmla="*/ 625224 h 1589088"/>
                <a:gd name="connsiteX40" fmla="*/ 1073138 w 2789391"/>
                <a:gd name="connsiteY40" fmla="*/ 547636 h 1589088"/>
                <a:gd name="connsiteX41" fmla="*/ 1355079 w 2789391"/>
                <a:gd name="connsiteY41" fmla="*/ 46886 h 1589088"/>
                <a:gd name="connsiteX42" fmla="*/ 1434784 w 2789391"/>
                <a:gd name="connsiteY42" fmla="*/ 0 h 1589088"/>
                <a:gd name="connsiteX43" fmla="*/ 387247 w 2789391"/>
                <a:gd name="connsiteY43" fmla="*/ 0 h 1589088"/>
                <a:gd name="connsiteX44" fmla="*/ 929252 w 2789391"/>
                <a:gd name="connsiteY44" fmla="*/ 0 h 1589088"/>
                <a:gd name="connsiteX45" fmla="*/ 981075 w 2789391"/>
                <a:gd name="connsiteY45" fmla="*/ 49280 h 1589088"/>
                <a:gd name="connsiteX46" fmla="*/ 981075 w 2789391"/>
                <a:gd name="connsiteY46" fmla="*/ 1208183 h 1589088"/>
                <a:gd name="connsiteX47" fmla="*/ 878855 w 2789391"/>
                <a:gd name="connsiteY47" fmla="*/ 1490291 h 1589088"/>
                <a:gd name="connsiteX48" fmla="*/ 593827 w 2789391"/>
                <a:gd name="connsiteY48" fmla="*/ 1589088 h 1589088"/>
                <a:gd name="connsiteX49" fmla="*/ 143108 w 2789391"/>
                <a:gd name="connsiteY49" fmla="*/ 1589088 h 1589088"/>
                <a:gd name="connsiteX50" fmla="*/ 104359 w 2789391"/>
                <a:gd name="connsiteY50" fmla="*/ 1578375 h 1589088"/>
                <a:gd name="connsiteX51" fmla="*/ 93662 w 2789391"/>
                <a:gd name="connsiteY51" fmla="*/ 1541951 h 1589088"/>
                <a:gd name="connsiteX52" fmla="*/ 93662 w 2789391"/>
                <a:gd name="connsiteY52" fmla="*/ 1379829 h 1589088"/>
                <a:gd name="connsiteX53" fmla="*/ 143108 w 2789391"/>
                <a:gd name="connsiteY53" fmla="*/ 1330549 h 1589088"/>
                <a:gd name="connsiteX54" fmla="*/ 544381 w 2789391"/>
                <a:gd name="connsiteY54" fmla="*/ 1330549 h 1589088"/>
                <a:gd name="connsiteX55" fmla="*/ 651356 w 2789391"/>
                <a:gd name="connsiteY55" fmla="*/ 1298886 h 1589088"/>
                <a:gd name="connsiteX56" fmla="*/ 682973 w 2789391"/>
                <a:gd name="connsiteY56" fmla="*/ 1194137 h 1589088"/>
                <a:gd name="connsiteX57" fmla="*/ 682973 w 2789391"/>
                <a:gd name="connsiteY57" fmla="*/ 1145572 h 1589088"/>
                <a:gd name="connsiteX58" fmla="*/ 673464 w 2789391"/>
                <a:gd name="connsiteY58" fmla="*/ 1145572 h 1589088"/>
                <a:gd name="connsiteX59" fmla="*/ 581941 w 2789391"/>
                <a:gd name="connsiteY59" fmla="*/ 1145810 h 1589088"/>
                <a:gd name="connsiteX60" fmla="*/ 443587 w 2789391"/>
                <a:gd name="connsiteY60" fmla="*/ 1145810 h 1589088"/>
                <a:gd name="connsiteX61" fmla="*/ 366090 w 2789391"/>
                <a:gd name="connsiteY61" fmla="*/ 1144858 h 1589088"/>
                <a:gd name="connsiteX62" fmla="*/ 92473 w 2789391"/>
                <a:gd name="connsiteY62" fmla="*/ 1046060 h 1589088"/>
                <a:gd name="connsiteX63" fmla="*/ 0 w 2789391"/>
                <a:gd name="connsiteY63" fmla="*/ 761572 h 1589088"/>
                <a:gd name="connsiteX64" fmla="*/ 0 w 2789391"/>
                <a:gd name="connsiteY64" fmla="*/ 383048 h 1589088"/>
                <a:gd name="connsiteX65" fmla="*/ 100794 w 2789391"/>
                <a:gd name="connsiteY65" fmla="*/ 98797 h 1589088"/>
                <a:gd name="connsiteX66" fmla="*/ 387247 w 2789391"/>
                <a:gd name="connsiteY66" fmla="*/ 0 h 158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789391" h="1589088">
                  <a:moveTo>
                    <a:pt x="434334" y="258762"/>
                  </a:moveTo>
                  <a:cubicBezTo>
                    <a:pt x="384296" y="258762"/>
                    <a:pt x="349199" y="269471"/>
                    <a:pt x="329041" y="290413"/>
                  </a:cubicBezTo>
                  <a:cubicBezTo>
                    <a:pt x="308647" y="311592"/>
                    <a:pt x="298450" y="347289"/>
                    <a:pt x="298450" y="397501"/>
                  </a:cubicBezTo>
                  <a:cubicBezTo>
                    <a:pt x="298450" y="747562"/>
                    <a:pt x="298450" y="747562"/>
                    <a:pt x="298450" y="747562"/>
                  </a:cubicBezTo>
                  <a:cubicBezTo>
                    <a:pt x="298450" y="797775"/>
                    <a:pt x="308647" y="832995"/>
                    <a:pt x="329041" y="853223"/>
                  </a:cubicBezTo>
                  <a:cubicBezTo>
                    <a:pt x="349199" y="873688"/>
                    <a:pt x="384296" y="883921"/>
                    <a:pt x="434334" y="883921"/>
                  </a:cubicBezTo>
                  <a:cubicBezTo>
                    <a:pt x="520892" y="883921"/>
                    <a:pt x="520892" y="883921"/>
                    <a:pt x="520892" y="883921"/>
                  </a:cubicBezTo>
                  <a:cubicBezTo>
                    <a:pt x="609347" y="883921"/>
                    <a:pt x="598201" y="884635"/>
                    <a:pt x="643022" y="885349"/>
                  </a:cubicBezTo>
                  <a:cubicBezTo>
                    <a:pt x="664839" y="885825"/>
                    <a:pt x="682625" y="868215"/>
                    <a:pt x="682625" y="846559"/>
                  </a:cubicBezTo>
                  <a:cubicBezTo>
                    <a:pt x="682625" y="284701"/>
                    <a:pt x="682625" y="284701"/>
                    <a:pt x="682625" y="284701"/>
                  </a:cubicBezTo>
                  <a:cubicBezTo>
                    <a:pt x="682625" y="267329"/>
                    <a:pt x="673139" y="258762"/>
                    <a:pt x="654405" y="258762"/>
                  </a:cubicBezTo>
                  <a:cubicBezTo>
                    <a:pt x="434334" y="258762"/>
                    <a:pt x="434334" y="258762"/>
                    <a:pt x="434334" y="258762"/>
                  </a:cubicBezTo>
                  <a:close/>
                  <a:moveTo>
                    <a:pt x="1806614" y="0"/>
                  </a:moveTo>
                  <a:cubicBezTo>
                    <a:pt x="2013354" y="0"/>
                    <a:pt x="2013354" y="0"/>
                    <a:pt x="2013354" y="0"/>
                  </a:cubicBezTo>
                  <a:cubicBezTo>
                    <a:pt x="2044757" y="0"/>
                    <a:pt x="2063552" y="16422"/>
                    <a:pt x="2069737" y="49266"/>
                  </a:cubicBezTo>
                  <a:cubicBezTo>
                    <a:pt x="2271720" y="932956"/>
                    <a:pt x="2271720" y="932956"/>
                    <a:pt x="2271720" y="932956"/>
                  </a:cubicBezTo>
                  <a:cubicBezTo>
                    <a:pt x="2288373" y="932956"/>
                    <a:pt x="2288373" y="932956"/>
                    <a:pt x="2288373" y="932956"/>
                  </a:cubicBezTo>
                  <a:cubicBezTo>
                    <a:pt x="2485597" y="49266"/>
                    <a:pt x="2485597" y="49266"/>
                    <a:pt x="2485597" y="49266"/>
                  </a:cubicBezTo>
                  <a:cubicBezTo>
                    <a:pt x="2491782" y="16422"/>
                    <a:pt x="2511529" y="0"/>
                    <a:pt x="2544360" y="0"/>
                  </a:cubicBezTo>
                  <a:cubicBezTo>
                    <a:pt x="2751100" y="0"/>
                    <a:pt x="2751100" y="0"/>
                    <a:pt x="2751100" y="0"/>
                  </a:cubicBezTo>
                  <a:cubicBezTo>
                    <a:pt x="2783931" y="0"/>
                    <a:pt x="2795588" y="16422"/>
                    <a:pt x="2786310" y="49266"/>
                  </a:cubicBezTo>
                  <a:cubicBezTo>
                    <a:pt x="2490355" y="1146917"/>
                    <a:pt x="2490355" y="1146917"/>
                    <a:pt x="2490355" y="1146917"/>
                  </a:cubicBezTo>
                  <a:cubicBezTo>
                    <a:pt x="2483932" y="1181427"/>
                    <a:pt x="2462996" y="1198563"/>
                    <a:pt x="2426834" y="1198563"/>
                  </a:cubicBezTo>
                  <a:cubicBezTo>
                    <a:pt x="2128500" y="1198563"/>
                    <a:pt x="2128500" y="1198563"/>
                    <a:pt x="2128500" y="1198563"/>
                  </a:cubicBezTo>
                  <a:cubicBezTo>
                    <a:pt x="2095669" y="1198563"/>
                    <a:pt x="2074496" y="1181427"/>
                    <a:pt x="2065217" y="1146917"/>
                  </a:cubicBezTo>
                  <a:cubicBezTo>
                    <a:pt x="1771404" y="49266"/>
                    <a:pt x="1771404" y="49266"/>
                    <a:pt x="1771404" y="49266"/>
                  </a:cubicBezTo>
                  <a:cubicBezTo>
                    <a:pt x="1762125" y="16422"/>
                    <a:pt x="1773783" y="0"/>
                    <a:pt x="1806614" y="0"/>
                  </a:cubicBezTo>
                  <a:close/>
                  <a:moveTo>
                    <a:pt x="1434784" y="0"/>
                  </a:moveTo>
                  <a:cubicBezTo>
                    <a:pt x="1662715" y="0"/>
                    <a:pt x="1662715" y="0"/>
                    <a:pt x="1662715" y="0"/>
                  </a:cubicBezTo>
                  <a:cubicBezTo>
                    <a:pt x="1681511" y="0"/>
                    <a:pt x="1694121" y="5474"/>
                    <a:pt x="1700307" y="16422"/>
                  </a:cubicBezTo>
                  <a:cubicBezTo>
                    <a:pt x="1706493" y="27370"/>
                    <a:pt x="1704114" y="41650"/>
                    <a:pt x="1693407" y="58786"/>
                  </a:cubicBezTo>
                  <a:cubicBezTo>
                    <a:pt x="1380775" y="573340"/>
                    <a:pt x="1380775" y="573340"/>
                    <a:pt x="1380775" y="573340"/>
                  </a:cubicBezTo>
                  <a:cubicBezTo>
                    <a:pt x="1380775" y="582860"/>
                    <a:pt x="1380775" y="582860"/>
                    <a:pt x="1380775" y="582860"/>
                  </a:cubicBezTo>
                  <a:cubicBezTo>
                    <a:pt x="1707445" y="1139777"/>
                    <a:pt x="1707445" y="1139777"/>
                    <a:pt x="1707445" y="1139777"/>
                  </a:cubicBezTo>
                  <a:cubicBezTo>
                    <a:pt x="1716724" y="1155485"/>
                    <a:pt x="1717676" y="1169051"/>
                    <a:pt x="1709824" y="1180951"/>
                  </a:cubicBezTo>
                  <a:cubicBezTo>
                    <a:pt x="1701973" y="1192613"/>
                    <a:pt x="1687697" y="1198563"/>
                    <a:pt x="1667474" y="1198563"/>
                  </a:cubicBezTo>
                  <a:cubicBezTo>
                    <a:pt x="1465476" y="1198563"/>
                    <a:pt x="1465476" y="1198563"/>
                    <a:pt x="1465476" y="1198563"/>
                  </a:cubicBezTo>
                  <a:cubicBezTo>
                    <a:pt x="1438828" y="1198563"/>
                    <a:pt x="1419556" y="1195469"/>
                    <a:pt x="1407898" y="1189043"/>
                  </a:cubicBezTo>
                  <a:cubicBezTo>
                    <a:pt x="1396240" y="1182855"/>
                    <a:pt x="1383868" y="1169527"/>
                    <a:pt x="1371496" y="1149059"/>
                  </a:cubicBezTo>
                  <a:cubicBezTo>
                    <a:pt x="1073138" y="625224"/>
                    <a:pt x="1073138" y="625224"/>
                    <a:pt x="1073138" y="625224"/>
                  </a:cubicBezTo>
                  <a:cubicBezTo>
                    <a:pt x="1058863" y="599996"/>
                    <a:pt x="1058863" y="574292"/>
                    <a:pt x="1073138" y="547636"/>
                  </a:cubicBezTo>
                  <a:cubicBezTo>
                    <a:pt x="1355079" y="46886"/>
                    <a:pt x="1355079" y="46886"/>
                    <a:pt x="1355079" y="46886"/>
                  </a:cubicBezTo>
                  <a:cubicBezTo>
                    <a:pt x="1372209" y="15708"/>
                    <a:pt x="1398857" y="0"/>
                    <a:pt x="1434784" y="0"/>
                  </a:cubicBezTo>
                  <a:close/>
                  <a:moveTo>
                    <a:pt x="387247" y="0"/>
                  </a:moveTo>
                  <a:cubicBezTo>
                    <a:pt x="929252" y="0"/>
                    <a:pt x="929252" y="0"/>
                    <a:pt x="929252" y="0"/>
                  </a:cubicBezTo>
                  <a:cubicBezTo>
                    <a:pt x="963721" y="0"/>
                    <a:pt x="981075" y="16427"/>
                    <a:pt x="981075" y="49280"/>
                  </a:cubicBezTo>
                  <a:cubicBezTo>
                    <a:pt x="981075" y="1208183"/>
                    <a:pt x="981075" y="1208183"/>
                    <a:pt x="981075" y="1208183"/>
                  </a:cubicBezTo>
                  <a:cubicBezTo>
                    <a:pt x="981075" y="1330549"/>
                    <a:pt x="946843" y="1424585"/>
                    <a:pt x="878855" y="1490291"/>
                  </a:cubicBezTo>
                  <a:cubicBezTo>
                    <a:pt x="810866" y="1556235"/>
                    <a:pt x="715778" y="1589088"/>
                    <a:pt x="593827" y="1589088"/>
                  </a:cubicBezTo>
                  <a:cubicBezTo>
                    <a:pt x="143108" y="1589088"/>
                    <a:pt x="143108" y="1589088"/>
                    <a:pt x="143108" y="1589088"/>
                  </a:cubicBezTo>
                  <a:cubicBezTo>
                    <a:pt x="124328" y="1589088"/>
                    <a:pt x="111253" y="1585517"/>
                    <a:pt x="104359" y="1578375"/>
                  </a:cubicBezTo>
                  <a:cubicBezTo>
                    <a:pt x="97228" y="1571471"/>
                    <a:pt x="93662" y="1559330"/>
                    <a:pt x="93662" y="1541951"/>
                  </a:cubicBezTo>
                  <a:cubicBezTo>
                    <a:pt x="93662" y="1379829"/>
                    <a:pt x="93662" y="1379829"/>
                    <a:pt x="93662" y="1379829"/>
                  </a:cubicBezTo>
                  <a:cubicBezTo>
                    <a:pt x="93662" y="1346975"/>
                    <a:pt x="110065" y="1330549"/>
                    <a:pt x="143108" y="1330549"/>
                  </a:cubicBezTo>
                  <a:cubicBezTo>
                    <a:pt x="544381" y="1330549"/>
                    <a:pt x="544381" y="1330549"/>
                    <a:pt x="544381" y="1330549"/>
                  </a:cubicBezTo>
                  <a:cubicBezTo>
                    <a:pt x="594540" y="1330549"/>
                    <a:pt x="629961" y="1319836"/>
                    <a:pt x="651356" y="1298886"/>
                  </a:cubicBezTo>
                  <a:cubicBezTo>
                    <a:pt x="672275" y="1277698"/>
                    <a:pt x="682973" y="1242703"/>
                    <a:pt x="682973" y="1194137"/>
                  </a:cubicBezTo>
                  <a:cubicBezTo>
                    <a:pt x="682973" y="1145572"/>
                    <a:pt x="682973" y="1145572"/>
                    <a:pt x="682973" y="1145572"/>
                  </a:cubicBezTo>
                  <a:cubicBezTo>
                    <a:pt x="673464" y="1145572"/>
                    <a:pt x="673464" y="1145572"/>
                    <a:pt x="673464" y="1145572"/>
                  </a:cubicBezTo>
                  <a:cubicBezTo>
                    <a:pt x="633289" y="1145810"/>
                    <a:pt x="617599" y="1145572"/>
                    <a:pt x="581941" y="1145810"/>
                  </a:cubicBezTo>
                  <a:cubicBezTo>
                    <a:pt x="532970" y="1146048"/>
                    <a:pt x="492558" y="1145096"/>
                    <a:pt x="443587" y="1145810"/>
                  </a:cubicBezTo>
                  <a:cubicBezTo>
                    <a:pt x="366090" y="1144858"/>
                    <a:pt x="366090" y="1144858"/>
                    <a:pt x="366090" y="1144858"/>
                  </a:cubicBezTo>
                  <a:cubicBezTo>
                    <a:pt x="245566" y="1144858"/>
                    <a:pt x="154281" y="1111767"/>
                    <a:pt x="92473" y="1046060"/>
                  </a:cubicBezTo>
                  <a:cubicBezTo>
                    <a:pt x="30666" y="980116"/>
                    <a:pt x="0" y="885366"/>
                    <a:pt x="0" y="761572"/>
                  </a:cubicBezTo>
                  <a:cubicBezTo>
                    <a:pt x="0" y="383048"/>
                    <a:pt x="0" y="383048"/>
                    <a:pt x="0" y="383048"/>
                  </a:cubicBezTo>
                  <a:cubicBezTo>
                    <a:pt x="0" y="259492"/>
                    <a:pt x="33518" y="164503"/>
                    <a:pt x="100794" y="98797"/>
                  </a:cubicBezTo>
                  <a:cubicBezTo>
                    <a:pt x="168069" y="32853"/>
                    <a:pt x="263632" y="0"/>
                    <a:pt x="38724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4E37F4C9-FF7C-4EFD-AE31-4254000F24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030662" y="2211388"/>
              <a:ext cx="8802663" cy="1647826"/>
            </a:xfrm>
            <a:custGeom>
              <a:avLst/>
              <a:gdLst>
                <a:gd name="connsiteX0" fmla="*/ 2498469 w 8802663"/>
                <a:gd name="connsiteY0" fmla="*/ 603250 h 1647826"/>
                <a:gd name="connsiteX1" fmla="*/ 2301875 w 8802663"/>
                <a:gd name="connsiteY1" fmla="*/ 804597 h 1647826"/>
                <a:gd name="connsiteX2" fmla="*/ 2301875 w 8802663"/>
                <a:gd name="connsiteY2" fmla="*/ 1297016 h 1647826"/>
                <a:gd name="connsiteX3" fmla="*/ 2498469 w 8802663"/>
                <a:gd name="connsiteY3" fmla="*/ 1498600 h 1647826"/>
                <a:gd name="connsiteX4" fmla="*/ 2662494 w 8802663"/>
                <a:gd name="connsiteY4" fmla="*/ 1498600 h 1647826"/>
                <a:gd name="connsiteX5" fmla="*/ 2859088 w 8802663"/>
                <a:gd name="connsiteY5" fmla="*/ 1297016 h 1647826"/>
                <a:gd name="connsiteX6" fmla="*/ 2859088 w 8802663"/>
                <a:gd name="connsiteY6" fmla="*/ 804597 h 1647826"/>
                <a:gd name="connsiteX7" fmla="*/ 2662494 w 8802663"/>
                <a:gd name="connsiteY7" fmla="*/ 603250 h 1647826"/>
                <a:gd name="connsiteX8" fmla="*/ 2498469 w 8802663"/>
                <a:gd name="connsiteY8" fmla="*/ 603250 h 1647826"/>
                <a:gd name="connsiteX9" fmla="*/ 5984257 w 8802663"/>
                <a:gd name="connsiteY9" fmla="*/ 601663 h 1647826"/>
                <a:gd name="connsiteX10" fmla="*/ 5789612 w 8802663"/>
                <a:gd name="connsiteY10" fmla="*/ 805935 h 1647826"/>
                <a:gd name="connsiteX11" fmla="*/ 5789612 w 8802663"/>
                <a:gd name="connsiteY11" fmla="*/ 1294329 h 1647826"/>
                <a:gd name="connsiteX12" fmla="*/ 5984257 w 8802663"/>
                <a:gd name="connsiteY12" fmla="*/ 1498601 h 1647826"/>
                <a:gd name="connsiteX13" fmla="*/ 6117748 w 8802663"/>
                <a:gd name="connsiteY13" fmla="*/ 1498601 h 1647826"/>
                <a:gd name="connsiteX14" fmla="*/ 6279555 w 8802663"/>
                <a:gd name="connsiteY14" fmla="*/ 1442349 h 1647826"/>
                <a:gd name="connsiteX15" fmla="*/ 6335712 w 8802663"/>
                <a:gd name="connsiteY15" fmla="*/ 1282650 h 1647826"/>
                <a:gd name="connsiteX16" fmla="*/ 6335712 w 8802663"/>
                <a:gd name="connsiteY16" fmla="*/ 622877 h 1647826"/>
                <a:gd name="connsiteX17" fmla="*/ 6312393 w 8802663"/>
                <a:gd name="connsiteY17" fmla="*/ 601663 h 1647826"/>
                <a:gd name="connsiteX18" fmla="*/ 5984257 w 8802663"/>
                <a:gd name="connsiteY18" fmla="*/ 601663 h 1647826"/>
                <a:gd name="connsiteX19" fmla="*/ 8626305 w 8802663"/>
                <a:gd name="connsiteY19" fmla="*/ 452438 h 1647826"/>
                <a:gd name="connsiteX20" fmla="*/ 8743366 w 8802663"/>
                <a:gd name="connsiteY20" fmla="*/ 452438 h 1647826"/>
                <a:gd name="connsiteX21" fmla="*/ 8768110 w 8802663"/>
                <a:gd name="connsiteY21" fmla="*/ 462909 h 1647826"/>
                <a:gd name="connsiteX22" fmla="*/ 8762162 w 8802663"/>
                <a:gd name="connsiteY22" fmla="*/ 490039 h 1647826"/>
                <a:gd name="connsiteX23" fmla="*/ 8417641 w 8802663"/>
                <a:gd name="connsiteY23" fmla="*/ 1024311 h 1647826"/>
                <a:gd name="connsiteX24" fmla="*/ 8417641 w 8802663"/>
                <a:gd name="connsiteY24" fmla="*/ 1033830 h 1647826"/>
                <a:gd name="connsiteX25" fmla="*/ 8797375 w 8802663"/>
                <a:gd name="connsiteY25" fmla="*/ 1610463 h 1647826"/>
                <a:gd name="connsiteX26" fmla="*/ 8799755 w 8802663"/>
                <a:gd name="connsiteY26" fmla="*/ 1637355 h 1647826"/>
                <a:gd name="connsiteX27" fmla="*/ 8773820 w 8802663"/>
                <a:gd name="connsiteY27" fmla="*/ 1647826 h 1647826"/>
                <a:gd name="connsiteX28" fmla="*/ 8663897 w 8802663"/>
                <a:gd name="connsiteY28" fmla="*/ 1647826 h 1647826"/>
                <a:gd name="connsiteX29" fmla="*/ 8598229 w 8802663"/>
                <a:gd name="connsiteY29" fmla="*/ 1614985 h 1647826"/>
                <a:gd name="connsiteX30" fmla="*/ 8237291 w 8802663"/>
                <a:gd name="connsiteY30" fmla="*/ 1057153 h 1647826"/>
                <a:gd name="connsiteX31" fmla="*/ 8237291 w 8802663"/>
                <a:gd name="connsiteY31" fmla="*/ 1007890 h 1647826"/>
                <a:gd name="connsiteX32" fmla="*/ 8570154 w 8802663"/>
                <a:gd name="connsiteY32" fmla="*/ 482900 h 1647826"/>
                <a:gd name="connsiteX33" fmla="*/ 8626305 w 8802663"/>
                <a:gd name="connsiteY33" fmla="*/ 452438 h 1647826"/>
                <a:gd name="connsiteX34" fmla="*/ 7587022 w 8802663"/>
                <a:gd name="connsiteY34" fmla="*/ 452438 h 1647826"/>
                <a:gd name="connsiteX35" fmla="*/ 7695281 w 8802663"/>
                <a:gd name="connsiteY35" fmla="*/ 452438 h 1647826"/>
                <a:gd name="connsiteX36" fmla="*/ 7727949 w 8802663"/>
                <a:gd name="connsiteY36" fmla="*/ 485280 h 1647826"/>
                <a:gd name="connsiteX37" fmla="*/ 7727949 w 8802663"/>
                <a:gd name="connsiteY37" fmla="*/ 1615223 h 1647826"/>
                <a:gd name="connsiteX38" fmla="*/ 7695281 w 8802663"/>
                <a:gd name="connsiteY38" fmla="*/ 1647826 h 1647826"/>
                <a:gd name="connsiteX39" fmla="*/ 7589406 w 8802663"/>
                <a:gd name="connsiteY39" fmla="*/ 1647826 h 1647826"/>
                <a:gd name="connsiteX40" fmla="*/ 7556499 w 8802663"/>
                <a:gd name="connsiteY40" fmla="*/ 1615223 h 1647826"/>
                <a:gd name="connsiteX41" fmla="*/ 7556499 w 8802663"/>
                <a:gd name="connsiteY41" fmla="*/ 485280 h 1647826"/>
                <a:gd name="connsiteX42" fmla="*/ 7587022 w 8802663"/>
                <a:gd name="connsiteY42" fmla="*/ 452438 h 1647826"/>
                <a:gd name="connsiteX43" fmla="*/ 5965379 w 8802663"/>
                <a:gd name="connsiteY43" fmla="*/ 452438 h 1647826"/>
                <a:gd name="connsiteX44" fmla="*/ 6474536 w 8802663"/>
                <a:gd name="connsiteY44" fmla="*/ 452438 h 1647826"/>
                <a:gd name="connsiteX45" fmla="*/ 6507162 w 8802663"/>
                <a:gd name="connsiteY45" fmla="*/ 485280 h 1647826"/>
                <a:gd name="connsiteX46" fmla="*/ 6507162 w 8802663"/>
                <a:gd name="connsiteY46" fmla="*/ 1615223 h 1647826"/>
                <a:gd name="connsiteX47" fmla="*/ 6474536 w 8802663"/>
                <a:gd name="connsiteY47" fmla="*/ 1647826 h 1647826"/>
                <a:gd name="connsiteX48" fmla="*/ 6368799 w 8802663"/>
                <a:gd name="connsiteY48" fmla="*/ 1647826 h 1647826"/>
                <a:gd name="connsiteX49" fmla="*/ 6335935 w 8802663"/>
                <a:gd name="connsiteY49" fmla="*/ 1615223 h 1647826"/>
                <a:gd name="connsiteX50" fmla="*/ 6335935 w 8802663"/>
                <a:gd name="connsiteY50" fmla="*/ 1523599 h 1647826"/>
                <a:gd name="connsiteX51" fmla="*/ 6326647 w 8802663"/>
                <a:gd name="connsiteY51" fmla="*/ 1523599 h 1647826"/>
                <a:gd name="connsiteX52" fmla="*/ 6087310 w 8802663"/>
                <a:gd name="connsiteY52" fmla="*/ 1647826 h 1647826"/>
                <a:gd name="connsiteX53" fmla="*/ 5965379 w 8802663"/>
                <a:gd name="connsiteY53" fmla="*/ 1647826 h 1647826"/>
                <a:gd name="connsiteX54" fmla="*/ 5711039 w 8802663"/>
                <a:gd name="connsiteY54" fmla="*/ 1556441 h 1647826"/>
                <a:gd name="connsiteX55" fmla="*/ 5618162 w 8802663"/>
                <a:gd name="connsiteY55" fmla="*/ 1301085 h 1647826"/>
                <a:gd name="connsiteX56" fmla="*/ 5618162 w 8802663"/>
                <a:gd name="connsiteY56" fmla="*/ 799417 h 1647826"/>
                <a:gd name="connsiteX57" fmla="*/ 5711039 w 8802663"/>
                <a:gd name="connsiteY57" fmla="*/ 543824 h 1647826"/>
                <a:gd name="connsiteX58" fmla="*/ 5965379 w 8802663"/>
                <a:gd name="connsiteY58" fmla="*/ 452438 h 1647826"/>
                <a:gd name="connsiteX59" fmla="*/ 3952348 w 8802663"/>
                <a:gd name="connsiteY59" fmla="*/ 452438 h 1647826"/>
                <a:gd name="connsiteX60" fmla="*/ 4057677 w 8802663"/>
                <a:gd name="connsiteY60" fmla="*/ 452438 h 1647826"/>
                <a:gd name="connsiteX61" fmla="*/ 4090488 w 8802663"/>
                <a:gd name="connsiteY61" fmla="*/ 485280 h 1647826"/>
                <a:gd name="connsiteX62" fmla="*/ 4090488 w 8802663"/>
                <a:gd name="connsiteY62" fmla="*/ 576665 h 1647826"/>
                <a:gd name="connsiteX63" fmla="*/ 4099761 w 8802663"/>
                <a:gd name="connsiteY63" fmla="*/ 576665 h 1647826"/>
                <a:gd name="connsiteX64" fmla="*/ 4347984 w 8802663"/>
                <a:gd name="connsiteY64" fmla="*/ 452438 h 1647826"/>
                <a:gd name="connsiteX65" fmla="*/ 4434767 w 8802663"/>
                <a:gd name="connsiteY65" fmla="*/ 452438 h 1647826"/>
                <a:gd name="connsiteX66" fmla="*/ 4720557 w 8802663"/>
                <a:gd name="connsiteY66" fmla="*/ 611887 h 1647826"/>
                <a:gd name="connsiteX67" fmla="*/ 4838725 w 8802663"/>
                <a:gd name="connsiteY67" fmla="*/ 493371 h 1647826"/>
                <a:gd name="connsiteX68" fmla="*/ 5008487 w 8802663"/>
                <a:gd name="connsiteY68" fmla="*/ 452438 h 1647826"/>
                <a:gd name="connsiteX69" fmla="*/ 5090515 w 8802663"/>
                <a:gd name="connsiteY69" fmla="*/ 452438 h 1647826"/>
                <a:gd name="connsiteX70" fmla="*/ 5338739 w 8802663"/>
                <a:gd name="connsiteY70" fmla="*/ 543824 h 1647826"/>
                <a:gd name="connsiteX71" fmla="*/ 5427662 w 8802663"/>
                <a:gd name="connsiteY71" fmla="*/ 799417 h 1647826"/>
                <a:gd name="connsiteX72" fmla="*/ 5427662 w 8802663"/>
                <a:gd name="connsiteY72" fmla="*/ 1614985 h 1647826"/>
                <a:gd name="connsiteX73" fmla="*/ 5394851 w 8802663"/>
                <a:gd name="connsiteY73" fmla="*/ 1647826 h 1647826"/>
                <a:gd name="connsiteX74" fmla="*/ 5289522 w 8802663"/>
                <a:gd name="connsiteY74" fmla="*/ 1647826 h 1647826"/>
                <a:gd name="connsiteX75" fmla="*/ 5256711 w 8802663"/>
                <a:gd name="connsiteY75" fmla="*/ 1614985 h 1647826"/>
                <a:gd name="connsiteX76" fmla="*/ 5256711 w 8802663"/>
                <a:gd name="connsiteY76" fmla="*/ 806319 h 1647826"/>
                <a:gd name="connsiteX77" fmla="*/ 5060082 w 8802663"/>
                <a:gd name="connsiteY77" fmla="*/ 602605 h 1647826"/>
                <a:gd name="connsiteX78" fmla="*/ 4982809 w 8802663"/>
                <a:gd name="connsiteY78" fmla="*/ 602605 h 1647826"/>
                <a:gd name="connsiteX79" fmla="*/ 4819942 w 8802663"/>
                <a:gd name="connsiteY79" fmla="*/ 662339 h 1647826"/>
                <a:gd name="connsiteX80" fmla="*/ 4762641 w 8802663"/>
                <a:gd name="connsiteY80" fmla="*/ 825119 h 1647826"/>
                <a:gd name="connsiteX81" fmla="*/ 4762641 w 8802663"/>
                <a:gd name="connsiteY81" fmla="*/ 1614985 h 1647826"/>
                <a:gd name="connsiteX82" fmla="*/ 4729830 w 8802663"/>
                <a:gd name="connsiteY82" fmla="*/ 1647826 h 1647826"/>
                <a:gd name="connsiteX83" fmla="*/ 4624502 w 8802663"/>
                <a:gd name="connsiteY83" fmla="*/ 1647826 h 1647826"/>
                <a:gd name="connsiteX84" fmla="*/ 4591690 w 8802663"/>
                <a:gd name="connsiteY84" fmla="*/ 1614985 h 1647826"/>
                <a:gd name="connsiteX85" fmla="*/ 4591690 w 8802663"/>
                <a:gd name="connsiteY85" fmla="*/ 806319 h 1647826"/>
                <a:gd name="connsiteX86" fmla="*/ 4394824 w 8802663"/>
                <a:gd name="connsiteY86" fmla="*/ 602605 h 1647826"/>
                <a:gd name="connsiteX87" fmla="*/ 4308278 w 8802663"/>
                <a:gd name="connsiteY87" fmla="*/ 602605 h 1647826"/>
                <a:gd name="connsiteX88" fmla="*/ 4146600 w 8802663"/>
                <a:gd name="connsiteY88" fmla="*/ 658769 h 1647826"/>
                <a:gd name="connsiteX89" fmla="*/ 4090488 w 8802663"/>
                <a:gd name="connsiteY89" fmla="*/ 818218 h 1647826"/>
                <a:gd name="connsiteX90" fmla="*/ 4090488 w 8802663"/>
                <a:gd name="connsiteY90" fmla="*/ 1614985 h 1647826"/>
                <a:gd name="connsiteX91" fmla="*/ 4057677 w 8802663"/>
                <a:gd name="connsiteY91" fmla="*/ 1647826 h 1647826"/>
                <a:gd name="connsiteX92" fmla="*/ 3952348 w 8802663"/>
                <a:gd name="connsiteY92" fmla="*/ 1647826 h 1647826"/>
                <a:gd name="connsiteX93" fmla="*/ 3919537 w 8802663"/>
                <a:gd name="connsiteY93" fmla="*/ 1614985 h 1647826"/>
                <a:gd name="connsiteX94" fmla="*/ 3919537 w 8802663"/>
                <a:gd name="connsiteY94" fmla="*/ 485280 h 1647826"/>
                <a:gd name="connsiteX95" fmla="*/ 3952348 w 8802663"/>
                <a:gd name="connsiteY95" fmla="*/ 452438 h 1647826"/>
                <a:gd name="connsiteX96" fmla="*/ 3247193 w 8802663"/>
                <a:gd name="connsiteY96" fmla="*/ 452438 h 1647826"/>
                <a:gd name="connsiteX97" fmla="*/ 3352536 w 8802663"/>
                <a:gd name="connsiteY97" fmla="*/ 452438 h 1647826"/>
                <a:gd name="connsiteX98" fmla="*/ 3385041 w 8802663"/>
                <a:gd name="connsiteY98" fmla="*/ 485280 h 1647826"/>
                <a:gd name="connsiteX99" fmla="*/ 3385041 w 8802663"/>
                <a:gd name="connsiteY99" fmla="*/ 579045 h 1647826"/>
                <a:gd name="connsiteX100" fmla="*/ 3394531 w 8802663"/>
                <a:gd name="connsiteY100" fmla="*/ 579045 h 1647826"/>
                <a:gd name="connsiteX101" fmla="*/ 3483267 w 8802663"/>
                <a:gd name="connsiteY101" fmla="*/ 490039 h 1647826"/>
                <a:gd name="connsiteX102" fmla="*/ 3637486 w 8802663"/>
                <a:gd name="connsiteY102" fmla="*/ 452438 h 1647826"/>
                <a:gd name="connsiteX103" fmla="*/ 3728831 w 8802663"/>
                <a:gd name="connsiteY103" fmla="*/ 452438 h 1647826"/>
                <a:gd name="connsiteX104" fmla="*/ 3759201 w 8802663"/>
                <a:gd name="connsiteY104" fmla="*/ 485280 h 1647826"/>
                <a:gd name="connsiteX105" fmla="*/ 3759201 w 8802663"/>
                <a:gd name="connsiteY105" fmla="*/ 571906 h 1647826"/>
                <a:gd name="connsiteX106" fmla="*/ 3752083 w 8802663"/>
                <a:gd name="connsiteY106" fmla="*/ 596656 h 1647826"/>
                <a:gd name="connsiteX107" fmla="*/ 3728831 w 8802663"/>
                <a:gd name="connsiteY107" fmla="*/ 602605 h 1647826"/>
                <a:gd name="connsiteX108" fmla="*/ 3602609 w 8802663"/>
                <a:gd name="connsiteY108" fmla="*/ 602605 h 1647826"/>
                <a:gd name="connsiteX109" fmla="*/ 3441272 w 8802663"/>
                <a:gd name="connsiteY109" fmla="*/ 665909 h 1647826"/>
                <a:gd name="connsiteX110" fmla="*/ 3385041 w 8802663"/>
                <a:gd name="connsiteY110" fmla="*/ 839160 h 1647826"/>
                <a:gd name="connsiteX111" fmla="*/ 3385041 w 8802663"/>
                <a:gd name="connsiteY111" fmla="*/ 1614985 h 1647826"/>
                <a:gd name="connsiteX112" fmla="*/ 3352536 w 8802663"/>
                <a:gd name="connsiteY112" fmla="*/ 1647826 h 1647826"/>
                <a:gd name="connsiteX113" fmla="*/ 3247193 w 8802663"/>
                <a:gd name="connsiteY113" fmla="*/ 1647826 h 1647826"/>
                <a:gd name="connsiteX114" fmla="*/ 3214688 w 8802663"/>
                <a:gd name="connsiteY114" fmla="*/ 1614985 h 1647826"/>
                <a:gd name="connsiteX115" fmla="*/ 3214688 w 8802663"/>
                <a:gd name="connsiteY115" fmla="*/ 485280 h 1647826"/>
                <a:gd name="connsiteX116" fmla="*/ 3247193 w 8802663"/>
                <a:gd name="connsiteY116" fmla="*/ 452438 h 1647826"/>
                <a:gd name="connsiteX117" fmla="*/ 2479749 w 8802663"/>
                <a:gd name="connsiteY117" fmla="*/ 452438 h 1647826"/>
                <a:gd name="connsiteX118" fmla="*/ 2680976 w 8802663"/>
                <a:gd name="connsiteY118" fmla="*/ 452438 h 1647826"/>
                <a:gd name="connsiteX119" fmla="*/ 2934946 w 8802663"/>
                <a:gd name="connsiteY119" fmla="*/ 543824 h 1647826"/>
                <a:gd name="connsiteX120" fmla="*/ 3027363 w 8802663"/>
                <a:gd name="connsiteY120" fmla="*/ 799417 h 1647826"/>
                <a:gd name="connsiteX121" fmla="*/ 3027363 w 8802663"/>
                <a:gd name="connsiteY121" fmla="*/ 1301085 h 1647826"/>
                <a:gd name="connsiteX122" fmla="*/ 2934946 w 8802663"/>
                <a:gd name="connsiteY122" fmla="*/ 1556441 h 1647826"/>
                <a:gd name="connsiteX123" fmla="*/ 2680976 w 8802663"/>
                <a:gd name="connsiteY123" fmla="*/ 1647826 h 1647826"/>
                <a:gd name="connsiteX124" fmla="*/ 2479749 w 8802663"/>
                <a:gd name="connsiteY124" fmla="*/ 1647826 h 1647826"/>
                <a:gd name="connsiteX125" fmla="*/ 2226017 w 8802663"/>
                <a:gd name="connsiteY125" fmla="*/ 1556441 h 1647826"/>
                <a:gd name="connsiteX126" fmla="*/ 2133600 w 8802663"/>
                <a:gd name="connsiteY126" fmla="*/ 1301085 h 1647826"/>
                <a:gd name="connsiteX127" fmla="*/ 2133600 w 8802663"/>
                <a:gd name="connsiteY127" fmla="*/ 799417 h 1647826"/>
                <a:gd name="connsiteX128" fmla="*/ 2226017 w 8802663"/>
                <a:gd name="connsiteY128" fmla="*/ 543824 h 1647826"/>
                <a:gd name="connsiteX129" fmla="*/ 2479749 w 8802663"/>
                <a:gd name="connsiteY129" fmla="*/ 452438 h 1647826"/>
                <a:gd name="connsiteX130" fmla="*/ 424918 w 8802663"/>
                <a:gd name="connsiteY130" fmla="*/ 452438 h 1647826"/>
                <a:gd name="connsiteX131" fmla="*/ 530229 w 8802663"/>
                <a:gd name="connsiteY131" fmla="*/ 452438 h 1647826"/>
                <a:gd name="connsiteX132" fmla="*/ 563034 w 8802663"/>
                <a:gd name="connsiteY132" fmla="*/ 485280 h 1647826"/>
                <a:gd name="connsiteX133" fmla="*/ 563034 w 8802663"/>
                <a:gd name="connsiteY133" fmla="*/ 576665 h 1647826"/>
                <a:gd name="connsiteX134" fmla="*/ 572305 w 8802663"/>
                <a:gd name="connsiteY134" fmla="*/ 576665 h 1647826"/>
                <a:gd name="connsiteX135" fmla="*/ 811216 w 8802663"/>
                <a:gd name="connsiteY135" fmla="*/ 452438 h 1647826"/>
                <a:gd name="connsiteX136" fmla="*/ 942437 w 8802663"/>
                <a:gd name="connsiteY136" fmla="*/ 452438 h 1647826"/>
                <a:gd name="connsiteX137" fmla="*/ 1190618 w 8802663"/>
                <a:gd name="connsiteY137" fmla="*/ 543824 h 1647826"/>
                <a:gd name="connsiteX138" fmla="*/ 1279525 w 8802663"/>
                <a:gd name="connsiteY138" fmla="*/ 799417 h 1647826"/>
                <a:gd name="connsiteX139" fmla="*/ 1279525 w 8802663"/>
                <a:gd name="connsiteY139" fmla="*/ 1614985 h 1647826"/>
                <a:gd name="connsiteX140" fmla="*/ 1246720 w 8802663"/>
                <a:gd name="connsiteY140" fmla="*/ 1647826 h 1647826"/>
                <a:gd name="connsiteX141" fmla="*/ 1141410 w 8802663"/>
                <a:gd name="connsiteY141" fmla="*/ 1647826 h 1647826"/>
                <a:gd name="connsiteX142" fmla="*/ 1108604 w 8802663"/>
                <a:gd name="connsiteY142" fmla="*/ 1614985 h 1647826"/>
                <a:gd name="connsiteX143" fmla="*/ 1108604 w 8802663"/>
                <a:gd name="connsiteY143" fmla="*/ 806319 h 1647826"/>
                <a:gd name="connsiteX144" fmla="*/ 912009 w 8802663"/>
                <a:gd name="connsiteY144" fmla="*/ 602605 h 1647826"/>
                <a:gd name="connsiteX145" fmla="*/ 780787 w 8802663"/>
                <a:gd name="connsiteY145" fmla="*/ 602605 h 1647826"/>
                <a:gd name="connsiteX146" fmla="*/ 619137 w 8802663"/>
                <a:gd name="connsiteY146" fmla="*/ 658769 h 1647826"/>
                <a:gd name="connsiteX147" fmla="*/ 563034 w 8802663"/>
                <a:gd name="connsiteY147" fmla="*/ 818218 h 1647826"/>
                <a:gd name="connsiteX148" fmla="*/ 563034 w 8802663"/>
                <a:gd name="connsiteY148" fmla="*/ 1614985 h 1647826"/>
                <a:gd name="connsiteX149" fmla="*/ 530229 w 8802663"/>
                <a:gd name="connsiteY149" fmla="*/ 1647826 h 1647826"/>
                <a:gd name="connsiteX150" fmla="*/ 424918 w 8802663"/>
                <a:gd name="connsiteY150" fmla="*/ 1647826 h 1647826"/>
                <a:gd name="connsiteX151" fmla="*/ 392113 w 8802663"/>
                <a:gd name="connsiteY151" fmla="*/ 1614985 h 1647826"/>
                <a:gd name="connsiteX152" fmla="*/ 392113 w 8802663"/>
                <a:gd name="connsiteY152" fmla="*/ 485280 h 1647826"/>
                <a:gd name="connsiteX153" fmla="*/ 424918 w 8802663"/>
                <a:gd name="connsiteY153" fmla="*/ 452438 h 1647826"/>
                <a:gd name="connsiteX154" fmla="*/ 30523 w 8802663"/>
                <a:gd name="connsiteY154" fmla="*/ 452438 h 1647826"/>
                <a:gd name="connsiteX155" fmla="*/ 138542 w 8802663"/>
                <a:gd name="connsiteY155" fmla="*/ 452438 h 1647826"/>
                <a:gd name="connsiteX156" fmla="*/ 171450 w 8802663"/>
                <a:gd name="connsiteY156" fmla="*/ 485280 h 1647826"/>
                <a:gd name="connsiteX157" fmla="*/ 171450 w 8802663"/>
                <a:gd name="connsiteY157" fmla="*/ 1615223 h 1647826"/>
                <a:gd name="connsiteX158" fmla="*/ 138542 w 8802663"/>
                <a:gd name="connsiteY158" fmla="*/ 1647826 h 1647826"/>
                <a:gd name="connsiteX159" fmla="*/ 32906 w 8802663"/>
                <a:gd name="connsiteY159" fmla="*/ 1647826 h 1647826"/>
                <a:gd name="connsiteX160" fmla="*/ 0 w 8802663"/>
                <a:gd name="connsiteY160" fmla="*/ 1615223 h 1647826"/>
                <a:gd name="connsiteX161" fmla="*/ 0 w 8802663"/>
                <a:gd name="connsiteY161" fmla="*/ 485280 h 1647826"/>
                <a:gd name="connsiteX162" fmla="*/ 30523 w 8802663"/>
                <a:gd name="connsiteY162" fmla="*/ 452438 h 1647826"/>
                <a:gd name="connsiteX163" fmla="*/ 6895122 w 8802663"/>
                <a:gd name="connsiteY163" fmla="*/ 196850 h 1647826"/>
                <a:gd name="connsiteX164" fmla="*/ 7000837 w 8802663"/>
                <a:gd name="connsiteY164" fmla="*/ 196850 h 1647826"/>
                <a:gd name="connsiteX165" fmla="*/ 7031313 w 8802663"/>
                <a:gd name="connsiteY165" fmla="*/ 229692 h 1647826"/>
                <a:gd name="connsiteX166" fmla="*/ 7031313 w 8802663"/>
                <a:gd name="connsiteY166" fmla="*/ 431262 h 1647826"/>
                <a:gd name="connsiteX167" fmla="*/ 7057028 w 8802663"/>
                <a:gd name="connsiteY167" fmla="*/ 452443 h 1647826"/>
                <a:gd name="connsiteX168" fmla="*/ 7305602 w 8802663"/>
                <a:gd name="connsiteY168" fmla="*/ 452443 h 1647826"/>
                <a:gd name="connsiteX169" fmla="*/ 7340840 w 8802663"/>
                <a:gd name="connsiteY169" fmla="*/ 485284 h 1647826"/>
                <a:gd name="connsiteX170" fmla="*/ 7340840 w 8802663"/>
                <a:gd name="connsiteY170" fmla="*/ 571909 h 1647826"/>
                <a:gd name="connsiteX171" fmla="*/ 7305602 w 8802663"/>
                <a:gd name="connsiteY171" fmla="*/ 602371 h 1647826"/>
                <a:gd name="connsiteX172" fmla="*/ 7057028 w 8802663"/>
                <a:gd name="connsiteY172" fmla="*/ 602371 h 1647826"/>
                <a:gd name="connsiteX173" fmla="*/ 7031313 w 8802663"/>
                <a:gd name="connsiteY173" fmla="*/ 623551 h 1647826"/>
                <a:gd name="connsiteX174" fmla="*/ 7031313 w 8802663"/>
                <a:gd name="connsiteY174" fmla="*/ 1298706 h 1647826"/>
                <a:gd name="connsiteX175" fmla="*/ 7237744 w 8802663"/>
                <a:gd name="connsiteY175" fmla="*/ 1497897 h 1647826"/>
                <a:gd name="connsiteX176" fmla="*/ 7329174 w 8802663"/>
                <a:gd name="connsiteY176" fmla="*/ 1497897 h 1647826"/>
                <a:gd name="connsiteX177" fmla="*/ 7364412 w 8802663"/>
                <a:gd name="connsiteY177" fmla="*/ 1530738 h 1647826"/>
                <a:gd name="connsiteX178" fmla="*/ 7364412 w 8802663"/>
                <a:gd name="connsiteY178" fmla="*/ 1617364 h 1647826"/>
                <a:gd name="connsiteX179" fmla="*/ 7329174 w 8802663"/>
                <a:gd name="connsiteY179" fmla="*/ 1647825 h 1647826"/>
                <a:gd name="connsiteX180" fmla="*/ 7216553 w 8802663"/>
                <a:gd name="connsiteY180" fmla="*/ 1647825 h 1647826"/>
                <a:gd name="connsiteX181" fmla="*/ 6958694 w 8802663"/>
                <a:gd name="connsiteY181" fmla="*/ 1557630 h 1647826"/>
                <a:gd name="connsiteX182" fmla="*/ 6862502 w 8802663"/>
                <a:gd name="connsiteY182" fmla="*/ 1305607 h 1647826"/>
                <a:gd name="connsiteX183" fmla="*/ 6862502 w 8802663"/>
                <a:gd name="connsiteY183" fmla="*/ 623551 h 1647826"/>
                <a:gd name="connsiteX184" fmla="*/ 6838931 w 8802663"/>
                <a:gd name="connsiteY184" fmla="*/ 602371 h 1647826"/>
                <a:gd name="connsiteX185" fmla="*/ 6709882 w 8802663"/>
                <a:gd name="connsiteY185" fmla="*/ 602371 h 1647826"/>
                <a:gd name="connsiteX186" fmla="*/ 6677024 w 8802663"/>
                <a:gd name="connsiteY186" fmla="*/ 571909 h 1647826"/>
                <a:gd name="connsiteX187" fmla="*/ 6677024 w 8802663"/>
                <a:gd name="connsiteY187" fmla="*/ 485284 h 1647826"/>
                <a:gd name="connsiteX188" fmla="*/ 6709882 w 8802663"/>
                <a:gd name="connsiteY188" fmla="*/ 452443 h 1647826"/>
                <a:gd name="connsiteX189" fmla="*/ 6838931 w 8802663"/>
                <a:gd name="connsiteY189" fmla="*/ 452443 h 1647826"/>
                <a:gd name="connsiteX190" fmla="*/ 6862502 w 8802663"/>
                <a:gd name="connsiteY190" fmla="*/ 431262 h 1647826"/>
                <a:gd name="connsiteX191" fmla="*/ 6862502 w 8802663"/>
                <a:gd name="connsiteY191" fmla="*/ 229692 h 1647826"/>
                <a:gd name="connsiteX192" fmla="*/ 6895122 w 8802663"/>
                <a:gd name="connsiteY192" fmla="*/ 196850 h 1647826"/>
                <a:gd name="connsiteX193" fmla="*/ 7587022 w 8802663"/>
                <a:gd name="connsiteY193" fmla="*/ 1588 h 1647826"/>
                <a:gd name="connsiteX194" fmla="*/ 7695281 w 8802663"/>
                <a:gd name="connsiteY194" fmla="*/ 1588 h 1647826"/>
                <a:gd name="connsiteX195" fmla="*/ 7727949 w 8802663"/>
                <a:gd name="connsiteY195" fmla="*/ 34577 h 1647826"/>
                <a:gd name="connsiteX196" fmla="*/ 7727949 w 8802663"/>
                <a:gd name="connsiteY196" fmla="*/ 255937 h 1647826"/>
                <a:gd name="connsiteX197" fmla="*/ 7695281 w 8802663"/>
                <a:gd name="connsiteY197" fmla="*/ 288926 h 1647826"/>
                <a:gd name="connsiteX198" fmla="*/ 7587022 w 8802663"/>
                <a:gd name="connsiteY198" fmla="*/ 288926 h 1647826"/>
                <a:gd name="connsiteX199" fmla="*/ 7556499 w 8802663"/>
                <a:gd name="connsiteY199" fmla="*/ 255937 h 1647826"/>
                <a:gd name="connsiteX200" fmla="*/ 7556499 w 8802663"/>
                <a:gd name="connsiteY200" fmla="*/ 34577 h 1647826"/>
                <a:gd name="connsiteX201" fmla="*/ 7587022 w 8802663"/>
                <a:gd name="connsiteY201" fmla="*/ 1588 h 1647826"/>
                <a:gd name="connsiteX202" fmla="*/ 30523 w 8802663"/>
                <a:gd name="connsiteY202" fmla="*/ 1588 h 1647826"/>
                <a:gd name="connsiteX203" fmla="*/ 138542 w 8802663"/>
                <a:gd name="connsiteY203" fmla="*/ 1588 h 1647826"/>
                <a:gd name="connsiteX204" fmla="*/ 171450 w 8802663"/>
                <a:gd name="connsiteY204" fmla="*/ 34577 h 1647826"/>
                <a:gd name="connsiteX205" fmla="*/ 171450 w 8802663"/>
                <a:gd name="connsiteY205" fmla="*/ 255937 h 1647826"/>
                <a:gd name="connsiteX206" fmla="*/ 138542 w 8802663"/>
                <a:gd name="connsiteY206" fmla="*/ 288926 h 1647826"/>
                <a:gd name="connsiteX207" fmla="*/ 30523 w 8802663"/>
                <a:gd name="connsiteY207" fmla="*/ 288926 h 1647826"/>
                <a:gd name="connsiteX208" fmla="*/ 0 w 8802663"/>
                <a:gd name="connsiteY208" fmla="*/ 255937 h 1647826"/>
                <a:gd name="connsiteX209" fmla="*/ 0 w 8802663"/>
                <a:gd name="connsiteY209" fmla="*/ 34577 h 1647826"/>
                <a:gd name="connsiteX210" fmla="*/ 30523 w 8802663"/>
                <a:gd name="connsiteY210" fmla="*/ 1588 h 1647826"/>
                <a:gd name="connsiteX211" fmla="*/ 7981519 w 8802663"/>
                <a:gd name="connsiteY211" fmla="*/ 0 h 1647826"/>
                <a:gd name="connsiteX212" fmla="*/ 8087394 w 8802663"/>
                <a:gd name="connsiteY212" fmla="*/ 0 h 1647826"/>
                <a:gd name="connsiteX213" fmla="*/ 8120062 w 8802663"/>
                <a:gd name="connsiteY213" fmla="*/ 32842 h 1647826"/>
                <a:gd name="connsiteX214" fmla="*/ 8120062 w 8802663"/>
                <a:gd name="connsiteY214" fmla="*/ 1614983 h 1647826"/>
                <a:gd name="connsiteX215" fmla="*/ 8087394 w 8802663"/>
                <a:gd name="connsiteY215" fmla="*/ 1647825 h 1647826"/>
                <a:gd name="connsiteX216" fmla="*/ 7981519 w 8802663"/>
                <a:gd name="connsiteY216" fmla="*/ 1647825 h 1647826"/>
                <a:gd name="connsiteX217" fmla="*/ 7948612 w 8802663"/>
                <a:gd name="connsiteY217" fmla="*/ 1614983 h 1647826"/>
                <a:gd name="connsiteX218" fmla="*/ 7948612 w 8802663"/>
                <a:gd name="connsiteY218" fmla="*/ 32842 h 1647826"/>
                <a:gd name="connsiteX219" fmla="*/ 7981519 w 8802663"/>
                <a:gd name="connsiteY219" fmla="*/ 0 h 1647826"/>
                <a:gd name="connsiteX220" fmla="*/ 1922541 w 8802663"/>
                <a:gd name="connsiteY220" fmla="*/ 0 h 1647826"/>
                <a:gd name="connsiteX221" fmla="*/ 2002314 w 8802663"/>
                <a:gd name="connsiteY221" fmla="*/ 0 h 1647826"/>
                <a:gd name="connsiteX222" fmla="*/ 2035175 w 8802663"/>
                <a:gd name="connsiteY222" fmla="*/ 30463 h 1647826"/>
                <a:gd name="connsiteX223" fmla="*/ 2035175 w 8802663"/>
                <a:gd name="connsiteY223" fmla="*/ 117328 h 1647826"/>
                <a:gd name="connsiteX224" fmla="*/ 2002314 w 8802663"/>
                <a:gd name="connsiteY224" fmla="*/ 149932 h 1647826"/>
                <a:gd name="connsiteX225" fmla="*/ 1943735 w 8802663"/>
                <a:gd name="connsiteY225" fmla="*/ 149932 h 1647826"/>
                <a:gd name="connsiteX226" fmla="*/ 1809908 w 8802663"/>
                <a:gd name="connsiteY226" fmla="*/ 198006 h 1647826"/>
                <a:gd name="connsiteX227" fmla="*/ 1772523 w 8802663"/>
                <a:gd name="connsiteY227" fmla="*/ 351746 h 1647826"/>
                <a:gd name="connsiteX228" fmla="*/ 1772523 w 8802663"/>
                <a:gd name="connsiteY228" fmla="*/ 431233 h 1647826"/>
                <a:gd name="connsiteX229" fmla="*/ 1793477 w 8802663"/>
                <a:gd name="connsiteY229" fmla="*/ 452414 h 1647826"/>
                <a:gd name="connsiteX230" fmla="*/ 1999932 w 8802663"/>
                <a:gd name="connsiteY230" fmla="*/ 452414 h 1647826"/>
                <a:gd name="connsiteX231" fmla="*/ 2035175 w 8802663"/>
                <a:gd name="connsiteY231" fmla="*/ 482877 h 1647826"/>
                <a:gd name="connsiteX232" fmla="*/ 2035175 w 8802663"/>
                <a:gd name="connsiteY232" fmla="*/ 569742 h 1647826"/>
                <a:gd name="connsiteX233" fmla="*/ 1999932 w 8802663"/>
                <a:gd name="connsiteY233" fmla="*/ 602346 h 1647826"/>
                <a:gd name="connsiteX234" fmla="*/ 1793477 w 8802663"/>
                <a:gd name="connsiteY234" fmla="*/ 602346 h 1647826"/>
                <a:gd name="connsiteX235" fmla="*/ 1772523 w 8802663"/>
                <a:gd name="connsiteY235" fmla="*/ 623527 h 1647826"/>
                <a:gd name="connsiteX236" fmla="*/ 1772523 w 8802663"/>
                <a:gd name="connsiteY236" fmla="*/ 1614983 h 1647826"/>
                <a:gd name="connsiteX237" fmla="*/ 1737280 w 8802663"/>
                <a:gd name="connsiteY237" fmla="*/ 1647825 h 1647826"/>
                <a:gd name="connsiteX238" fmla="*/ 1634172 w 8802663"/>
                <a:gd name="connsiteY238" fmla="*/ 1647825 h 1647826"/>
                <a:gd name="connsiteX239" fmla="*/ 1601311 w 8802663"/>
                <a:gd name="connsiteY239" fmla="*/ 1614983 h 1647826"/>
                <a:gd name="connsiteX240" fmla="*/ 1601311 w 8802663"/>
                <a:gd name="connsiteY240" fmla="*/ 623527 h 1647826"/>
                <a:gd name="connsiteX241" fmla="*/ 1577737 w 8802663"/>
                <a:gd name="connsiteY241" fmla="*/ 602346 h 1647826"/>
                <a:gd name="connsiteX242" fmla="*/ 1439386 w 8802663"/>
                <a:gd name="connsiteY242" fmla="*/ 602346 h 1647826"/>
                <a:gd name="connsiteX243" fmla="*/ 1406525 w 8802663"/>
                <a:gd name="connsiteY243" fmla="*/ 569742 h 1647826"/>
                <a:gd name="connsiteX244" fmla="*/ 1406525 w 8802663"/>
                <a:gd name="connsiteY244" fmla="*/ 482877 h 1647826"/>
                <a:gd name="connsiteX245" fmla="*/ 1439386 w 8802663"/>
                <a:gd name="connsiteY245" fmla="*/ 452414 h 1647826"/>
                <a:gd name="connsiteX246" fmla="*/ 1577737 w 8802663"/>
                <a:gd name="connsiteY246" fmla="*/ 452414 h 1647826"/>
                <a:gd name="connsiteX247" fmla="*/ 1601311 w 8802663"/>
                <a:gd name="connsiteY247" fmla="*/ 431233 h 1647826"/>
                <a:gd name="connsiteX248" fmla="*/ 1601311 w 8802663"/>
                <a:gd name="connsiteY248" fmla="*/ 344606 h 1647826"/>
                <a:gd name="connsiteX249" fmla="*/ 1683226 w 8802663"/>
                <a:gd name="connsiteY249" fmla="*/ 89007 h 1647826"/>
                <a:gd name="connsiteX250" fmla="*/ 1922541 w 8802663"/>
                <a:gd name="connsiteY250" fmla="*/ 0 h 164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8802663" h="1647826">
                  <a:moveTo>
                    <a:pt x="2498469" y="603250"/>
                  </a:moveTo>
                  <a:cubicBezTo>
                    <a:pt x="2367485" y="603250"/>
                    <a:pt x="2301875" y="670366"/>
                    <a:pt x="2301875" y="804597"/>
                  </a:cubicBezTo>
                  <a:cubicBezTo>
                    <a:pt x="2301875" y="1297016"/>
                    <a:pt x="2301875" y="1297016"/>
                    <a:pt x="2301875" y="1297016"/>
                  </a:cubicBezTo>
                  <a:cubicBezTo>
                    <a:pt x="2301875" y="1431485"/>
                    <a:pt x="2367485" y="1498600"/>
                    <a:pt x="2498469" y="1498600"/>
                  </a:cubicBezTo>
                  <a:cubicBezTo>
                    <a:pt x="2662494" y="1498600"/>
                    <a:pt x="2662494" y="1498600"/>
                    <a:pt x="2662494" y="1498600"/>
                  </a:cubicBezTo>
                  <a:cubicBezTo>
                    <a:pt x="2793478" y="1498600"/>
                    <a:pt x="2859088" y="1431485"/>
                    <a:pt x="2859088" y="1297016"/>
                  </a:cubicBezTo>
                  <a:cubicBezTo>
                    <a:pt x="2859088" y="804597"/>
                    <a:pt x="2859088" y="804597"/>
                    <a:pt x="2859088" y="804597"/>
                  </a:cubicBezTo>
                  <a:cubicBezTo>
                    <a:pt x="2859088" y="670366"/>
                    <a:pt x="2793478" y="603250"/>
                    <a:pt x="2662494" y="603250"/>
                  </a:cubicBezTo>
                  <a:cubicBezTo>
                    <a:pt x="2498469" y="603250"/>
                    <a:pt x="2498469" y="603250"/>
                    <a:pt x="2498469" y="603250"/>
                  </a:cubicBezTo>
                  <a:close/>
                  <a:moveTo>
                    <a:pt x="5984257" y="601663"/>
                  </a:moveTo>
                  <a:cubicBezTo>
                    <a:pt x="5854573" y="601663"/>
                    <a:pt x="5789612" y="669833"/>
                    <a:pt x="5789612" y="805935"/>
                  </a:cubicBezTo>
                  <a:cubicBezTo>
                    <a:pt x="5789612" y="1294329"/>
                    <a:pt x="5789612" y="1294329"/>
                    <a:pt x="5789612" y="1294329"/>
                  </a:cubicBezTo>
                  <a:cubicBezTo>
                    <a:pt x="5789612" y="1430431"/>
                    <a:pt x="5854573" y="1498601"/>
                    <a:pt x="5984257" y="1498601"/>
                  </a:cubicBezTo>
                  <a:cubicBezTo>
                    <a:pt x="6117748" y="1498601"/>
                    <a:pt x="6117748" y="1498601"/>
                    <a:pt x="6117748" y="1498601"/>
                  </a:cubicBezTo>
                  <a:cubicBezTo>
                    <a:pt x="6188182" y="1498601"/>
                    <a:pt x="6241959" y="1479771"/>
                    <a:pt x="6279555" y="1442349"/>
                  </a:cubicBezTo>
                  <a:cubicBezTo>
                    <a:pt x="6317152" y="1404688"/>
                    <a:pt x="6335712" y="1351535"/>
                    <a:pt x="6335712" y="1282650"/>
                  </a:cubicBezTo>
                  <a:cubicBezTo>
                    <a:pt x="6335712" y="622877"/>
                    <a:pt x="6335712" y="622877"/>
                    <a:pt x="6335712" y="622877"/>
                  </a:cubicBezTo>
                  <a:cubicBezTo>
                    <a:pt x="6335712" y="608814"/>
                    <a:pt x="6328098" y="601663"/>
                    <a:pt x="6312393" y="601663"/>
                  </a:cubicBezTo>
                  <a:cubicBezTo>
                    <a:pt x="5984257" y="601663"/>
                    <a:pt x="5984257" y="601663"/>
                    <a:pt x="5984257" y="601663"/>
                  </a:cubicBezTo>
                  <a:close/>
                  <a:moveTo>
                    <a:pt x="8626305" y="452438"/>
                  </a:moveTo>
                  <a:cubicBezTo>
                    <a:pt x="8743366" y="452438"/>
                    <a:pt x="8743366" y="452438"/>
                    <a:pt x="8743366" y="452438"/>
                  </a:cubicBezTo>
                  <a:cubicBezTo>
                    <a:pt x="8755976" y="452438"/>
                    <a:pt x="8764303" y="456008"/>
                    <a:pt x="8768110" y="462909"/>
                  </a:cubicBezTo>
                  <a:cubicBezTo>
                    <a:pt x="8771917" y="470049"/>
                    <a:pt x="8770014" y="479092"/>
                    <a:pt x="8762162" y="490039"/>
                  </a:cubicBezTo>
                  <a:cubicBezTo>
                    <a:pt x="8417641" y="1024311"/>
                    <a:pt x="8417641" y="1024311"/>
                    <a:pt x="8417641" y="1024311"/>
                  </a:cubicBezTo>
                  <a:cubicBezTo>
                    <a:pt x="8417641" y="1033830"/>
                    <a:pt x="8417641" y="1033830"/>
                    <a:pt x="8417641" y="1033830"/>
                  </a:cubicBezTo>
                  <a:cubicBezTo>
                    <a:pt x="8797375" y="1610463"/>
                    <a:pt x="8797375" y="1610463"/>
                    <a:pt x="8797375" y="1610463"/>
                  </a:cubicBezTo>
                  <a:cubicBezTo>
                    <a:pt x="8803561" y="1621410"/>
                    <a:pt x="8804275" y="1630453"/>
                    <a:pt x="8799755" y="1637355"/>
                  </a:cubicBezTo>
                  <a:cubicBezTo>
                    <a:pt x="8794996" y="1644494"/>
                    <a:pt x="8786431" y="1647826"/>
                    <a:pt x="8773820" y="1647826"/>
                  </a:cubicBezTo>
                  <a:cubicBezTo>
                    <a:pt x="8663897" y="1647826"/>
                    <a:pt x="8663897" y="1647826"/>
                    <a:pt x="8663897" y="1647826"/>
                  </a:cubicBezTo>
                  <a:cubicBezTo>
                    <a:pt x="8634156" y="1647826"/>
                    <a:pt x="8612267" y="1637117"/>
                    <a:pt x="8598229" y="1614985"/>
                  </a:cubicBezTo>
                  <a:cubicBezTo>
                    <a:pt x="8237291" y="1057153"/>
                    <a:pt x="8237291" y="1057153"/>
                    <a:pt x="8237291" y="1057153"/>
                  </a:cubicBezTo>
                  <a:cubicBezTo>
                    <a:pt x="8228012" y="1041684"/>
                    <a:pt x="8228012" y="1025263"/>
                    <a:pt x="8237291" y="1007890"/>
                  </a:cubicBezTo>
                  <a:cubicBezTo>
                    <a:pt x="8570154" y="482900"/>
                    <a:pt x="8570154" y="482900"/>
                    <a:pt x="8570154" y="482900"/>
                  </a:cubicBezTo>
                  <a:cubicBezTo>
                    <a:pt x="8579433" y="462671"/>
                    <a:pt x="8598229" y="452438"/>
                    <a:pt x="8626305" y="452438"/>
                  </a:cubicBezTo>
                  <a:close/>
                  <a:moveTo>
                    <a:pt x="7587022" y="452438"/>
                  </a:moveTo>
                  <a:cubicBezTo>
                    <a:pt x="7695281" y="452438"/>
                    <a:pt x="7695281" y="452438"/>
                    <a:pt x="7695281" y="452438"/>
                  </a:cubicBezTo>
                  <a:cubicBezTo>
                    <a:pt x="7716980" y="452438"/>
                    <a:pt x="7727949" y="463385"/>
                    <a:pt x="7727949" y="485280"/>
                  </a:cubicBezTo>
                  <a:cubicBezTo>
                    <a:pt x="7727949" y="1615223"/>
                    <a:pt x="7727949" y="1615223"/>
                    <a:pt x="7727949" y="1615223"/>
                  </a:cubicBezTo>
                  <a:cubicBezTo>
                    <a:pt x="7727949" y="1637117"/>
                    <a:pt x="7716980" y="1647826"/>
                    <a:pt x="7695281" y="1647826"/>
                  </a:cubicBezTo>
                  <a:cubicBezTo>
                    <a:pt x="7589406" y="1647826"/>
                    <a:pt x="7589406" y="1647826"/>
                    <a:pt x="7589406" y="1647826"/>
                  </a:cubicBezTo>
                  <a:cubicBezTo>
                    <a:pt x="7567468" y="1647826"/>
                    <a:pt x="7556499" y="1637117"/>
                    <a:pt x="7556499" y="1615223"/>
                  </a:cubicBezTo>
                  <a:cubicBezTo>
                    <a:pt x="7556499" y="485280"/>
                    <a:pt x="7556499" y="485280"/>
                    <a:pt x="7556499" y="485280"/>
                  </a:cubicBezTo>
                  <a:cubicBezTo>
                    <a:pt x="7556499" y="463385"/>
                    <a:pt x="7566753" y="452438"/>
                    <a:pt x="7587022" y="452438"/>
                  </a:cubicBezTo>
                  <a:close/>
                  <a:moveTo>
                    <a:pt x="5965379" y="452438"/>
                  </a:moveTo>
                  <a:cubicBezTo>
                    <a:pt x="6474536" y="452438"/>
                    <a:pt x="6474536" y="452438"/>
                    <a:pt x="6474536" y="452438"/>
                  </a:cubicBezTo>
                  <a:cubicBezTo>
                    <a:pt x="6496207" y="452438"/>
                    <a:pt x="6507162" y="463385"/>
                    <a:pt x="6507162" y="485280"/>
                  </a:cubicBezTo>
                  <a:cubicBezTo>
                    <a:pt x="6507162" y="1615223"/>
                    <a:pt x="6507162" y="1615223"/>
                    <a:pt x="6507162" y="1615223"/>
                  </a:cubicBezTo>
                  <a:cubicBezTo>
                    <a:pt x="6507162" y="1637117"/>
                    <a:pt x="6496207" y="1647826"/>
                    <a:pt x="6474536" y="1647826"/>
                  </a:cubicBezTo>
                  <a:cubicBezTo>
                    <a:pt x="6368799" y="1647826"/>
                    <a:pt x="6368799" y="1647826"/>
                    <a:pt x="6368799" y="1647826"/>
                  </a:cubicBezTo>
                  <a:cubicBezTo>
                    <a:pt x="6346890" y="1647826"/>
                    <a:pt x="6335935" y="1637117"/>
                    <a:pt x="6335935" y="1615223"/>
                  </a:cubicBezTo>
                  <a:cubicBezTo>
                    <a:pt x="6335935" y="1523599"/>
                    <a:pt x="6335935" y="1523599"/>
                    <a:pt x="6335935" y="1523599"/>
                  </a:cubicBezTo>
                  <a:cubicBezTo>
                    <a:pt x="6326647" y="1523599"/>
                    <a:pt x="6326647" y="1523599"/>
                    <a:pt x="6326647" y="1523599"/>
                  </a:cubicBezTo>
                  <a:cubicBezTo>
                    <a:pt x="6287591" y="1606417"/>
                    <a:pt x="6207812" y="1647826"/>
                    <a:pt x="6087310" y="1647826"/>
                  </a:cubicBezTo>
                  <a:cubicBezTo>
                    <a:pt x="5965379" y="1647826"/>
                    <a:pt x="5965379" y="1647826"/>
                    <a:pt x="5965379" y="1647826"/>
                  </a:cubicBezTo>
                  <a:cubicBezTo>
                    <a:pt x="5857499" y="1647826"/>
                    <a:pt x="5772719" y="1617364"/>
                    <a:pt x="5711039" y="1556441"/>
                  </a:cubicBezTo>
                  <a:cubicBezTo>
                    <a:pt x="5649121" y="1495517"/>
                    <a:pt x="5618162" y="1410319"/>
                    <a:pt x="5618162" y="1301085"/>
                  </a:cubicBezTo>
                  <a:cubicBezTo>
                    <a:pt x="5618162" y="799417"/>
                    <a:pt x="5618162" y="799417"/>
                    <a:pt x="5618162" y="799417"/>
                  </a:cubicBezTo>
                  <a:cubicBezTo>
                    <a:pt x="5618162" y="689945"/>
                    <a:pt x="5649121" y="604747"/>
                    <a:pt x="5711039" y="543824"/>
                  </a:cubicBezTo>
                  <a:cubicBezTo>
                    <a:pt x="5772719" y="482900"/>
                    <a:pt x="5857499" y="452438"/>
                    <a:pt x="5965379" y="452438"/>
                  </a:cubicBezTo>
                  <a:close/>
                  <a:moveTo>
                    <a:pt x="3952348" y="452438"/>
                  </a:moveTo>
                  <a:cubicBezTo>
                    <a:pt x="4057677" y="452438"/>
                    <a:pt x="4057677" y="452438"/>
                    <a:pt x="4057677" y="452438"/>
                  </a:cubicBezTo>
                  <a:cubicBezTo>
                    <a:pt x="4079551" y="452438"/>
                    <a:pt x="4090488" y="463385"/>
                    <a:pt x="4090488" y="485280"/>
                  </a:cubicBezTo>
                  <a:cubicBezTo>
                    <a:pt x="4090488" y="576665"/>
                    <a:pt x="4090488" y="576665"/>
                    <a:pt x="4090488" y="576665"/>
                  </a:cubicBezTo>
                  <a:cubicBezTo>
                    <a:pt x="4099761" y="576665"/>
                    <a:pt x="4099761" y="576665"/>
                    <a:pt x="4099761" y="576665"/>
                  </a:cubicBezTo>
                  <a:cubicBezTo>
                    <a:pt x="4143509" y="493847"/>
                    <a:pt x="4226250" y="452438"/>
                    <a:pt x="4347984" y="452438"/>
                  </a:cubicBezTo>
                  <a:cubicBezTo>
                    <a:pt x="4434767" y="452438"/>
                    <a:pt x="4434767" y="452438"/>
                    <a:pt x="4434767" y="452438"/>
                  </a:cubicBezTo>
                  <a:cubicBezTo>
                    <a:pt x="4571956" y="452438"/>
                    <a:pt x="4667299" y="505508"/>
                    <a:pt x="4720557" y="611887"/>
                  </a:cubicBezTo>
                  <a:cubicBezTo>
                    <a:pt x="4745285" y="560244"/>
                    <a:pt x="4784753" y="520739"/>
                    <a:pt x="4838725" y="493371"/>
                  </a:cubicBezTo>
                  <a:cubicBezTo>
                    <a:pt x="4892460" y="466241"/>
                    <a:pt x="4949047" y="452438"/>
                    <a:pt x="5008487" y="452438"/>
                  </a:cubicBezTo>
                  <a:cubicBezTo>
                    <a:pt x="5090515" y="452438"/>
                    <a:pt x="5090515" y="452438"/>
                    <a:pt x="5090515" y="452438"/>
                  </a:cubicBezTo>
                  <a:cubicBezTo>
                    <a:pt x="5196557" y="452438"/>
                    <a:pt x="5279299" y="482900"/>
                    <a:pt x="5338739" y="543824"/>
                  </a:cubicBezTo>
                  <a:cubicBezTo>
                    <a:pt x="5397942" y="604747"/>
                    <a:pt x="5427662" y="689945"/>
                    <a:pt x="5427662" y="799417"/>
                  </a:cubicBezTo>
                  <a:cubicBezTo>
                    <a:pt x="5427662" y="1614985"/>
                    <a:pt x="5427662" y="1614985"/>
                    <a:pt x="5427662" y="1614985"/>
                  </a:cubicBezTo>
                  <a:cubicBezTo>
                    <a:pt x="5427662" y="1637117"/>
                    <a:pt x="5416725" y="1647826"/>
                    <a:pt x="5394851" y="1647826"/>
                  </a:cubicBezTo>
                  <a:cubicBezTo>
                    <a:pt x="5289522" y="1647826"/>
                    <a:pt x="5289522" y="1647826"/>
                    <a:pt x="5289522" y="1647826"/>
                  </a:cubicBezTo>
                  <a:cubicBezTo>
                    <a:pt x="5267648" y="1647826"/>
                    <a:pt x="5256711" y="1637117"/>
                    <a:pt x="5256711" y="1614985"/>
                  </a:cubicBezTo>
                  <a:cubicBezTo>
                    <a:pt x="5256711" y="806319"/>
                    <a:pt x="5256711" y="806319"/>
                    <a:pt x="5256711" y="806319"/>
                  </a:cubicBezTo>
                  <a:cubicBezTo>
                    <a:pt x="5256711" y="670430"/>
                    <a:pt x="5191089" y="602605"/>
                    <a:pt x="5060082" y="602605"/>
                  </a:cubicBezTo>
                  <a:cubicBezTo>
                    <a:pt x="4982809" y="602605"/>
                    <a:pt x="4982809" y="602605"/>
                    <a:pt x="4982809" y="602605"/>
                  </a:cubicBezTo>
                  <a:cubicBezTo>
                    <a:pt x="4912432" y="602605"/>
                    <a:pt x="4858222" y="622358"/>
                    <a:pt x="4819942" y="662339"/>
                  </a:cubicBezTo>
                  <a:cubicBezTo>
                    <a:pt x="4781662" y="702082"/>
                    <a:pt x="4762641" y="756342"/>
                    <a:pt x="4762641" y="825119"/>
                  </a:cubicBezTo>
                  <a:cubicBezTo>
                    <a:pt x="4762641" y="1614985"/>
                    <a:pt x="4762641" y="1614985"/>
                    <a:pt x="4762641" y="1614985"/>
                  </a:cubicBezTo>
                  <a:cubicBezTo>
                    <a:pt x="4762641" y="1637117"/>
                    <a:pt x="4751704" y="1647826"/>
                    <a:pt x="4729830" y="1647826"/>
                  </a:cubicBezTo>
                  <a:cubicBezTo>
                    <a:pt x="4624502" y="1647826"/>
                    <a:pt x="4624502" y="1647826"/>
                    <a:pt x="4624502" y="1647826"/>
                  </a:cubicBezTo>
                  <a:cubicBezTo>
                    <a:pt x="4602628" y="1647826"/>
                    <a:pt x="4591690" y="1637117"/>
                    <a:pt x="4591690" y="1614985"/>
                  </a:cubicBezTo>
                  <a:cubicBezTo>
                    <a:pt x="4591690" y="806319"/>
                    <a:pt x="4591690" y="806319"/>
                    <a:pt x="4591690" y="806319"/>
                  </a:cubicBezTo>
                  <a:cubicBezTo>
                    <a:pt x="4591690" y="670430"/>
                    <a:pt x="4526068" y="602605"/>
                    <a:pt x="4394824" y="602605"/>
                  </a:cubicBezTo>
                  <a:cubicBezTo>
                    <a:pt x="4308278" y="602605"/>
                    <a:pt x="4308278" y="602605"/>
                    <a:pt x="4308278" y="602605"/>
                  </a:cubicBezTo>
                  <a:cubicBezTo>
                    <a:pt x="4237901" y="602605"/>
                    <a:pt x="4184166" y="621168"/>
                    <a:pt x="4146600" y="658769"/>
                  </a:cubicBezTo>
                  <a:cubicBezTo>
                    <a:pt x="4109271" y="696371"/>
                    <a:pt x="4090488" y="749441"/>
                    <a:pt x="4090488" y="818218"/>
                  </a:cubicBezTo>
                  <a:cubicBezTo>
                    <a:pt x="4090488" y="1614985"/>
                    <a:pt x="4090488" y="1614985"/>
                    <a:pt x="4090488" y="1614985"/>
                  </a:cubicBezTo>
                  <a:cubicBezTo>
                    <a:pt x="4090488" y="1637117"/>
                    <a:pt x="4079551" y="1647826"/>
                    <a:pt x="4057677" y="1647826"/>
                  </a:cubicBezTo>
                  <a:cubicBezTo>
                    <a:pt x="3952348" y="1647826"/>
                    <a:pt x="3952348" y="1647826"/>
                    <a:pt x="3952348" y="1647826"/>
                  </a:cubicBezTo>
                  <a:cubicBezTo>
                    <a:pt x="3930474" y="1647826"/>
                    <a:pt x="3919537" y="1637117"/>
                    <a:pt x="3919537" y="1614985"/>
                  </a:cubicBezTo>
                  <a:cubicBezTo>
                    <a:pt x="3919537" y="485280"/>
                    <a:pt x="3919537" y="485280"/>
                    <a:pt x="3919537" y="485280"/>
                  </a:cubicBezTo>
                  <a:cubicBezTo>
                    <a:pt x="3919537" y="463385"/>
                    <a:pt x="3930474" y="452438"/>
                    <a:pt x="3952348" y="452438"/>
                  </a:cubicBezTo>
                  <a:close/>
                  <a:moveTo>
                    <a:pt x="3247193" y="452438"/>
                  </a:moveTo>
                  <a:cubicBezTo>
                    <a:pt x="3352536" y="452438"/>
                    <a:pt x="3352536" y="452438"/>
                    <a:pt x="3352536" y="452438"/>
                  </a:cubicBezTo>
                  <a:cubicBezTo>
                    <a:pt x="3374127" y="452438"/>
                    <a:pt x="3385041" y="463385"/>
                    <a:pt x="3385041" y="485280"/>
                  </a:cubicBezTo>
                  <a:cubicBezTo>
                    <a:pt x="3385041" y="579045"/>
                    <a:pt x="3385041" y="579045"/>
                    <a:pt x="3385041" y="579045"/>
                  </a:cubicBezTo>
                  <a:cubicBezTo>
                    <a:pt x="3394531" y="579045"/>
                    <a:pt x="3394531" y="579045"/>
                    <a:pt x="3394531" y="579045"/>
                  </a:cubicBezTo>
                  <a:cubicBezTo>
                    <a:pt x="3410190" y="544775"/>
                    <a:pt x="3439611" y="515028"/>
                    <a:pt x="3483267" y="490039"/>
                  </a:cubicBezTo>
                  <a:cubicBezTo>
                    <a:pt x="3526923" y="465051"/>
                    <a:pt x="3578408" y="452438"/>
                    <a:pt x="3637486" y="452438"/>
                  </a:cubicBezTo>
                  <a:cubicBezTo>
                    <a:pt x="3728831" y="452438"/>
                    <a:pt x="3728831" y="452438"/>
                    <a:pt x="3728831" y="452438"/>
                  </a:cubicBezTo>
                  <a:cubicBezTo>
                    <a:pt x="3748998" y="452438"/>
                    <a:pt x="3759201" y="463385"/>
                    <a:pt x="3759201" y="485280"/>
                  </a:cubicBezTo>
                  <a:cubicBezTo>
                    <a:pt x="3759201" y="571906"/>
                    <a:pt x="3759201" y="571906"/>
                    <a:pt x="3759201" y="571906"/>
                  </a:cubicBezTo>
                  <a:cubicBezTo>
                    <a:pt x="3759201" y="582853"/>
                    <a:pt x="3756828" y="591182"/>
                    <a:pt x="3752083" y="596656"/>
                  </a:cubicBezTo>
                  <a:cubicBezTo>
                    <a:pt x="3747338" y="602129"/>
                    <a:pt x="3739508" y="604033"/>
                    <a:pt x="3728831" y="602605"/>
                  </a:cubicBezTo>
                  <a:cubicBezTo>
                    <a:pt x="3602609" y="602605"/>
                    <a:pt x="3602609" y="602605"/>
                    <a:pt x="3602609" y="602605"/>
                  </a:cubicBezTo>
                  <a:cubicBezTo>
                    <a:pt x="3532380" y="602605"/>
                    <a:pt x="3478759" y="623548"/>
                    <a:pt x="3441272" y="665909"/>
                  </a:cubicBezTo>
                  <a:cubicBezTo>
                    <a:pt x="3403784" y="708032"/>
                    <a:pt x="3385041" y="765862"/>
                    <a:pt x="3385041" y="839160"/>
                  </a:cubicBezTo>
                  <a:cubicBezTo>
                    <a:pt x="3385041" y="1614985"/>
                    <a:pt x="3385041" y="1614985"/>
                    <a:pt x="3385041" y="1614985"/>
                  </a:cubicBezTo>
                  <a:cubicBezTo>
                    <a:pt x="3385041" y="1637117"/>
                    <a:pt x="3374127" y="1647826"/>
                    <a:pt x="3352536" y="1647826"/>
                  </a:cubicBezTo>
                  <a:cubicBezTo>
                    <a:pt x="3247193" y="1647826"/>
                    <a:pt x="3247193" y="1647826"/>
                    <a:pt x="3247193" y="1647826"/>
                  </a:cubicBezTo>
                  <a:cubicBezTo>
                    <a:pt x="3225365" y="1647826"/>
                    <a:pt x="3214688" y="1637117"/>
                    <a:pt x="3214688" y="1614985"/>
                  </a:cubicBezTo>
                  <a:cubicBezTo>
                    <a:pt x="3214688" y="485280"/>
                    <a:pt x="3214688" y="485280"/>
                    <a:pt x="3214688" y="485280"/>
                  </a:cubicBezTo>
                  <a:cubicBezTo>
                    <a:pt x="3214688" y="463385"/>
                    <a:pt x="3225365" y="452438"/>
                    <a:pt x="3247193" y="452438"/>
                  </a:cubicBezTo>
                  <a:close/>
                  <a:moveTo>
                    <a:pt x="2479749" y="452438"/>
                  </a:moveTo>
                  <a:cubicBezTo>
                    <a:pt x="2680976" y="452438"/>
                    <a:pt x="2680976" y="452438"/>
                    <a:pt x="2680976" y="452438"/>
                  </a:cubicBezTo>
                  <a:cubicBezTo>
                    <a:pt x="2788598" y="452438"/>
                    <a:pt x="2873413" y="482900"/>
                    <a:pt x="2934946" y="543824"/>
                  </a:cubicBezTo>
                  <a:cubicBezTo>
                    <a:pt x="2996478" y="604747"/>
                    <a:pt x="3027363" y="689945"/>
                    <a:pt x="3027363" y="799417"/>
                  </a:cubicBezTo>
                  <a:cubicBezTo>
                    <a:pt x="3027363" y="1301085"/>
                    <a:pt x="3027363" y="1301085"/>
                    <a:pt x="3027363" y="1301085"/>
                  </a:cubicBezTo>
                  <a:cubicBezTo>
                    <a:pt x="3027363" y="1410319"/>
                    <a:pt x="2996478" y="1495517"/>
                    <a:pt x="2934946" y="1556441"/>
                  </a:cubicBezTo>
                  <a:cubicBezTo>
                    <a:pt x="2873413" y="1617364"/>
                    <a:pt x="2788598" y="1647826"/>
                    <a:pt x="2680976" y="1647826"/>
                  </a:cubicBezTo>
                  <a:cubicBezTo>
                    <a:pt x="2479749" y="1647826"/>
                    <a:pt x="2479749" y="1647826"/>
                    <a:pt x="2479749" y="1647826"/>
                  </a:cubicBezTo>
                  <a:cubicBezTo>
                    <a:pt x="2372127" y="1647826"/>
                    <a:pt x="2287550" y="1617364"/>
                    <a:pt x="2226017" y="1556441"/>
                  </a:cubicBezTo>
                  <a:cubicBezTo>
                    <a:pt x="2164247" y="1495517"/>
                    <a:pt x="2133600" y="1410319"/>
                    <a:pt x="2133600" y="1301085"/>
                  </a:cubicBezTo>
                  <a:cubicBezTo>
                    <a:pt x="2133600" y="799417"/>
                    <a:pt x="2133600" y="799417"/>
                    <a:pt x="2133600" y="799417"/>
                  </a:cubicBezTo>
                  <a:cubicBezTo>
                    <a:pt x="2133600" y="689945"/>
                    <a:pt x="2164247" y="604747"/>
                    <a:pt x="2226017" y="543824"/>
                  </a:cubicBezTo>
                  <a:cubicBezTo>
                    <a:pt x="2287550" y="482900"/>
                    <a:pt x="2372127" y="452438"/>
                    <a:pt x="2479749" y="452438"/>
                  </a:cubicBezTo>
                  <a:close/>
                  <a:moveTo>
                    <a:pt x="424918" y="452438"/>
                  </a:moveTo>
                  <a:cubicBezTo>
                    <a:pt x="530229" y="452438"/>
                    <a:pt x="530229" y="452438"/>
                    <a:pt x="530229" y="452438"/>
                  </a:cubicBezTo>
                  <a:cubicBezTo>
                    <a:pt x="552099" y="452438"/>
                    <a:pt x="563034" y="463385"/>
                    <a:pt x="563034" y="485280"/>
                  </a:cubicBezTo>
                  <a:cubicBezTo>
                    <a:pt x="563034" y="576665"/>
                    <a:pt x="563034" y="576665"/>
                    <a:pt x="563034" y="576665"/>
                  </a:cubicBezTo>
                  <a:cubicBezTo>
                    <a:pt x="572305" y="576665"/>
                    <a:pt x="572305" y="576665"/>
                    <a:pt x="572305" y="576665"/>
                  </a:cubicBezTo>
                  <a:cubicBezTo>
                    <a:pt x="611292" y="493847"/>
                    <a:pt x="690929" y="452438"/>
                    <a:pt x="811216" y="452438"/>
                  </a:cubicBezTo>
                  <a:cubicBezTo>
                    <a:pt x="942437" y="452438"/>
                    <a:pt x="942437" y="452438"/>
                    <a:pt x="942437" y="452438"/>
                  </a:cubicBezTo>
                  <a:cubicBezTo>
                    <a:pt x="1048461" y="452438"/>
                    <a:pt x="1131187" y="482900"/>
                    <a:pt x="1190618" y="543824"/>
                  </a:cubicBezTo>
                  <a:cubicBezTo>
                    <a:pt x="1249811" y="604747"/>
                    <a:pt x="1279525" y="689945"/>
                    <a:pt x="1279525" y="799417"/>
                  </a:cubicBezTo>
                  <a:cubicBezTo>
                    <a:pt x="1279525" y="1614985"/>
                    <a:pt x="1279525" y="1614985"/>
                    <a:pt x="1279525" y="1614985"/>
                  </a:cubicBezTo>
                  <a:cubicBezTo>
                    <a:pt x="1279525" y="1637117"/>
                    <a:pt x="1268591" y="1647826"/>
                    <a:pt x="1246720" y="1647826"/>
                  </a:cubicBezTo>
                  <a:cubicBezTo>
                    <a:pt x="1141410" y="1647826"/>
                    <a:pt x="1141410" y="1647826"/>
                    <a:pt x="1141410" y="1647826"/>
                  </a:cubicBezTo>
                  <a:cubicBezTo>
                    <a:pt x="1119539" y="1647826"/>
                    <a:pt x="1108604" y="1637117"/>
                    <a:pt x="1108604" y="1614985"/>
                  </a:cubicBezTo>
                  <a:cubicBezTo>
                    <a:pt x="1108604" y="806319"/>
                    <a:pt x="1108604" y="806319"/>
                    <a:pt x="1108604" y="806319"/>
                  </a:cubicBezTo>
                  <a:cubicBezTo>
                    <a:pt x="1108604" y="670430"/>
                    <a:pt x="1042993" y="602605"/>
                    <a:pt x="912009" y="602605"/>
                  </a:cubicBezTo>
                  <a:cubicBezTo>
                    <a:pt x="780787" y="602605"/>
                    <a:pt x="780787" y="602605"/>
                    <a:pt x="780787" y="602605"/>
                  </a:cubicBezTo>
                  <a:cubicBezTo>
                    <a:pt x="710421" y="602605"/>
                    <a:pt x="656696" y="621168"/>
                    <a:pt x="619137" y="658769"/>
                  </a:cubicBezTo>
                  <a:cubicBezTo>
                    <a:pt x="581815" y="696371"/>
                    <a:pt x="563034" y="749441"/>
                    <a:pt x="563034" y="818218"/>
                  </a:cubicBezTo>
                  <a:cubicBezTo>
                    <a:pt x="563034" y="1614985"/>
                    <a:pt x="563034" y="1614985"/>
                    <a:pt x="563034" y="1614985"/>
                  </a:cubicBezTo>
                  <a:cubicBezTo>
                    <a:pt x="563034" y="1637117"/>
                    <a:pt x="552099" y="1647826"/>
                    <a:pt x="530229" y="1647826"/>
                  </a:cubicBezTo>
                  <a:cubicBezTo>
                    <a:pt x="424918" y="1647826"/>
                    <a:pt x="424918" y="1647826"/>
                    <a:pt x="424918" y="1647826"/>
                  </a:cubicBezTo>
                  <a:cubicBezTo>
                    <a:pt x="403048" y="1647826"/>
                    <a:pt x="392113" y="1637117"/>
                    <a:pt x="392113" y="1614985"/>
                  </a:cubicBezTo>
                  <a:cubicBezTo>
                    <a:pt x="392113" y="485280"/>
                    <a:pt x="392113" y="485280"/>
                    <a:pt x="392113" y="485280"/>
                  </a:cubicBezTo>
                  <a:cubicBezTo>
                    <a:pt x="392113" y="463385"/>
                    <a:pt x="403048" y="452438"/>
                    <a:pt x="424918" y="452438"/>
                  </a:cubicBezTo>
                  <a:close/>
                  <a:moveTo>
                    <a:pt x="30523" y="452438"/>
                  </a:moveTo>
                  <a:cubicBezTo>
                    <a:pt x="138542" y="452438"/>
                    <a:pt x="138542" y="452438"/>
                    <a:pt x="138542" y="452438"/>
                  </a:cubicBezTo>
                  <a:cubicBezTo>
                    <a:pt x="160480" y="452438"/>
                    <a:pt x="171450" y="463385"/>
                    <a:pt x="171450" y="485280"/>
                  </a:cubicBezTo>
                  <a:cubicBezTo>
                    <a:pt x="171450" y="1615223"/>
                    <a:pt x="171450" y="1615223"/>
                    <a:pt x="171450" y="1615223"/>
                  </a:cubicBezTo>
                  <a:cubicBezTo>
                    <a:pt x="171450" y="1637117"/>
                    <a:pt x="160480" y="1647826"/>
                    <a:pt x="138542" y="1647826"/>
                  </a:cubicBezTo>
                  <a:cubicBezTo>
                    <a:pt x="32906" y="1647826"/>
                    <a:pt x="32906" y="1647826"/>
                    <a:pt x="32906" y="1647826"/>
                  </a:cubicBezTo>
                  <a:cubicBezTo>
                    <a:pt x="10968" y="1647826"/>
                    <a:pt x="0" y="1637117"/>
                    <a:pt x="0" y="1615223"/>
                  </a:cubicBezTo>
                  <a:cubicBezTo>
                    <a:pt x="0" y="485280"/>
                    <a:pt x="0" y="485280"/>
                    <a:pt x="0" y="485280"/>
                  </a:cubicBezTo>
                  <a:cubicBezTo>
                    <a:pt x="0" y="463385"/>
                    <a:pt x="10015" y="452438"/>
                    <a:pt x="30523" y="452438"/>
                  </a:cubicBezTo>
                  <a:close/>
                  <a:moveTo>
                    <a:pt x="6895122" y="196850"/>
                  </a:moveTo>
                  <a:cubicBezTo>
                    <a:pt x="7000837" y="196850"/>
                    <a:pt x="7000837" y="196850"/>
                    <a:pt x="7000837" y="196850"/>
                  </a:cubicBezTo>
                  <a:cubicBezTo>
                    <a:pt x="7021075" y="196850"/>
                    <a:pt x="7031313" y="208035"/>
                    <a:pt x="7031313" y="229692"/>
                  </a:cubicBezTo>
                  <a:cubicBezTo>
                    <a:pt x="7031313" y="431262"/>
                    <a:pt x="7031313" y="431262"/>
                    <a:pt x="7031313" y="431262"/>
                  </a:cubicBezTo>
                  <a:cubicBezTo>
                    <a:pt x="7031313" y="445541"/>
                    <a:pt x="7039885" y="452443"/>
                    <a:pt x="7057028" y="452443"/>
                  </a:cubicBezTo>
                  <a:cubicBezTo>
                    <a:pt x="7305602" y="452443"/>
                    <a:pt x="7305602" y="452443"/>
                    <a:pt x="7305602" y="452443"/>
                  </a:cubicBezTo>
                  <a:cubicBezTo>
                    <a:pt x="7329174" y="452443"/>
                    <a:pt x="7340840" y="463390"/>
                    <a:pt x="7340840" y="485284"/>
                  </a:cubicBezTo>
                  <a:cubicBezTo>
                    <a:pt x="7340840" y="571909"/>
                    <a:pt x="7340840" y="571909"/>
                    <a:pt x="7340840" y="571909"/>
                  </a:cubicBezTo>
                  <a:cubicBezTo>
                    <a:pt x="7340840" y="592376"/>
                    <a:pt x="7329174" y="602371"/>
                    <a:pt x="7305602" y="602371"/>
                  </a:cubicBezTo>
                  <a:cubicBezTo>
                    <a:pt x="7057028" y="602371"/>
                    <a:pt x="7057028" y="602371"/>
                    <a:pt x="7057028" y="602371"/>
                  </a:cubicBezTo>
                  <a:cubicBezTo>
                    <a:pt x="7039885" y="602371"/>
                    <a:pt x="7031313" y="609511"/>
                    <a:pt x="7031313" y="623551"/>
                  </a:cubicBezTo>
                  <a:cubicBezTo>
                    <a:pt x="7031313" y="1298706"/>
                    <a:pt x="7031313" y="1298706"/>
                    <a:pt x="7031313" y="1298706"/>
                  </a:cubicBezTo>
                  <a:cubicBezTo>
                    <a:pt x="7031313" y="1431500"/>
                    <a:pt x="7100124" y="1497897"/>
                    <a:pt x="7237744" y="1497897"/>
                  </a:cubicBezTo>
                  <a:cubicBezTo>
                    <a:pt x="7329174" y="1497897"/>
                    <a:pt x="7329174" y="1497897"/>
                    <a:pt x="7329174" y="1497897"/>
                  </a:cubicBezTo>
                  <a:cubicBezTo>
                    <a:pt x="7352507" y="1497897"/>
                    <a:pt x="7364412" y="1508844"/>
                    <a:pt x="7364412" y="1530738"/>
                  </a:cubicBezTo>
                  <a:cubicBezTo>
                    <a:pt x="7364412" y="1617364"/>
                    <a:pt x="7364412" y="1617364"/>
                    <a:pt x="7364412" y="1617364"/>
                  </a:cubicBezTo>
                  <a:cubicBezTo>
                    <a:pt x="7364412" y="1637830"/>
                    <a:pt x="7352507" y="1647825"/>
                    <a:pt x="7329174" y="1647825"/>
                  </a:cubicBezTo>
                  <a:cubicBezTo>
                    <a:pt x="7216553" y="1647825"/>
                    <a:pt x="7216553" y="1647825"/>
                    <a:pt x="7216553" y="1647825"/>
                  </a:cubicBezTo>
                  <a:cubicBezTo>
                    <a:pt x="7108695" y="1647825"/>
                    <a:pt x="7022504" y="1617839"/>
                    <a:pt x="6958694" y="1557630"/>
                  </a:cubicBezTo>
                  <a:cubicBezTo>
                    <a:pt x="6894407" y="1497421"/>
                    <a:pt x="6862502" y="1413651"/>
                    <a:pt x="6862502" y="1305607"/>
                  </a:cubicBezTo>
                  <a:cubicBezTo>
                    <a:pt x="6862502" y="623551"/>
                    <a:pt x="6862502" y="623551"/>
                    <a:pt x="6862502" y="623551"/>
                  </a:cubicBezTo>
                  <a:cubicBezTo>
                    <a:pt x="6862502" y="609511"/>
                    <a:pt x="6854645" y="602371"/>
                    <a:pt x="6838931" y="602371"/>
                  </a:cubicBezTo>
                  <a:cubicBezTo>
                    <a:pt x="6709882" y="602371"/>
                    <a:pt x="6709882" y="602371"/>
                    <a:pt x="6709882" y="602371"/>
                  </a:cubicBezTo>
                  <a:cubicBezTo>
                    <a:pt x="6687977" y="602371"/>
                    <a:pt x="6677024" y="592376"/>
                    <a:pt x="6677024" y="571909"/>
                  </a:cubicBezTo>
                  <a:cubicBezTo>
                    <a:pt x="6677024" y="485284"/>
                    <a:pt x="6677024" y="485284"/>
                    <a:pt x="6677024" y="485284"/>
                  </a:cubicBezTo>
                  <a:cubicBezTo>
                    <a:pt x="6677024" y="463390"/>
                    <a:pt x="6687977" y="452443"/>
                    <a:pt x="6709882" y="452443"/>
                  </a:cubicBezTo>
                  <a:cubicBezTo>
                    <a:pt x="6838931" y="452443"/>
                    <a:pt x="6838931" y="452443"/>
                    <a:pt x="6838931" y="452443"/>
                  </a:cubicBezTo>
                  <a:cubicBezTo>
                    <a:pt x="6854645" y="452443"/>
                    <a:pt x="6862502" y="445541"/>
                    <a:pt x="6862502" y="431262"/>
                  </a:cubicBezTo>
                  <a:cubicBezTo>
                    <a:pt x="6862502" y="229692"/>
                    <a:pt x="6862502" y="229692"/>
                    <a:pt x="6862502" y="229692"/>
                  </a:cubicBezTo>
                  <a:cubicBezTo>
                    <a:pt x="6862502" y="208035"/>
                    <a:pt x="6873217" y="196850"/>
                    <a:pt x="6895122" y="196850"/>
                  </a:cubicBezTo>
                  <a:close/>
                  <a:moveTo>
                    <a:pt x="7587022" y="1588"/>
                  </a:moveTo>
                  <a:cubicBezTo>
                    <a:pt x="7695281" y="1588"/>
                    <a:pt x="7695281" y="1588"/>
                    <a:pt x="7695281" y="1588"/>
                  </a:cubicBezTo>
                  <a:cubicBezTo>
                    <a:pt x="7716980" y="1588"/>
                    <a:pt x="7727949" y="12584"/>
                    <a:pt x="7727949" y="34577"/>
                  </a:cubicBezTo>
                  <a:cubicBezTo>
                    <a:pt x="7727949" y="255937"/>
                    <a:pt x="7727949" y="255937"/>
                    <a:pt x="7727949" y="255937"/>
                  </a:cubicBezTo>
                  <a:cubicBezTo>
                    <a:pt x="7727949" y="277930"/>
                    <a:pt x="7716980" y="288926"/>
                    <a:pt x="7695281" y="288926"/>
                  </a:cubicBezTo>
                  <a:cubicBezTo>
                    <a:pt x="7587022" y="288926"/>
                    <a:pt x="7587022" y="288926"/>
                    <a:pt x="7587022" y="288926"/>
                  </a:cubicBezTo>
                  <a:cubicBezTo>
                    <a:pt x="7566753" y="288926"/>
                    <a:pt x="7556499" y="277930"/>
                    <a:pt x="7556499" y="255937"/>
                  </a:cubicBezTo>
                  <a:cubicBezTo>
                    <a:pt x="7556499" y="34577"/>
                    <a:pt x="7556499" y="34577"/>
                    <a:pt x="7556499" y="34577"/>
                  </a:cubicBezTo>
                  <a:cubicBezTo>
                    <a:pt x="7556499" y="12584"/>
                    <a:pt x="7566753" y="1588"/>
                    <a:pt x="7587022" y="1588"/>
                  </a:cubicBezTo>
                  <a:close/>
                  <a:moveTo>
                    <a:pt x="30523" y="1588"/>
                  </a:moveTo>
                  <a:cubicBezTo>
                    <a:pt x="138542" y="1588"/>
                    <a:pt x="138542" y="1588"/>
                    <a:pt x="138542" y="1588"/>
                  </a:cubicBezTo>
                  <a:cubicBezTo>
                    <a:pt x="160480" y="1588"/>
                    <a:pt x="171450" y="12584"/>
                    <a:pt x="171450" y="34577"/>
                  </a:cubicBezTo>
                  <a:cubicBezTo>
                    <a:pt x="171450" y="255937"/>
                    <a:pt x="171450" y="255937"/>
                    <a:pt x="171450" y="255937"/>
                  </a:cubicBezTo>
                  <a:cubicBezTo>
                    <a:pt x="171450" y="277930"/>
                    <a:pt x="160480" y="288926"/>
                    <a:pt x="138542" y="288926"/>
                  </a:cubicBezTo>
                  <a:cubicBezTo>
                    <a:pt x="30523" y="288926"/>
                    <a:pt x="30523" y="288926"/>
                    <a:pt x="30523" y="288926"/>
                  </a:cubicBezTo>
                  <a:cubicBezTo>
                    <a:pt x="10015" y="288926"/>
                    <a:pt x="0" y="277930"/>
                    <a:pt x="0" y="255937"/>
                  </a:cubicBezTo>
                  <a:cubicBezTo>
                    <a:pt x="0" y="34577"/>
                    <a:pt x="0" y="34577"/>
                    <a:pt x="0" y="34577"/>
                  </a:cubicBezTo>
                  <a:cubicBezTo>
                    <a:pt x="0" y="12584"/>
                    <a:pt x="10015" y="1588"/>
                    <a:pt x="30523" y="1588"/>
                  </a:cubicBezTo>
                  <a:close/>
                  <a:moveTo>
                    <a:pt x="7981519" y="0"/>
                  </a:moveTo>
                  <a:cubicBezTo>
                    <a:pt x="8087394" y="0"/>
                    <a:pt x="8087394" y="0"/>
                    <a:pt x="8087394" y="0"/>
                  </a:cubicBezTo>
                  <a:cubicBezTo>
                    <a:pt x="8109093" y="0"/>
                    <a:pt x="8120062" y="10948"/>
                    <a:pt x="8120062" y="32842"/>
                  </a:cubicBezTo>
                  <a:cubicBezTo>
                    <a:pt x="8120062" y="1614983"/>
                    <a:pt x="8120062" y="1614983"/>
                    <a:pt x="8120062" y="1614983"/>
                  </a:cubicBezTo>
                  <a:cubicBezTo>
                    <a:pt x="8120062" y="1637116"/>
                    <a:pt x="8109093" y="1647825"/>
                    <a:pt x="8087394" y="1647825"/>
                  </a:cubicBezTo>
                  <a:cubicBezTo>
                    <a:pt x="7981519" y="1647825"/>
                    <a:pt x="7981519" y="1647825"/>
                    <a:pt x="7981519" y="1647825"/>
                  </a:cubicBezTo>
                  <a:cubicBezTo>
                    <a:pt x="7959581" y="1647825"/>
                    <a:pt x="7948612" y="1637116"/>
                    <a:pt x="7948612" y="1614983"/>
                  </a:cubicBezTo>
                  <a:cubicBezTo>
                    <a:pt x="7948612" y="32842"/>
                    <a:pt x="7948612" y="32842"/>
                    <a:pt x="7948612" y="32842"/>
                  </a:cubicBezTo>
                  <a:cubicBezTo>
                    <a:pt x="7948612" y="10948"/>
                    <a:pt x="7959581" y="0"/>
                    <a:pt x="7981519" y="0"/>
                  </a:cubicBezTo>
                  <a:close/>
                  <a:moveTo>
                    <a:pt x="1922541" y="0"/>
                  </a:moveTo>
                  <a:cubicBezTo>
                    <a:pt x="2002314" y="0"/>
                    <a:pt x="2002314" y="0"/>
                    <a:pt x="2002314" y="0"/>
                  </a:cubicBezTo>
                  <a:cubicBezTo>
                    <a:pt x="2024221" y="0"/>
                    <a:pt x="2035175" y="10234"/>
                    <a:pt x="2035175" y="30463"/>
                  </a:cubicBezTo>
                  <a:cubicBezTo>
                    <a:pt x="2035175" y="117328"/>
                    <a:pt x="2035175" y="117328"/>
                    <a:pt x="2035175" y="117328"/>
                  </a:cubicBezTo>
                  <a:cubicBezTo>
                    <a:pt x="2035175" y="139223"/>
                    <a:pt x="2024221" y="149932"/>
                    <a:pt x="2002314" y="149932"/>
                  </a:cubicBezTo>
                  <a:cubicBezTo>
                    <a:pt x="1943735" y="149932"/>
                    <a:pt x="1943735" y="149932"/>
                    <a:pt x="1943735" y="149932"/>
                  </a:cubicBezTo>
                  <a:cubicBezTo>
                    <a:pt x="1879679" y="149932"/>
                    <a:pt x="1835150" y="166115"/>
                    <a:pt x="1809908" y="198006"/>
                  </a:cubicBezTo>
                  <a:cubicBezTo>
                    <a:pt x="1784905" y="230134"/>
                    <a:pt x="1772523" y="281301"/>
                    <a:pt x="1772523" y="351746"/>
                  </a:cubicBezTo>
                  <a:cubicBezTo>
                    <a:pt x="1772523" y="431233"/>
                    <a:pt x="1772523" y="431233"/>
                    <a:pt x="1772523" y="431233"/>
                  </a:cubicBezTo>
                  <a:cubicBezTo>
                    <a:pt x="1772523" y="445275"/>
                    <a:pt x="1779428" y="452414"/>
                    <a:pt x="1793477" y="452414"/>
                  </a:cubicBezTo>
                  <a:cubicBezTo>
                    <a:pt x="1999932" y="452414"/>
                    <a:pt x="1999932" y="452414"/>
                    <a:pt x="1999932" y="452414"/>
                  </a:cubicBezTo>
                  <a:cubicBezTo>
                    <a:pt x="2023507" y="452414"/>
                    <a:pt x="2035175" y="462648"/>
                    <a:pt x="2035175" y="482877"/>
                  </a:cubicBezTo>
                  <a:cubicBezTo>
                    <a:pt x="2035175" y="569742"/>
                    <a:pt x="2035175" y="569742"/>
                    <a:pt x="2035175" y="569742"/>
                  </a:cubicBezTo>
                  <a:cubicBezTo>
                    <a:pt x="2035175" y="591637"/>
                    <a:pt x="2023507" y="602346"/>
                    <a:pt x="1999932" y="602346"/>
                  </a:cubicBezTo>
                  <a:cubicBezTo>
                    <a:pt x="1793477" y="602346"/>
                    <a:pt x="1793477" y="602346"/>
                    <a:pt x="1793477" y="602346"/>
                  </a:cubicBezTo>
                  <a:cubicBezTo>
                    <a:pt x="1779428" y="602346"/>
                    <a:pt x="1772523" y="609486"/>
                    <a:pt x="1772523" y="623527"/>
                  </a:cubicBezTo>
                  <a:cubicBezTo>
                    <a:pt x="1772523" y="1614983"/>
                    <a:pt x="1772523" y="1614983"/>
                    <a:pt x="1772523" y="1614983"/>
                  </a:cubicBezTo>
                  <a:cubicBezTo>
                    <a:pt x="1772523" y="1637116"/>
                    <a:pt x="1760854" y="1647825"/>
                    <a:pt x="1737280" y="1647825"/>
                  </a:cubicBezTo>
                  <a:cubicBezTo>
                    <a:pt x="1634172" y="1647825"/>
                    <a:pt x="1634172" y="1647825"/>
                    <a:pt x="1634172" y="1647825"/>
                  </a:cubicBezTo>
                  <a:cubicBezTo>
                    <a:pt x="1612265" y="1647825"/>
                    <a:pt x="1601311" y="1637116"/>
                    <a:pt x="1601311" y="1614983"/>
                  </a:cubicBezTo>
                  <a:cubicBezTo>
                    <a:pt x="1601311" y="623527"/>
                    <a:pt x="1601311" y="623527"/>
                    <a:pt x="1601311" y="623527"/>
                  </a:cubicBezTo>
                  <a:cubicBezTo>
                    <a:pt x="1601311" y="609486"/>
                    <a:pt x="1593453" y="602346"/>
                    <a:pt x="1577737" y="602346"/>
                  </a:cubicBezTo>
                  <a:cubicBezTo>
                    <a:pt x="1439386" y="602346"/>
                    <a:pt x="1439386" y="602346"/>
                    <a:pt x="1439386" y="602346"/>
                  </a:cubicBezTo>
                  <a:cubicBezTo>
                    <a:pt x="1417478" y="602346"/>
                    <a:pt x="1406525" y="591637"/>
                    <a:pt x="1406525" y="569742"/>
                  </a:cubicBezTo>
                  <a:cubicBezTo>
                    <a:pt x="1406525" y="482877"/>
                    <a:pt x="1406525" y="482877"/>
                    <a:pt x="1406525" y="482877"/>
                  </a:cubicBezTo>
                  <a:cubicBezTo>
                    <a:pt x="1406525" y="462648"/>
                    <a:pt x="1417478" y="452414"/>
                    <a:pt x="1439386" y="452414"/>
                  </a:cubicBezTo>
                  <a:cubicBezTo>
                    <a:pt x="1577737" y="452414"/>
                    <a:pt x="1577737" y="452414"/>
                    <a:pt x="1577737" y="452414"/>
                  </a:cubicBezTo>
                  <a:cubicBezTo>
                    <a:pt x="1593453" y="452414"/>
                    <a:pt x="1601311" y="445275"/>
                    <a:pt x="1601311" y="431233"/>
                  </a:cubicBezTo>
                  <a:cubicBezTo>
                    <a:pt x="1601311" y="344606"/>
                    <a:pt x="1601311" y="344606"/>
                    <a:pt x="1601311" y="344606"/>
                  </a:cubicBezTo>
                  <a:cubicBezTo>
                    <a:pt x="1601311" y="233704"/>
                    <a:pt x="1628695" y="148504"/>
                    <a:pt x="1683226" y="89007"/>
                  </a:cubicBezTo>
                  <a:cubicBezTo>
                    <a:pt x="1738233" y="29749"/>
                    <a:pt x="1817767" y="0"/>
                    <a:pt x="19225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4D3676C-22DD-408D-B726-74ABD71DF4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038598" y="4113213"/>
              <a:ext cx="8810623" cy="787401"/>
            </a:xfrm>
            <a:custGeom>
              <a:avLst/>
              <a:gdLst>
                <a:gd name="connsiteX0" fmla="*/ 8170503 w 8810623"/>
                <a:gd name="connsiteY0" fmla="*/ 242888 h 787401"/>
                <a:gd name="connsiteX1" fmla="*/ 8109425 w 8810623"/>
                <a:gd name="connsiteY1" fmla="*/ 261635 h 787401"/>
                <a:gd name="connsiteX2" fmla="*/ 8076865 w 8810623"/>
                <a:gd name="connsiteY2" fmla="*/ 311385 h 787401"/>
                <a:gd name="connsiteX3" fmla="*/ 8069260 w 8810623"/>
                <a:gd name="connsiteY3" fmla="*/ 360174 h 787401"/>
                <a:gd name="connsiteX4" fmla="*/ 8072587 w 8810623"/>
                <a:gd name="connsiteY4" fmla="*/ 363538 h 787401"/>
                <a:gd name="connsiteX5" fmla="*/ 8269133 w 8810623"/>
                <a:gd name="connsiteY5" fmla="*/ 363538 h 787401"/>
                <a:gd name="connsiteX6" fmla="*/ 8272460 w 8810623"/>
                <a:gd name="connsiteY6" fmla="*/ 360174 h 787401"/>
                <a:gd name="connsiteX7" fmla="*/ 8267469 w 8810623"/>
                <a:gd name="connsiteY7" fmla="*/ 317634 h 787401"/>
                <a:gd name="connsiteX8" fmla="*/ 8233483 w 8810623"/>
                <a:gd name="connsiteY8" fmla="*/ 263317 h 787401"/>
                <a:gd name="connsiteX9" fmla="*/ 8170503 w 8810623"/>
                <a:gd name="connsiteY9" fmla="*/ 242888 h 787401"/>
                <a:gd name="connsiteX10" fmla="*/ 7476614 w 8810623"/>
                <a:gd name="connsiteY10" fmla="*/ 242888 h 787401"/>
                <a:gd name="connsiteX11" fmla="*/ 7416249 w 8810623"/>
                <a:gd name="connsiteY11" fmla="*/ 263203 h 787401"/>
                <a:gd name="connsiteX12" fmla="*/ 7381892 w 8810623"/>
                <a:gd name="connsiteY12" fmla="*/ 315542 h 787401"/>
                <a:gd name="connsiteX13" fmla="*/ 7372348 w 8810623"/>
                <a:gd name="connsiteY13" fmla="*/ 395604 h 787401"/>
                <a:gd name="connsiteX14" fmla="*/ 7380937 w 8810623"/>
                <a:gd name="connsiteY14" fmla="*/ 476862 h 787401"/>
                <a:gd name="connsiteX15" fmla="*/ 7415056 w 8810623"/>
                <a:gd name="connsiteY15" fmla="*/ 528962 h 787401"/>
                <a:gd name="connsiteX16" fmla="*/ 7476614 w 8810623"/>
                <a:gd name="connsiteY16" fmla="*/ 549276 h 787401"/>
                <a:gd name="connsiteX17" fmla="*/ 7538172 w 8810623"/>
                <a:gd name="connsiteY17" fmla="*/ 528962 h 787401"/>
                <a:gd name="connsiteX18" fmla="*/ 7568712 w 8810623"/>
                <a:gd name="connsiteY18" fmla="*/ 476862 h 787401"/>
                <a:gd name="connsiteX19" fmla="*/ 7572529 w 8810623"/>
                <a:gd name="connsiteY19" fmla="*/ 447466 h 787401"/>
                <a:gd name="connsiteX20" fmla="*/ 7573961 w 8810623"/>
                <a:gd name="connsiteY20" fmla="*/ 395604 h 787401"/>
                <a:gd name="connsiteX21" fmla="*/ 7572529 w 8810623"/>
                <a:gd name="connsiteY21" fmla="*/ 344221 h 787401"/>
                <a:gd name="connsiteX22" fmla="*/ 7567757 w 8810623"/>
                <a:gd name="connsiteY22" fmla="*/ 315542 h 787401"/>
                <a:gd name="connsiteX23" fmla="*/ 7536740 w 8810623"/>
                <a:gd name="connsiteY23" fmla="*/ 263203 h 787401"/>
                <a:gd name="connsiteX24" fmla="*/ 7476614 w 8810623"/>
                <a:gd name="connsiteY24" fmla="*/ 242888 h 787401"/>
                <a:gd name="connsiteX25" fmla="*/ 6701829 w 8810623"/>
                <a:gd name="connsiteY25" fmla="*/ 242888 h 787401"/>
                <a:gd name="connsiteX26" fmla="*/ 6640988 w 8810623"/>
                <a:gd name="connsiteY26" fmla="*/ 261635 h 787401"/>
                <a:gd name="connsiteX27" fmla="*/ 6608428 w 8810623"/>
                <a:gd name="connsiteY27" fmla="*/ 311385 h 787401"/>
                <a:gd name="connsiteX28" fmla="*/ 6600823 w 8810623"/>
                <a:gd name="connsiteY28" fmla="*/ 360174 h 787401"/>
                <a:gd name="connsiteX29" fmla="*/ 6604150 w 8810623"/>
                <a:gd name="connsiteY29" fmla="*/ 363538 h 787401"/>
                <a:gd name="connsiteX30" fmla="*/ 6800696 w 8810623"/>
                <a:gd name="connsiteY30" fmla="*/ 363538 h 787401"/>
                <a:gd name="connsiteX31" fmla="*/ 6804023 w 8810623"/>
                <a:gd name="connsiteY31" fmla="*/ 360174 h 787401"/>
                <a:gd name="connsiteX32" fmla="*/ 6798794 w 8810623"/>
                <a:gd name="connsiteY32" fmla="*/ 317634 h 787401"/>
                <a:gd name="connsiteX33" fmla="*/ 6765046 w 8810623"/>
                <a:gd name="connsiteY33" fmla="*/ 263317 h 787401"/>
                <a:gd name="connsiteX34" fmla="*/ 6701829 w 8810623"/>
                <a:gd name="connsiteY34" fmla="*/ 242888 h 787401"/>
                <a:gd name="connsiteX35" fmla="*/ 4320700 w 8810623"/>
                <a:gd name="connsiteY35" fmla="*/ 242888 h 787401"/>
                <a:gd name="connsiteX36" fmla="*/ 4259930 w 8810623"/>
                <a:gd name="connsiteY36" fmla="*/ 261635 h 787401"/>
                <a:gd name="connsiteX37" fmla="*/ 4227409 w 8810623"/>
                <a:gd name="connsiteY37" fmla="*/ 311385 h 787401"/>
                <a:gd name="connsiteX38" fmla="*/ 4219575 w 8810623"/>
                <a:gd name="connsiteY38" fmla="*/ 360174 h 787401"/>
                <a:gd name="connsiteX39" fmla="*/ 4223136 w 8810623"/>
                <a:gd name="connsiteY39" fmla="*/ 363538 h 787401"/>
                <a:gd name="connsiteX40" fmla="*/ 4419212 w 8810623"/>
                <a:gd name="connsiteY40" fmla="*/ 363538 h 787401"/>
                <a:gd name="connsiteX41" fmla="*/ 4422773 w 8810623"/>
                <a:gd name="connsiteY41" fmla="*/ 360174 h 787401"/>
                <a:gd name="connsiteX42" fmla="*/ 4417551 w 8810623"/>
                <a:gd name="connsiteY42" fmla="*/ 317634 h 787401"/>
                <a:gd name="connsiteX43" fmla="*/ 4383607 w 8810623"/>
                <a:gd name="connsiteY43" fmla="*/ 263317 h 787401"/>
                <a:gd name="connsiteX44" fmla="*/ 4320700 w 8810623"/>
                <a:gd name="connsiteY44" fmla="*/ 242888 h 787401"/>
                <a:gd name="connsiteX45" fmla="*/ 2676960 w 8810623"/>
                <a:gd name="connsiteY45" fmla="*/ 242888 h 787401"/>
                <a:gd name="connsiteX46" fmla="*/ 2615643 w 8810623"/>
                <a:gd name="connsiteY46" fmla="*/ 261635 h 787401"/>
                <a:gd name="connsiteX47" fmla="*/ 2582590 w 8810623"/>
                <a:gd name="connsiteY47" fmla="*/ 311385 h 787401"/>
                <a:gd name="connsiteX48" fmla="*/ 2574925 w 8810623"/>
                <a:gd name="connsiteY48" fmla="*/ 360174 h 787401"/>
                <a:gd name="connsiteX49" fmla="*/ 2578279 w 8810623"/>
                <a:gd name="connsiteY49" fmla="*/ 363538 h 787401"/>
                <a:gd name="connsiteX50" fmla="*/ 2776360 w 8810623"/>
                <a:gd name="connsiteY50" fmla="*/ 363538 h 787401"/>
                <a:gd name="connsiteX51" fmla="*/ 2779713 w 8810623"/>
                <a:gd name="connsiteY51" fmla="*/ 360174 h 787401"/>
                <a:gd name="connsiteX52" fmla="*/ 2774683 w 8810623"/>
                <a:gd name="connsiteY52" fmla="*/ 317634 h 787401"/>
                <a:gd name="connsiteX53" fmla="*/ 2740432 w 8810623"/>
                <a:gd name="connsiteY53" fmla="*/ 263317 h 787401"/>
                <a:gd name="connsiteX54" fmla="*/ 2676960 w 8810623"/>
                <a:gd name="connsiteY54" fmla="*/ 242888 h 787401"/>
                <a:gd name="connsiteX55" fmla="*/ 1425100 w 8810623"/>
                <a:gd name="connsiteY55" fmla="*/ 242888 h 787401"/>
                <a:gd name="connsiteX56" fmla="*/ 1364331 w 8810623"/>
                <a:gd name="connsiteY56" fmla="*/ 261635 h 787401"/>
                <a:gd name="connsiteX57" fmla="*/ 1331571 w 8810623"/>
                <a:gd name="connsiteY57" fmla="*/ 311385 h 787401"/>
                <a:gd name="connsiteX58" fmla="*/ 1323974 w 8810623"/>
                <a:gd name="connsiteY58" fmla="*/ 360174 h 787401"/>
                <a:gd name="connsiteX59" fmla="*/ 1327297 w 8810623"/>
                <a:gd name="connsiteY59" fmla="*/ 363538 h 787401"/>
                <a:gd name="connsiteX60" fmla="*/ 1523613 w 8810623"/>
                <a:gd name="connsiteY60" fmla="*/ 363538 h 787401"/>
                <a:gd name="connsiteX61" fmla="*/ 1527175 w 8810623"/>
                <a:gd name="connsiteY61" fmla="*/ 360174 h 787401"/>
                <a:gd name="connsiteX62" fmla="*/ 1521951 w 8810623"/>
                <a:gd name="connsiteY62" fmla="*/ 317634 h 787401"/>
                <a:gd name="connsiteX63" fmla="*/ 1488007 w 8810623"/>
                <a:gd name="connsiteY63" fmla="*/ 263317 h 787401"/>
                <a:gd name="connsiteX64" fmla="*/ 1425100 w 8810623"/>
                <a:gd name="connsiteY64" fmla="*/ 242888 h 787401"/>
                <a:gd name="connsiteX65" fmla="*/ 7790487 w 8810623"/>
                <a:gd name="connsiteY65" fmla="*/ 179388 h 787401"/>
                <a:gd name="connsiteX66" fmla="*/ 7855671 w 8810623"/>
                <a:gd name="connsiteY66" fmla="*/ 179388 h 787401"/>
                <a:gd name="connsiteX67" fmla="*/ 7864473 w 8810623"/>
                <a:gd name="connsiteY67" fmla="*/ 187962 h 787401"/>
                <a:gd name="connsiteX68" fmla="*/ 7864473 w 8810623"/>
                <a:gd name="connsiteY68" fmla="*/ 607377 h 787401"/>
                <a:gd name="connsiteX69" fmla="*/ 7855671 w 8810623"/>
                <a:gd name="connsiteY69" fmla="*/ 615951 h 787401"/>
                <a:gd name="connsiteX70" fmla="*/ 7790487 w 8810623"/>
                <a:gd name="connsiteY70" fmla="*/ 615951 h 787401"/>
                <a:gd name="connsiteX71" fmla="*/ 7781923 w 8810623"/>
                <a:gd name="connsiteY71" fmla="*/ 607377 h 787401"/>
                <a:gd name="connsiteX72" fmla="*/ 7781923 w 8810623"/>
                <a:gd name="connsiteY72" fmla="*/ 187962 h 787401"/>
                <a:gd name="connsiteX73" fmla="*/ 7790487 w 8810623"/>
                <a:gd name="connsiteY73" fmla="*/ 179388 h 787401"/>
                <a:gd name="connsiteX74" fmla="*/ 5619666 w 8810623"/>
                <a:gd name="connsiteY74" fmla="*/ 179388 h 787401"/>
                <a:gd name="connsiteX75" fmla="*/ 5689184 w 8810623"/>
                <a:gd name="connsiteY75" fmla="*/ 179388 h 787401"/>
                <a:gd name="connsiteX76" fmla="*/ 5699421 w 8810623"/>
                <a:gd name="connsiteY76" fmla="*/ 186051 h 787401"/>
                <a:gd name="connsiteX77" fmla="*/ 5796556 w 8810623"/>
                <a:gd name="connsiteY77" fmla="*/ 509928 h 787401"/>
                <a:gd name="connsiteX78" fmla="*/ 5799175 w 8810623"/>
                <a:gd name="connsiteY78" fmla="*/ 511832 h 787401"/>
                <a:gd name="connsiteX79" fmla="*/ 5801794 w 8810623"/>
                <a:gd name="connsiteY79" fmla="*/ 509928 h 787401"/>
                <a:gd name="connsiteX80" fmla="*/ 5897976 w 8810623"/>
                <a:gd name="connsiteY80" fmla="*/ 186051 h 787401"/>
                <a:gd name="connsiteX81" fmla="*/ 5908213 w 8810623"/>
                <a:gd name="connsiteY81" fmla="*/ 179388 h 787401"/>
                <a:gd name="connsiteX82" fmla="*/ 5976302 w 8810623"/>
                <a:gd name="connsiteY82" fmla="*/ 179388 h 787401"/>
                <a:gd name="connsiteX83" fmla="*/ 5983206 w 8810623"/>
                <a:gd name="connsiteY83" fmla="*/ 188669 h 787401"/>
                <a:gd name="connsiteX84" fmla="*/ 5826553 w 8810623"/>
                <a:gd name="connsiteY84" fmla="*/ 646523 h 787401"/>
                <a:gd name="connsiteX85" fmla="*/ 5787033 w 8810623"/>
                <a:gd name="connsiteY85" fmla="*/ 734572 h 787401"/>
                <a:gd name="connsiteX86" fmla="*/ 5735609 w 8810623"/>
                <a:gd name="connsiteY86" fmla="*/ 775503 h 787401"/>
                <a:gd name="connsiteX87" fmla="*/ 5646093 w 8810623"/>
                <a:gd name="connsiteY87" fmla="*/ 787401 h 787401"/>
                <a:gd name="connsiteX88" fmla="*/ 5640141 w 8810623"/>
                <a:gd name="connsiteY88" fmla="*/ 787401 h 787401"/>
                <a:gd name="connsiteX89" fmla="*/ 5634189 w 8810623"/>
                <a:gd name="connsiteY89" fmla="*/ 787401 h 787401"/>
                <a:gd name="connsiteX90" fmla="*/ 5634189 w 8810623"/>
                <a:gd name="connsiteY90" fmla="*/ 778834 h 787401"/>
                <a:gd name="connsiteX91" fmla="*/ 5634189 w 8810623"/>
                <a:gd name="connsiteY91" fmla="*/ 728147 h 787401"/>
                <a:gd name="connsiteX92" fmla="*/ 5642760 w 8810623"/>
                <a:gd name="connsiteY92" fmla="*/ 719580 h 787401"/>
                <a:gd name="connsiteX93" fmla="*/ 5644426 w 8810623"/>
                <a:gd name="connsiteY93" fmla="*/ 719580 h 787401"/>
                <a:gd name="connsiteX94" fmla="*/ 5698707 w 8810623"/>
                <a:gd name="connsiteY94" fmla="*/ 711013 h 787401"/>
                <a:gd name="connsiteX95" fmla="*/ 5731323 w 8810623"/>
                <a:gd name="connsiteY95" fmla="*/ 682219 h 787401"/>
                <a:gd name="connsiteX96" fmla="*/ 5756083 w 8810623"/>
                <a:gd name="connsiteY96" fmla="*/ 619157 h 787401"/>
                <a:gd name="connsiteX97" fmla="*/ 5756083 w 8810623"/>
                <a:gd name="connsiteY97" fmla="*/ 613921 h 787401"/>
                <a:gd name="connsiteX98" fmla="*/ 5612762 w 8810623"/>
                <a:gd name="connsiteY98" fmla="*/ 188669 h 787401"/>
                <a:gd name="connsiteX99" fmla="*/ 5611810 w 8810623"/>
                <a:gd name="connsiteY99" fmla="*/ 185337 h 787401"/>
                <a:gd name="connsiteX100" fmla="*/ 5619666 w 8810623"/>
                <a:gd name="connsiteY100" fmla="*/ 179388 h 787401"/>
                <a:gd name="connsiteX101" fmla="*/ 8799 w 8810623"/>
                <a:gd name="connsiteY101" fmla="*/ 179388 h 787401"/>
                <a:gd name="connsiteX102" fmla="*/ 73005 w 8810623"/>
                <a:gd name="connsiteY102" fmla="*/ 179388 h 787401"/>
                <a:gd name="connsiteX103" fmla="*/ 81565 w 8810623"/>
                <a:gd name="connsiteY103" fmla="*/ 187952 h 787401"/>
                <a:gd name="connsiteX104" fmla="*/ 81565 w 8810623"/>
                <a:gd name="connsiteY104" fmla="*/ 454841 h 787401"/>
                <a:gd name="connsiteX105" fmla="*/ 105345 w 8810623"/>
                <a:gd name="connsiteY105" fmla="*/ 525250 h 787401"/>
                <a:gd name="connsiteX106" fmla="*/ 171691 w 8810623"/>
                <a:gd name="connsiteY106" fmla="*/ 551178 h 787401"/>
                <a:gd name="connsiteX107" fmla="*/ 240415 w 8810623"/>
                <a:gd name="connsiteY107" fmla="*/ 524775 h 787401"/>
                <a:gd name="connsiteX108" fmla="*/ 266097 w 8810623"/>
                <a:gd name="connsiteY108" fmla="*/ 454841 h 787401"/>
                <a:gd name="connsiteX109" fmla="*/ 266097 w 8810623"/>
                <a:gd name="connsiteY109" fmla="*/ 187952 h 787401"/>
                <a:gd name="connsiteX110" fmla="*/ 274896 w 8810623"/>
                <a:gd name="connsiteY110" fmla="*/ 179388 h 787401"/>
                <a:gd name="connsiteX111" fmla="*/ 339103 w 8810623"/>
                <a:gd name="connsiteY111" fmla="*/ 179388 h 787401"/>
                <a:gd name="connsiteX112" fmla="*/ 347662 w 8810623"/>
                <a:gd name="connsiteY112" fmla="*/ 187952 h 787401"/>
                <a:gd name="connsiteX113" fmla="*/ 347662 w 8810623"/>
                <a:gd name="connsiteY113" fmla="*/ 607791 h 787401"/>
                <a:gd name="connsiteX114" fmla="*/ 339103 w 8810623"/>
                <a:gd name="connsiteY114" fmla="*/ 616354 h 787401"/>
                <a:gd name="connsiteX115" fmla="*/ 274896 w 8810623"/>
                <a:gd name="connsiteY115" fmla="*/ 616354 h 787401"/>
                <a:gd name="connsiteX116" fmla="*/ 266097 w 8810623"/>
                <a:gd name="connsiteY116" fmla="*/ 607791 h 787401"/>
                <a:gd name="connsiteX117" fmla="*/ 266097 w 8810623"/>
                <a:gd name="connsiteY117" fmla="*/ 575917 h 787401"/>
                <a:gd name="connsiteX118" fmla="*/ 264909 w 8810623"/>
                <a:gd name="connsiteY118" fmla="*/ 573776 h 787401"/>
                <a:gd name="connsiteX119" fmla="*/ 261817 w 8810623"/>
                <a:gd name="connsiteY119" fmla="*/ 575203 h 787401"/>
                <a:gd name="connsiteX120" fmla="*/ 156234 w 8810623"/>
                <a:gd name="connsiteY120" fmla="*/ 622301 h 787401"/>
                <a:gd name="connsiteX121" fmla="*/ 78713 w 8810623"/>
                <a:gd name="connsiteY121" fmla="*/ 606126 h 787401"/>
                <a:gd name="connsiteX122" fmla="*/ 21642 w 8810623"/>
                <a:gd name="connsiteY122" fmla="*/ 557839 h 787401"/>
                <a:gd name="connsiteX123" fmla="*/ 0 w 8810623"/>
                <a:gd name="connsiteY123" fmla="*/ 480769 h 787401"/>
                <a:gd name="connsiteX124" fmla="*/ 0 w 8810623"/>
                <a:gd name="connsiteY124" fmla="*/ 187952 h 787401"/>
                <a:gd name="connsiteX125" fmla="*/ 8799 w 8810623"/>
                <a:gd name="connsiteY125" fmla="*/ 179388 h 787401"/>
                <a:gd name="connsiteX126" fmla="*/ 7185536 w 8810623"/>
                <a:gd name="connsiteY126" fmla="*/ 174625 h 787401"/>
                <a:gd name="connsiteX127" fmla="*/ 7235128 w 8810623"/>
                <a:gd name="connsiteY127" fmla="*/ 185801 h 787401"/>
                <a:gd name="connsiteX128" fmla="*/ 7239399 w 8810623"/>
                <a:gd name="connsiteY128" fmla="*/ 196263 h 787401"/>
                <a:gd name="connsiteX129" fmla="*/ 7225637 w 8810623"/>
                <a:gd name="connsiteY129" fmla="*/ 260703 h 787401"/>
                <a:gd name="connsiteX130" fmla="*/ 7215434 w 8810623"/>
                <a:gd name="connsiteY130" fmla="*/ 265696 h 787401"/>
                <a:gd name="connsiteX131" fmla="*/ 7181265 w 8810623"/>
                <a:gd name="connsiteY131" fmla="*/ 259752 h 787401"/>
                <a:gd name="connsiteX132" fmla="*/ 7169164 w 8810623"/>
                <a:gd name="connsiteY132" fmla="*/ 260703 h 787401"/>
                <a:gd name="connsiteX133" fmla="*/ 7102724 w 8810623"/>
                <a:gd name="connsiteY133" fmla="*/ 288523 h 787401"/>
                <a:gd name="connsiteX134" fmla="*/ 7076623 w 8810623"/>
                <a:gd name="connsiteY134" fmla="*/ 356767 h 787401"/>
                <a:gd name="connsiteX135" fmla="*/ 7076623 w 8810623"/>
                <a:gd name="connsiteY135" fmla="*/ 607390 h 787401"/>
                <a:gd name="connsiteX136" fmla="*/ 7068081 w 8810623"/>
                <a:gd name="connsiteY136" fmla="*/ 615950 h 787401"/>
                <a:gd name="connsiteX137" fmla="*/ 7003065 w 8810623"/>
                <a:gd name="connsiteY137" fmla="*/ 615950 h 787401"/>
                <a:gd name="connsiteX138" fmla="*/ 6994523 w 8810623"/>
                <a:gd name="connsiteY138" fmla="*/ 607390 h 787401"/>
                <a:gd name="connsiteX139" fmla="*/ 6994523 w 8810623"/>
                <a:gd name="connsiteY139" fmla="*/ 187703 h 787401"/>
                <a:gd name="connsiteX140" fmla="*/ 7003065 w 8810623"/>
                <a:gd name="connsiteY140" fmla="*/ 179143 h 787401"/>
                <a:gd name="connsiteX141" fmla="*/ 7068081 w 8810623"/>
                <a:gd name="connsiteY141" fmla="*/ 179143 h 787401"/>
                <a:gd name="connsiteX142" fmla="*/ 7076623 w 8810623"/>
                <a:gd name="connsiteY142" fmla="*/ 187703 h 787401"/>
                <a:gd name="connsiteX143" fmla="*/ 7076623 w 8810623"/>
                <a:gd name="connsiteY143" fmla="*/ 233120 h 787401"/>
                <a:gd name="connsiteX144" fmla="*/ 7078047 w 8810623"/>
                <a:gd name="connsiteY144" fmla="*/ 236211 h 787401"/>
                <a:gd name="connsiteX145" fmla="*/ 7080182 w 8810623"/>
                <a:gd name="connsiteY145" fmla="*/ 234784 h 787401"/>
                <a:gd name="connsiteX146" fmla="*/ 7185536 w 8810623"/>
                <a:gd name="connsiteY146" fmla="*/ 174625 h 787401"/>
                <a:gd name="connsiteX147" fmla="*/ 5407142 w 8810623"/>
                <a:gd name="connsiteY147" fmla="*/ 174625 h 787401"/>
                <a:gd name="connsiteX148" fmla="*/ 5495269 w 8810623"/>
                <a:gd name="connsiteY148" fmla="*/ 190597 h 787401"/>
                <a:gd name="connsiteX149" fmla="*/ 5554337 w 8810623"/>
                <a:gd name="connsiteY149" fmla="*/ 234935 h 787401"/>
                <a:gd name="connsiteX150" fmla="*/ 5574821 w 8810623"/>
                <a:gd name="connsiteY150" fmla="*/ 298582 h 787401"/>
                <a:gd name="connsiteX151" fmla="*/ 5574821 w 8810623"/>
                <a:gd name="connsiteY151" fmla="*/ 301204 h 787401"/>
                <a:gd name="connsiteX152" fmla="*/ 5566246 w 8810623"/>
                <a:gd name="connsiteY152" fmla="*/ 309786 h 787401"/>
                <a:gd name="connsiteX153" fmla="*/ 5505987 w 8810623"/>
                <a:gd name="connsiteY153" fmla="*/ 309786 h 787401"/>
                <a:gd name="connsiteX154" fmla="*/ 5497412 w 8810623"/>
                <a:gd name="connsiteY154" fmla="*/ 301204 h 787401"/>
                <a:gd name="connsiteX155" fmla="*/ 5497412 w 8810623"/>
                <a:gd name="connsiteY155" fmla="*/ 298582 h 787401"/>
                <a:gd name="connsiteX156" fmla="*/ 5472880 w 8810623"/>
                <a:gd name="connsiteY156" fmla="*/ 256866 h 787401"/>
                <a:gd name="connsiteX157" fmla="*/ 5406427 w 8810623"/>
                <a:gd name="connsiteY157" fmla="*/ 240179 h 787401"/>
                <a:gd name="connsiteX158" fmla="*/ 5344738 w 8810623"/>
                <a:gd name="connsiteY158" fmla="*/ 254720 h 787401"/>
                <a:gd name="connsiteX159" fmla="*/ 5321158 w 8810623"/>
                <a:gd name="connsiteY159" fmla="*/ 294291 h 787401"/>
                <a:gd name="connsiteX160" fmla="*/ 5344024 w 8810623"/>
                <a:gd name="connsiteY160" fmla="*/ 332193 h 787401"/>
                <a:gd name="connsiteX161" fmla="*/ 5417622 w 8810623"/>
                <a:gd name="connsiteY161" fmla="*/ 359845 h 787401"/>
                <a:gd name="connsiteX162" fmla="*/ 5500509 w 8810623"/>
                <a:gd name="connsiteY162" fmla="*/ 386782 h 787401"/>
                <a:gd name="connsiteX163" fmla="*/ 5556719 w 8810623"/>
                <a:gd name="connsiteY163" fmla="*/ 426353 h 787401"/>
                <a:gd name="connsiteX164" fmla="*/ 5580061 w 8810623"/>
                <a:gd name="connsiteY164" fmla="*/ 494768 h 787401"/>
                <a:gd name="connsiteX165" fmla="*/ 5534092 w 8810623"/>
                <a:gd name="connsiteY165" fmla="*/ 587735 h 787401"/>
                <a:gd name="connsiteX166" fmla="*/ 5411429 w 8810623"/>
                <a:gd name="connsiteY166" fmla="*/ 622300 h 787401"/>
                <a:gd name="connsiteX167" fmla="*/ 5320682 w 8810623"/>
                <a:gd name="connsiteY167" fmla="*/ 606806 h 787401"/>
                <a:gd name="connsiteX168" fmla="*/ 5260184 w 8810623"/>
                <a:gd name="connsiteY168" fmla="*/ 564136 h 787401"/>
                <a:gd name="connsiteX169" fmla="*/ 5238748 w 8810623"/>
                <a:gd name="connsiteY169" fmla="*/ 504303 h 787401"/>
                <a:gd name="connsiteX170" fmla="*/ 5238748 w 8810623"/>
                <a:gd name="connsiteY170" fmla="*/ 494768 h 787401"/>
                <a:gd name="connsiteX171" fmla="*/ 5247322 w 8810623"/>
                <a:gd name="connsiteY171" fmla="*/ 486186 h 787401"/>
                <a:gd name="connsiteX172" fmla="*/ 5309249 w 8810623"/>
                <a:gd name="connsiteY172" fmla="*/ 486186 h 787401"/>
                <a:gd name="connsiteX173" fmla="*/ 5317824 w 8810623"/>
                <a:gd name="connsiteY173" fmla="*/ 494768 h 787401"/>
                <a:gd name="connsiteX174" fmla="*/ 5317824 w 8810623"/>
                <a:gd name="connsiteY174" fmla="*/ 499059 h 787401"/>
                <a:gd name="connsiteX175" fmla="*/ 5344024 w 8810623"/>
                <a:gd name="connsiteY175" fmla="*/ 541252 h 787401"/>
                <a:gd name="connsiteX176" fmla="*/ 5410714 w 8810623"/>
                <a:gd name="connsiteY176" fmla="*/ 559368 h 787401"/>
                <a:gd name="connsiteX177" fmla="*/ 5473356 w 8810623"/>
                <a:gd name="connsiteY177" fmla="*/ 542682 h 787401"/>
                <a:gd name="connsiteX178" fmla="*/ 5497412 w 8810623"/>
                <a:gd name="connsiteY178" fmla="*/ 500012 h 787401"/>
                <a:gd name="connsiteX179" fmla="*/ 5475261 w 8810623"/>
                <a:gd name="connsiteY179" fmla="*/ 462587 h 787401"/>
                <a:gd name="connsiteX180" fmla="*/ 5402854 w 8810623"/>
                <a:gd name="connsiteY180" fmla="*/ 436365 h 787401"/>
                <a:gd name="connsiteX181" fmla="*/ 5320682 w 8810623"/>
                <a:gd name="connsiteY181" fmla="*/ 408475 h 787401"/>
                <a:gd name="connsiteX182" fmla="*/ 5264948 w 8810623"/>
                <a:gd name="connsiteY182" fmla="*/ 367950 h 787401"/>
                <a:gd name="connsiteX183" fmla="*/ 5242082 w 8810623"/>
                <a:gd name="connsiteY183" fmla="*/ 300489 h 787401"/>
                <a:gd name="connsiteX184" fmla="*/ 5287337 w 8810623"/>
                <a:gd name="connsiteY184" fmla="*/ 208713 h 787401"/>
                <a:gd name="connsiteX185" fmla="*/ 5407142 w 8810623"/>
                <a:gd name="connsiteY185" fmla="*/ 174625 h 787401"/>
                <a:gd name="connsiteX186" fmla="*/ 1908331 w 8810623"/>
                <a:gd name="connsiteY186" fmla="*/ 174625 h 787401"/>
                <a:gd name="connsiteX187" fmla="*/ 1958484 w 8810623"/>
                <a:gd name="connsiteY187" fmla="*/ 185801 h 787401"/>
                <a:gd name="connsiteX188" fmla="*/ 1962782 w 8810623"/>
                <a:gd name="connsiteY188" fmla="*/ 196263 h 787401"/>
                <a:gd name="connsiteX189" fmla="*/ 1948931 w 8810623"/>
                <a:gd name="connsiteY189" fmla="*/ 260703 h 787401"/>
                <a:gd name="connsiteX190" fmla="*/ 1938661 w 8810623"/>
                <a:gd name="connsiteY190" fmla="*/ 265696 h 787401"/>
                <a:gd name="connsiteX191" fmla="*/ 1904033 w 8810623"/>
                <a:gd name="connsiteY191" fmla="*/ 259752 h 787401"/>
                <a:gd name="connsiteX192" fmla="*/ 1892091 w 8810623"/>
                <a:gd name="connsiteY192" fmla="*/ 260703 h 787401"/>
                <a:gd name="connsiteX193" fmla="*/ 1825224 w 8810623"/>
                <a:gd name="connsiteY193" fmla="*/ 288523 h 787401"/>
                <a:gd name="connsiteX194" fmla="*/ 1798954 w 8810623"/>
                <a:gd name="connsiteY194" fmla="*/ 356767 h 787401"/>
                <a:gd name="connsiteX195" fmla="*/ 1798954 w 8810623"/>
                <a:gd name="connsiteY195" fmla="*/ 607390 h 787401"/>
                <a:gd name="connsiteX196" fmla="*/ 1790358 w 8810623"/>
                <a:gd name="connsiteY196" fmla="*/ 615950 h 787401"/>
                <a:gd name="connsiteX197" fmla="*/ 1724683 w 8810623"/>
                <a:gd name="connsiteY197" fmla="*/ 615950 h 787401"/>
                <a:gd name="connsiteX198" fmla="*/ 1716086 w 8810623"/>
                <a:gd name="connsiteY198" fmla="*/ 607390 h 787401"/>
                <a:gd name="connsiteX199" fmla="*/ 1716086 w 8810623"/>
                <a:gd name="connsiteY199" fmla="*/ 187703 h 787401"/>
                <a:gd name="connsiteX200" fmla="*/ 1724683 w 8810623"/>
                <a:gd name="connsiteY200" fmla="*/ 179143 h 787401"/>
                <a:gd name="connsiteX201" fmla="*/ 1790358 w 8810623"/>
                <a:gd name="connsiteY201" fmla="*/ 179143 h 787401"/>
                <a:gd name="connsiteX202" fmla="*/ 1798954 w 8810623"/>
                <a:gd name="connsiteY202" fmla="*/ 187703 h 787401"/>
                <a:gd name="connsiteX203" fmla="*/ 1798954 w 8810623"/>
                <a:gd name="connsiteY203" fmla="*/ 233120 h 787401"/>
                <a:gd name="connsiteX204" fmla="*/ 1800149 w 8810623"/>
                <a:gd name="connsiteY204" fmla="*/ 236211 h 787401"/>
                <a:gd name="connsiteX205" fmla="*/ 1802297 w 8810623"/>
                <a:gd name="connsiteY205" fmla="*/ 234784 h 787401"/>
                <a:gd name="connsiteX206" fmla="*/ 1908331 w 8810623"/>
                <a:gd name="connsiteY206" fmla="*/ 174625 h 787401"/>
                <a:gd name="connsiteX207" fmla="*/ 8657956 w 8810623"/>
                <a:gd name="connsiteY207" fmla="*/ 173038 h 787401"/>
                <a:gd name="connsiteX208" fmla="*/ 8769484 w 8810623"/>
                <a:gd name="connsiteY208" fmla="*/ 213930 h 787401"/>
                <a:gd name="connsiteX209" fmla="*/ 8810623 w 8810623"/>
                <a:gd name="connsiteY209" fmla="*/ 324242 h 787401"/>
                <a:gd name="connsiteX210" fmla="*/ 8810623 w 8810623"/>
                <a:gd name="connsiteY210" fmla="*/ 607393 h 787401"/>
                <a:gd name="connsiteX211" fmla="*/ 8802062 w 8810623"/>
                <a:gd name="connsiteY211" fmla="*/ 615951 h 787401"/>
                <a:gd name="connsiteX212" fmla="*/ 8736905 w 8810623"/>
                <a:gd name="connsiteY212" fmla="*/ 615951 h 787401"/>
                <a:gd name="connsiteX213" fmla="*/ 8728345 w 8810623"/>
                <a:gd name="connsiteY213" fmla="*/ 607393 h 787401"/>
                <a:gd name="connsiteX214" fmla="*/ 8728345 w 8810623"/>
                <a:gd name="connsiteY214" fmla="*/ 340408 h 787401"/>
                <a:gd name="connsiteX215" fmla="*/ 8703376 w 8810623"/>
                <a:gd name="connsiteY215" fmla="*/ 270988 h 787401"/>
                <a:gd name="connsiteX216" fmla="*/ 8637267 w 8810623"/>
                <a:gd name="connsiteY216" fmla="*/ 244361 h 787401"/>
                <a:gd name="connsiteX217" fmla="*/ 8571159 w 8810623"/>
                <a:gd name="connsiteY217" fmla="*/ 270988 h 787401"/>
                <a:gd name="connsiteX218" fmla="*/ 8545477 w 8810623"/>
                <a:gd name="connsiteY218" fmla="*/ 339695 h 787401"/>
                <a:gd name="connsiteX219" fmla="*/ 8545477 w 8810623"/>
                <a:gd name="connsiteY219" fmla="*/ 607393 h 787401"/>
                <a:gd name="connsiteX220" fmla="*/ 8536916 w 8810623"/>
                <a:gd name="connsiteY220" fmla="*/ 615951 h 787401"/>
                <a:gd name="connsiteX221" fmla="*/ 8471759 w 8810623"/>
                <a:gd name="connsiteY221" fmla="*/ 615951 h 787401"/>
                <a:gd name="connsiteX222" fmla="*/ 8462960 w 8810623"/>
                <a:gd name="connsiteY222" fmla="*/ 607393 h 787401"/>
                <a:gd name="connsiteX223" fmla="*/ 8462960 w 8810623"/>
                <a:gd name="connsiteY223" fmla="*/ 187778 h 787401"/>
                <a:gd name="connsiteX224" fmla="*/ 8471759 w 8810623"/>
                <a:gd name="connsiteY224" fmla="*/ 179220 h 787401"/>
                <a:gd name="connsiteX225" fmla="*/ 8536916 w 8810623"/>
                <a:gd name="connsiteY225" fmla="*/ 179220 h 787401"/>
                <a:gd name="connsiteX226" fmla="*/ 8545477 w 8810623"/>
                <a:gd name="connsiteY226" fmla="*/ 187778 h 787401"/>
                <a:gd name="connsiteX227" fmla="*/ 8545477 w 8810623"/>
                <a:gd name="connsiteY227" fmla="*/ 218685 h 787401"/>
                <a:gd name="connsiteX228" fmla="*/ 8546666 w 8810623"/>
                <a:gd name="connsiteY228" fmla="*/ 221062 h 787401"/>
                <a:gd name="connsiteX229" fmla="*/ 8548806 w 8810623"/>
                <a:gd name="connsiteY229" fmla="*/ 220349 h 787401"/>
                <a:gd name="connsiteX230" fmla="*/ 8657956 w 8810623"/>
                <a:gd name="connsiteY230" fmla="*/ 173038 h 787401"/>
                <a:gd name="connsiteX231" fmla="*/ 8170266 w 8810623"/>
                <a:gd name="connsiteY231" fmla="*/ 173038 h 787401"/>
                <a:gd name="connsiteX232" fmla="*/ 8299682 w 8810623"/>
                <a:gd name="connsiteY232" fmla="*/ 216270 h 787401"/>
                <a:gd name="connsiteX233" fmla="*/ 8351923 w 8810623"/>
                <a:gd name="connsiteY233" fmla="*/ 343592 h 787401"/>
                <a:gd name="connsiteX234" fmla="*/ 8354535 w 8810623"/>
                <a:gd name="connsiteY234" fmla="*/ 422455 h 787401"/>
                <a:gd name="connsiteX235" fmla="*/ 8345986 w 8810623"/>
                <a:gd name="connsiteY235" fmla="*/ 431006 h 787401"/>
                <a:gd name="connsiteX236" fmla="*/ 8072433 w 8810623"/>
                <a:gd name="connsiteY236" fmla="*/ 431006 h 787401"/>
                <a:gd name="connsiteX237" fmla="*/ 8069108 w 8810623"/>
                <a:gd name="connsiteY237" fmla="*/ 434569 h 787401"/>
                <a:gd name="connsiteX238" fmla="*/ 8074095 w 8810623"/>
                <a:gd name="connsiteY238" fmla="*/ 478989 h 787401"/>
                <a:gd name="connsiteX239" fmla="*/ 8112326 w 8810623"/>
                <a:gd name="connsiteY239" fmla="*/ 532673 h 787401"/>
                <a:gd name="connsiteX240" fmla="*/ 8184751 w 8810623"/>
                <a:gd name="connsiteY240" fmla="*/ 551914 h 787401"/>
                <a:gd name="connsiteX241" fmla="*/ 8282347 w 8810623"/>
                <a:gd name="connsiteY241" fmla="*/ 499655 h 787401"/>
                <a:gd name="connsiteX242" fmla="*/ 8293508 w 8810623"/>
                <a:gd name="connsiteY242" fmla="*/ 497042 h 787401"/>
                <a:gd name="connsiteX243" fmla="*/ 8342424 w 8810623"/>
                <a:gd name="connsiteY243" fmla="*/ 529585 h 787401"/>
                <a:gd name="connsiteX244" fmla="*/ 8345036 w 8810623"/>
                <a:gd name="connsiteY244" fmla="*/ 540749 h 787401"/>
                <a:gd name="connsiteX245" fmla="*/ 8276886 w 8810623"/>
                <a:gd name="connsiteY245" fmla="*/ 601560 h 787401"/>
                <a:gd name="connsiteX246" fmla="*/ 8176915 w 8810623"/>
                <a:gd name="connsiteY246" fmla="*/ 623888 h 787401"/>
                <a:gd name="connsiteX247" fmla="*/ 8071483 w 8810623"/>
                <a:gd name="connsiteY247" fmla="*/ 596571 h 787401"/>
                <a:gd name="connsiteX248" fmla="*/ 8007369 w 8810623"/>
                <a:gd name="connsiteY248" fmla="*/ 518421 h 787401"/>
                <a:gd name="connsiteX249" fmla="*/ 7986710 w 8810623"/>
                <a:gd name="connsiteY249" fmla="*/ 395850 h 787401"/>
                <a:gd name="connsiteX250" fmla="*/ 7996208 w 8810623"/>
                <a:gd name="connsiteY250" fmla="*/ 300835 h 787401"/>
                <a:gd name="connsiteX251" fmla="*/ 8057948 w 8810623"/>
                <a:gd name="connsiteY251" fmla="*/ 207244 h 787401"/>
                <a:gd name="connsiteX252" fmla="*/ 8170266 w 8810623"/>
                <a:gd name="connsiteY252" fmla="*/ 173038 h 787401"/>
                <a:gd name="connsiteX253" fmla="*/ 7457407 w 8810623"/>
                <a:gd name="connsiteY253" fmla="*/ 173038 h 787401"/>
                <a:gd name="connsiteX254" fmla="*/ 7568301 w 8810623"/>
                <a:gd name="connsiteY254" fmla="*/ 215834 h 787401"/>
                <a:gd name="connsiteX255" fmla="*/ 7571157 w 8810623"/>
                <a:gd name="connsiteY255" fmla="*/ 217261 h 787401"/>
                <a:gd name="connsiteX256" fmla="*/ 7572585 w 8810623"/>
                <a:gd name="connsiteY256" fmla="*/ 215121 h 787401"/>
                <a:gd name="connsiteX257" fmla="*/ 7572585 w 8810623"/>
                <a:gd name="connsiteY257" fmla="*/ 188492 h 787401"/>
                <a:gd name="connsiteX258" fmla="*/ 7581152 w 8810623"/>
                <a:gd name="connsiteY258" fmla="*/ 179933 h 787401"/>
                <a:gd name="connsiteX259" fmla="*/ 7646356 w 8810623"/>
                <a:gd name="connsiteY259" fmla="*/ 179933 h 787401"/>
                <a:gd name="connsiteX260" fmla="*/ 7654923 w 8810623"/>
                <a:gd name="connsiteY260" fmla="*/ 188492 h 787401"/>
                <a:gd name="connsiteX261" fmla="*/ 7654923 w 8810623"/>
                <a:gd name="connsiteY261" fmla="*/ 594343 h 787401"/>
                <a:gd name="connsiteX262" fmla="*/ 7596144 w 8810623"/>
                <a:gd name="connsiteY262" fmla="*/ 742941 h 787401"/>
                <a:gd name="connsiteX263" fmla="*/ 7438607 w 8810623"/>
                <a:gd name="connsiteY263" fmla="*/ 787401 h 787401"/>
                <a:gd name="connsiteX264" fmla="*/ 7395535 w 8810623"/>
                <a:gd name="connsiteY264" fmla="*/ 785737 h 787401"/>
                <a:gd name="connsiteX265" fmla="*/ 7386968 w 8810623"/>
                <a:gd name="connsiteY265" fmla="*/ 776227 h 787401"/>
                <a:gd name="connsiteX266" fmla="*/ 7389585 w 8810623"/>
                <a:gd name="connsiteY266" fmla="*/ 717025 h 787401"/>
                <a:gd name="connsiteX267" fmla="*/ 7392203 w 8810623"/>
                <a:gd name="connsiteY267" fmla="*/ 711081 h 787401"/>
                <a:gd name="connsiteX268" fmla="*/ 7399104 w 8810623"/>
                <a:gd name="connsiteY268" fmla="*/ 709417 h 787401"/>
                <a:gd name="connsiteX269" fmla="*/ 7434324 w 8810623"/>
                <a:gd name="connsiteY269" fmla="*/ 710130 h 787401"/>
                <a:gd name="connsiteX270" fmla="*/ 7539983 w 8810623"/>
                <a:gd name="connsiteY270" fmla="*/ 683264 h 787401"/>
                <a:gd name="connsiteX271" fmla="*/ 7572585 w 8810623"/>
                <a:gd name="connsiteY271" fmla="*/ 591728 h 787401"/>
                <a:gd name="connsiteX272" fmla="*/ 7572585 w 8810623"/>
                <a:gd name="connsiteY272" fmla="*/ 576273 h 787401"/>
                <a:gd name="connsiteX273" fmla="*/ 7571157 w 8810623"/>
                <a:gd name="connsiteY273" fmla="*/ 573658 h 787401"/>
                <a:gd name="connsiteX274" fmla="*/ 7568301 w 8810623"/>
                <a:gd name="connsiteY274" fmla="*/ 574609 h 787401"/>
                <a:gd name="connsiteX275" fmla="*/ 7462642 w 8810623"/>
                <a:gd name="connsiteY275" fmla="*/ 616692 h 787401"/>
                <a:gd name="connsiteX276" fmla="*/ 7361505 w 8810623"/>
                <a:gd name="connsiteY276" fmla="*/ 587448 h 787401"/>
                <a:gd name="connsiteX277" fmla="*/ 7299395 w 8810623"/>
                <a:gd name="connsiteY277" fmla="*/ 501618 h 787401"/>
                <a:gd name="connsiteX278" fmla="*/ 7288210 w 8810623"/>
                <a:gd name="connsiteY278" fmla="*/ 397005 h 787401"/>
                <a:gd name="connsiteX279" fmla="*/ 7301060 w 8810623"/>
                <a:gd name="connsiteY279" fmla="*/ 287161 h 787401"/>
                <a:gd name="connsiteX280" fmla="*/ 7359125 w 8810623"/>
                <a:gd name="connsiteY280" fmla="*/ 204184 h 787401"/>
                <a:gd name="connsiteX281" fmla="*/ 7457407 w 8810623"/>
                <a:gd name="connsiteY281" fmla="*/ 173038 h 787401"/>
                <a:gd name="connsiteX282" fmla="*/ 6702382 w 8810623"/>
                <a:gd name="connsiteY282" fmla="*/ 173038 h 787401"/>
                <a:gd name="connsiteX283" fmla="*/ 6832594 w 8810623"/>
                <a:gd name="connsiteY283" fmla="*/ 216270 h 787401"/>
                <a:gd name="connsiteX284" fmla="*/ 6885061 w 8810623"/>
                <a:gd name="connsiteY284" fmla="*/ 343592 h 787401"/>
                <a:gd name="connsiteX285" fmla="*/ 6887684 w 8810623"/>
                <a:gd name="connsiteY285" fmla="*/ 422455 h 787401"/>
                <a:gd name="connsiteX286" fmla="*/ 6878860 w 8810623"/>
                <a:gd name="connsiteY286" fmla="*/ 431006 h 787401"/>
                <a:gd name="connsiteX287" fmla="*/ 6604365 w 8810623"/>
                <a:gd name="connsiteY287" fmla="*/ 431006 h 787401"/>
                <a:gd name="connsiteX288" fmla="*/ 6601027 w 8810623"/>
                <a:gd name="connsiteY288" fmla="*/ 434569 h 787401"/>
                <a:gd name="connsiteX289" fmla="*/ 6606035 w 8810623"/>
                <a:gd name="connsiteY289" fmla="*/ 478989 h 787401"/>
                <a:gd name="connsiteX290" fmla="*/ 6644431 w 8810623"/>
                <a:gd name="connsiteY290" fmla="*/ 532673 h 787401"/>
                <a:gd name="connsiteX291" fmla="*/ 6717168 w 8810623"/>
                <a:gd name="connsiteY291" fmla="*/ 551914 h 787401"/>
                <a:gd name="connsiteX292" fmla="*/ 6815185 w 8810623"/>
                <a:gd name="connsiteY292" fmla="*/ 499655 h 787401"/>
                <a:gd name="connsiteX293" fmla="*/ 6826394 w 8810623"/>
                <a:gd name="connsiteY293" fmla="*/ 497042 h 787401"/>
                <a:gd name="connsiteX294" fmla="*/ 6875521 w 8810623"/>
                <a:gd name="connsiteY294" fmla="*/ 529585 h 787401"/>
                <a:gd name="connsiteX295" fmla="*/ 6878145 w 8810623"/>
                <a:gd name="connsiteY295" fmla="*/ 540749 h 787401"/>
                <a:gd name="connsiteX296" fmla="*/ 6809700 w 8810623"/>
                <a:gd name="connsiteY296" fmla="*/ 601560 h 787401"/>
                <a:gd name="connsiteX297" fmla="*/ 6709298 w 8810623"/>
                <a:gd name="connsiteY297" fmla="*/ 623888 h 787401"/>
                <a:gd name="connsiteX298" fmla="*/ 6603412 w 8810623"/>
                <a:gd name="connsiteY298" fmla="*/ 596571 h 787401"/>
                <a:gd name="connsiteX299" fmla="*/ 6539021 w 8810623"/>
                <a:gd name="connsiteY299" fmla="*/ 518421 h 787401"/>
                <a:gd name="connsiteX300" fmla="*/ 6518273 w 8810623"/>
                <a:gd name="connsiteY300" fmla="*/ 395850 h 787401"/>
                <a:gd name="connsiteX301" fmla="*/ 6527812 w 8810623"/>
                <a:gd name="connsiteY301" fmla="*/ 300835 h 787401"/>
                <a:gd name="connsiteX302" fmla="*/ 6589818 w 8810623"/>
                <a:gd name="connsiteY302" fmla="*/ 207244 h 787401"/>
                <a:gd name="connsiteX303" fmla="*/ 6702382 w 8810623"/>
                <a:gd name="connsiteY303" fmla="*/ 173038 h 787401"/>
                <a:gd name="connsiteX304" fmla="*/ 6260593 w 8810623"/>
                <a:gd name="connsiteY304" fmla="*/ 173038 h 787401"/>
                <a:gd name="connsiteX305" fmla="*/ 6372121 w 8810623"/>
                <a:gd name="connsiteY305" fmla="*/ 213930 h 787401"/>
                <a:gd name="connsiteX306" fmla="*/ 6413498 w 8810623"/>
                <a:gd name="connsiteY306" fmla="*/ 324242 h 787401"/>
                <a:gd name="connsiteX307" fmla="*/ 6413498 w 8810623"/>
                <a:gd name="connsiteY307" fmla="*/ 607393 h 787401"/>
                <a:gd name="connsiteX308" fmla="*/ 6404699 w 8810623"/>
                <a:gd name="connsiteY308" fmla="*/ 615951 h 787401"/>
                <a:gd name="connsiteX309" fmla="*/ 6339542 w 8810623"/>
                <a:gd name="connsiteY309" fmla="*/ 615951 h 787401"/>
                <a:gd name="connsiteX310" fmla="*/ 6330981 w 8810623"/>
                <a:gd name="connsiteY310" fmla="*/ 607393 h 787401"/>
                <a:gd name="connsiteX311" fmla="*/ 6330981 w 8810623"/>
                <a:gd name="connsiteY311" fmla="*/ 340408 h 787401"/>
                <a:gd name="connsiteX312" fmla="*/ 6306012 w 8810623"/>
                <a:gd name="connsiteY312" fmla="*/ 270988 h 787401"/>
                <a:gd name="connsiteX313" fmla="*/ 6239904 w 8810623"/>
                <a:gd name="connsiteY313" fmla="*/ 244361 h 787401"/>
                <a:gd name="connsiteX314" fmla="*/ 6173796 w 8810623"/>
                <a:gd name="connsiteY314" fmla="*/ 270988 h 787401"/>
                <a:gd name="connsiteX315" fmla="*/ 6148114 w 8810623"/>
                <a:gd name="connsiteY315" fmla="*/ 339695 h 787401"/>
                <a:gd name="connsiteX316" fmla="*/ 6148114 w 8810623"/>
                <a:gd name="connsiteY316" fmla="*/ 607393 h 787401"/>
                <a:gd name="connsiteX317" fmla="*/ 6139553 w 8810623"/>
                <a:gd name="connsiteY317" fmla="*/ 615951 h 787401"/>
                <a:gd name="connsiteX318" fmla="*/ 6074396 w 8810623"/>
                <a:gd name="connsiteY318" fmla="*/ 615951 h 787401"/>
                <a:gd name="connsiteX319" fmla="*/ 6065835 w 8810623"/>
                <a:gd name="connsiteY319" fmla="*/ 607393 h 787401"/>
                <a:gd name="connsiteX320" fmla="*/ 6065835 w 8810623"/>
                <a:gd name="connsiteY320" fmla="*/ 187778 h 787401"/>
                <a:gd name="connsiteX321" fmla="*/ 6074396 w 8810623"/>
                <a:gd name="connsiteY321" fmla="*/ 179220 h 787401"/>
                <a:gd name="connsiteX322" fmla="*/ 6139553 w 8810623"/>
                <a:gd name="connsiteY322" fmla="*/ 179220 h 787401"/>
                <a:gd name="connsiteX323" fmla="*/ 6148114 w 8810623"/>
                <a:gd name="connsiteY323" fmla="*/ 187778 h 787401"/>
                <a:gd name="connsiteX324" fmla="*/ 6148114 w 8810623"/>
                <a:gd name="connsiteY324" fmla="*/ 218685 h 787401"/>
                <a:gd name="connsiteX325" fmla="*/ 6149540 w 8810623"/>
                <a:gd name="connsiteY325" fmla="*/ 221062 h 787401"/>
                <a:gd name="connsiteX326" fmla="*/ 6151681 w 8810623"/>
                <a:gd name="connsiteY326" fmla="*/ 220349 h 787401"/>
                <a:gd name="connsiteX327" fmla="*/ 6260593 w 8810623"/>
                <a:gd name="connsiteY327" fmla="*/ 173038 h 787401"/>
                <a:gd name="connsiteX328" fmla="*/ 4806681 w 8810623"/>
                <a:gd name="connsiteY328" fmla="*/ 173038 h 787401"/>
                <a:gd name="connsiteX329" fmla="*/ 4918209 w 8810623"/>
                <a:gd name="connsiteY329" fmla="*/ 213930 h 787401"/>
                <a:gd name="connsiteX330" fmla="*/ 4959348 w 8810623"/>
                <a:gd name="connsiteY330" fmla="*/ 324242 h 787401"/>
                <a:gd name="connsiteX331" fmla="*/ 4959348 w 8810623"/>
                <a:gd name="connsiteY331" fmla="*/ 607393 h 787401"/>
                <a:gd name="connsiteX332" fmla="*/ 4950787 w 8810623"/>
                <a:gd name="connsiteY332" fmla="*/ 615951 h 787401"/>
                <a:gd name="connsiteX333" fmla="*/ 4885630 w 8810623"/>
                <a:gd name="connsiteY333" fmla="*/ 615951 h 787401"/>
                <a:gd name="connsiteX334" fmla="*/ 4877069 w 8810623"/>
                <a:gd name="connsiteY334" fmla="*/ 607393 h 787401"/>
                <a:gd name="connsiteX335" fmla="*/ 4877069 w 8810623"/>
                <a:gd name="connsiteY335" fmla="*/ 340408 h 787401"/>
                <a:gd name="connsiteX336" fmla="*/ 4852100 w 8810623"/>
                <a:gd name="connsiteY336" fmla="*/ 270988 h 787401"/>
                <a:gd name="connsiteX337" fmla="*/ 4785992 w 8810623"/>
                <a:gd name="connsiteY337" fmla="*/ 244361 h 787401"/>
                <a:gd name="connsiteX338" fmla="*/ 4719884 w 8810623"/>
                <a:gd name="connsiteY338" fmla="*/ 270988 h 787401"/>
                <a:gd name="connsiteX339" fmla="*/ 4694201 w 8810623"/>
                <a:gd name="connsiteY339" fmla="*/ 339695 h 787401"/>
                <a:gd name="connsiteX340" fmla="*/ 4694201 w 8810623"/>
                <a:gd name="connsiteY340" fmla="*/ 607393 h 787401"/>
                <a:gd name="connsiteX341" fmla="*/ 4685641 w 8810623"/>
                <a:gd name="connsiteY341" fmla="*/ 615951 h 787401"/>
                <a:gd name="connsiteX342" fmla="*/ 4620246 w 8810623"/>
                <a:gd name="connsiteY342" fmla="*/ 615951 h 787401"/>
                <a:gd name="connsiteX343" fmla="*/ 4611685 w 8810623"/>
                <a:gd name="connsiteY343" fmla="*/ 607393 h 787401"/>
                <a:gd name="connsiteX344" fmla="*/ 4611685 w 8810623"/>
                <a:gd name="connsiteY344" fmla="*/ 187778 h 787401"/>
                <a:gd name="connsiteX345" fmla="*/ 4620246 w 8810623"/>
                <a:gd name="connsiteY345" fmla="*/ 179220 h 787401"/>
                <a:gd name="connsiteX346" fmla="*/ 4685641 w 8810623"/>
                <a:gd name="connsiteY346" fmla="*/ 179220 h 787401"/>
                <a:gd name="connsiteX347" fmla="*/ 4694201 w 8810623"/>
                <a:gd name="connsiteY347" fmla="*/ 187778 h 787401"/>
                <a:gd name="connsiteX348" fmla="*/ 4694201 w 8810623"/>
                <a:gd name="connsiteY348" fmla="*/ 218685 h 787401"/>
                <a:gd name="connsiteX349" fmla="*/ 4695390 w 8810623"/>
                <a:gd name="connsiteY349" fmla="*/ 221062 h 787401"/>
                <a:gd name="connsiteX350" fmla="*/ 4697531 w 8810623"/>
                <a:gd name="connsiteY350" fmla="*/ 220349 h 787401"/>
                <a:gd name="connsiteX351" fmla="*/ 4806681 w 8810623"/>
                <a:gd name="connsiteY351" fmla="*/ 173038 h 787401"/>
                <a:gd name="connsiteX352" fmla="*/ 4320462 w 8810623"/>
                <a:gd name="connsiteY352" fmla="*/ 173038 h 787401"/>
                <a:gd name="connsiteX353" fmla="*/ 4449959 w 8810623"/>
                <a:gd name="connsiteY353" fmla="*/ 216270 h 787401"/>
                <a:gd name="connsiteX354" fmla="*/ 4502234 w 8810623"/>
                <a:gd name="connsiteY354" fmla="*/ 343592 h 787401"/>
                <a:gd name="connsiteX355" fmla="*/ 4504848 w 8810623"/>
                <a:gd name="connsiteY355" fmla="*/ 422455 h 787401"/>
                <a:gd name="connsiteX356" fmla="*/ 4496294 w 8810623"/>
                <a:gd name="connsiteY356" fmla="*/ 431006 h 787401"/>
                <a:gd name="connsiteX357" fmla="*/ 4222803 w 8810623"/>
                <a:gd name="connsiteY357" fmla="*/ 431006 h 787401"/>
                <a:gd name="connsiteX358" fmla="*/ 4219239 w 8810623"/>
                <a:gd name="connsiteY358" fmla="*/ 434569 h 787401"/>
                <a:gd name="connsiteX359" fmla="*/ 4224466 w 8810623"/>
                <a:gd name="connsiteY359" fmla="*/ 478989 h 787401"/>
                <a:gd name="connsiteX360" fmla="*/ 4262484 w 8810623"/>
                <a:gd name="connsiteY360" fmla="*/ 532673 h 787401"/>
                <a:gd name="connsiteX361" fmla="*/ 4334956 w 8810623"/>
                <a:gd name="connsiteY361" fmla="*/ 551914 h 787401"/>
                <a:gd name="connsiteX362" fmla="*/ 4432851 w 8810623"/>
                <a:gd name="connsiteY362" fmla="*/ 499655 h 787401"/>
                <a:gd name="connsiteX363" fmla="*/ 4444019 w 8810623"/>
                <a:gd name="connsiteY363" fmla="*/ 497042 h 787401"/>
                <a:gd name="connsiteX364" fmla="*/ 4492967 w 8810623"/>
                <a:gd name="connsiteY364" fmla="*/ 529585 h 787401"/>
                <a:gd name="connsiteX365" fmla="*/ 4495581 w 8810623"/>
                <a:gd name="connsiteY365" fmla="*/ 540749 h 787401"/>
                <a:gd name="connsiteX366" fmla="*/ 4427148 w 8810623"/>
                <a:gd name="connsiteY366" fmla="*/ 601560 h 787401"/>
                <a:gd name="connsiteX367" fmla="*/ 4327353 w 8810623"/>
                <a:gd name="connsiteY367" fmla="*/ 623888 h 787401"/>
                <a:gd name="connsiteX368" fmla="*/ 4221853 w 8810623"/>
                <a:gd name="connsiteY368" fmla="*/ 596571 h 787401"/>
                <a:gd name="connsiteX369" fmla="*/ 4157460 w 8810623"/>
                <a:gd name="connsiteY369" fmla="*/ 518421 h 787401"/>
                <a:gd name="connsiteX370" fmla="*/ 4137025 w 8810623"/>
                <a:gd name="connsiteY370" fmla="*/ 395850 h 787401"/>
                <a:gd name="connsiteX371" fmla="*/ 4146292 w 8810623"/>
                <a:gd name="connsiteY371" fmla="*/ 300835 h 787401"/>
                <a:gd name="connsiteX372" fmla="*/ 4208071 w 8810623"/>
                <a:gd name="connsiteY372" fmla="*/ 207244 h 787401"/>
                <a:gd name="connsiteX373" fmla="*/ 4320462 w 8810623"/>
                <a:gd name="connsiteY373" fmla="*/ 173038 h 787401"/>
                <a:gd name="connsiteX374" fmla="*/ 3635297 w 8810623"/>
                <a:gd name="connsiteY374" fmla="*/ 173038 h 787401"/>
                <a:gd name="connsiteX375" fmla="*/ 3710009 w 8810623"/>
                <a:gd name="connsiteY375" fmla="*/ 189918 h 787401"/>
                <a:gd name="connsiteX376" fmla="*/ 3758072 w 8810623"/>
                <a:gd name="connsiteY376" fmla="*/ 239130 h 787401"/>
                <a:gd name="connsiteX377" fmla="*/ 3763306 w 8810623"/>
                <a:gd name="connsiteY377" fmla="*/ 239130 h 787401"/>
                <a:gd name="connsiteX378" fmla="*/ 3817793 w 8810623"/>
                <a:gd name="connsiteY378" fmla="*/ 189442 h 787401"/>
                <a:gd name="connsiteX379" fmla="*/ 3892981 w 8810623"/>
                <a:gd name="connsiteY379" fmla="*/ 173038 h 787401"/>
                <a:gd name="connsiteX380" fmla="*/ 3996006 w 8810623"/>
                <a:gd name="connsiteY380" fmla="*/ 212266 h 787401"/>
                <a:gd name="connsiteX381" fmla="*/ 4033838 w 8810623"/>
                <a:gd name="connsiteY381" fmla="*/ 320676 h 787401"/>
                <a:gd name="connsiteX382" fmla="*/ 4033838 w 8810623"/>
                <a:gd name="connsiteY382" fmla="*/ 607393 h 787401"/>
                <a:gd name="connsiteX383" fmla="*/ 4025272 w 8810623"/>
                <a:gd name="connsiteY383" fmla="*/ 615951 h 787401"/>
                <a:gd name="connsiteX384" fmla="*/ 3960792 w 8810623"/>
                <a:gd name="connsiteY384" fmla="*/ 615951 h 787401"/>
                <a:gd name="connsiteX385" fmla="*/ 3952226 w 8810623"/>
                <a:gd name="connsiteY385" fmla="*/ 607393 h 787401"/>
                <a:gd name="connsiteX386" fmla="*/ 3952226 w 8810623"/>
                <a:gd name="connsiteY386" fmla="*/ 337793 h 787401"/>
                <a:gd name="connsiteX387" fmla="*/ 3928671 w 8810623"/>
                <a:gd name="connsiteY387" fmla="*/ 269561 h 787401"/>
                <a:gd name="connsiteX388" fmla="*/ 3865380 w 8810623"/>
                <a:gd name="connsiteY388" fmla="*/ 244361 h 787401"/>
                <a:gd name="connsiteX389" fmla="*/ 3801138 w 8810623"/>
                <a:gd name="connsiteY389" fmla="*/ 269324 h 787401"/>
                <a:gd name="connsiteX390" fmla="*/ 3776155 w 8810623"/>
                <a:gd name="connsiteY390" fmla="*/ 336129 h 787401"/>
                <a:gd name="connsiteX391" fmla="*/ 3776155 w 8810623"/>
                <a:gd name="connsiteY391" fmla="*/ 607393 h 787401"/>
                <a:gd name="connsiteX392" fmla="*/ 3767589 w 8810623"/>
                <a:gd name="connsiteY392" fmla="*/ 615951 h 787401"/>
                <a:gd name="connsiteX393" fmla="*/ 3703109 w 8810623"/>
                <a:gd name="connsiteY393" fmla="*/ 615951 h 787401"/>
                <a:gd name="connsiteX394" fmla="*/ 3694543 w 8810623"/>
                <a:gd name="connsiteY394" fmla="*/ 607393 h 787401"/>
                <a:gd name="connsiteX395" fmla="*/ 3694543 w 8810623"/>
                <a:gd name="connsiteY395" fmla="*/ 337793 h 787401"/>
                <a:gd name="connsiteX396" fmla="*/ 3670987 w 8810623"/>
                <a:gd name="connsiteY396" fmla="*/ 269561 h 787401"/>
                <a:gd name="connsiteX397" fmla="*/ 3607935 w 8810623"/>
                <a:gd name="connsiteY397" fmla="*/ 244361 h 787401"/>
                <a:gd name="connsiteX398" fmla="*/ 3544644 w 8810623"/>
                <a:gd name="connsiteY398" fmla="*/ 269324 h 787401"/>
                <a:gd name="connsiteX399" fmla="*/ 3521088 w 8810623"/>
                <a:gd name="connsiteY399" fmla="*/ 336129 h 787401"/>
                <a:gd name="connsiteX400" fmla="*/ 3521088 w 8810623"/>
                <a:gd name="connsiteY400" fmla="*/ 607393 h 787401"/>
                <a:gd name="connsiteX401" fmla="*/ 3512523 w 8810623"/>
                <a:gd name="connsiteY401" fmla="*/ 615951 h 787401"/>
                <a:gd name="connsiteX402" fmla="*/ 3447329 w 8810623"/>
                <a:gd name="connsiteY402" fmla="*/ 615951 h 787401"/>
                <a:gd name="connsiteX403" fmla="*/ 3438525 w 8810623"/>
                <a:gd name="connsiteY403" fmla="*/ 607393 h 787401"/>
                <a:gd name="connsiteX404" fmla="*/ 3438525 w 8810623"/>
                <a:gd name="connsiteY404" fmla="*/ 187778 h 787401"/>
                <a:gd name="connsiteX405" fmla="*/ 3447329 w 8810623"/>
                <a:gd name="connsiteY405" fmla="*/ 179220 h 787401"/>
                <a:gd name="connsiteX406" fmla="*/ 3512523 w 8810623"/>
                <a:gd name="connsiteY406" fmla="*/ 179220 h 787401"/>
                <a:gd name="connsiteX407" fmla="*/ 3521088 w 8810623"/>
                <a:gd name="connsiteY407" fmla="*/ 187778 h 787401"/>
                <a:gd name="connsiteX408" fmla="*/ 3521088 w 8810623"/>
                <a:gd name="connsiteY408" fmla="*/ 216783 h 787401"/>
                <a:gd name="connsiteX409" fmla="*/ 3522278 w 8810623"/>
                <a:gd name="connsiteY409" fmla="*/ 219398 h 787401"/>
                <a:gd name="connsiteX410" fmla="*/ 3525371 w 8810623"/>
                <a:gd name="connsiteY410" fmla="*/ 218685 h 787401"/>
                <a:gd name="connsiteX411" fmla="*/ 3635297 w 8810623"/>
                <a:gd name="connsiteY411" fmla="*/ 173038 h 787401"/>
                <a:gd name="connsiteX412" fmla="*/ 2676723 w 8810623"/>
                <a:gd name="connsiteY412" fmla="*/ 173038 h 787401"/>
                <a:gd name="connsiteX413" fmla="*/ 2806697 w 8810623"/>
                <a:gd name="connsiteY413" fmla="*/ 216270 h 787401"/>
                <a:gd name="connsiteX414" fmla="*/ 2859163 w 8810623"/>
                <a:gd name="connsiteY414" fmla="*/ 343592 h 787401"/>
                <a:gd name="connsiteX415" fmla="*/ 2861786 w 8810623"/>
                <a:gd name="connsiteY415" fmla="*/ 422455 h 787401"/>
                <a:gd name="connsiteX416" fmla="*/ 2853201 w 8810623"/>
                <a:gd name="connsiteY416" fmla="*/ 431006 h 787401"/>
                <a:gd name="connsiteX417" fmla="*/ 2578468 w 8810623"/>
                <a:gd name="connsiteY417" fmla="*/ 431006 h 787401"/>
                <a:gd name="connsiteX418" fmla="*/ 2575129 w 8810623"/>
                <a:gd name="connsiteY418" fmla="*/ 434569 h 787401"/>
                <a:gd name="connsiteX419" fmla="*/ 2580376 w 8810623"/>
                <a:gd name="connsiteY419" fmla="*/ 478989 h 787401"/>
                <a:gd name="connsiteX420" fmla="*/ 2618533 w 8810623"/>
                <a:gd name="connsiteY420" fmla="*/ 532673 h 787401"/>
                <a:gd name="connsiteX421" fmla="*/ 2691271 w 8810623"/>
                <a:gd name="connsiteY421" fmla="*/ 551914 h 787401"/>
                <a:gd name="connsiteX422" fmla="*/ 2789526 w 8810623"/>
                <a:gd name="connsiteY422" fmla="*/ 499655 h 787401"/>
                <a:gd name="connsiteX423" fmla="*/ 2800735 w 8810623"/>
                <a:gd name="connsiteY423" fmla="*/ 497042 h 787401"/>
                <a:gd name="connsiteX424" fmla="*/ 2849624 w 8810623"/>
                <a:gd name="connsiteY424" fmla="*/ 529585 h 787401"/>
                <a:gd name="connsiteX425" fmla="*/ 2852247 w 8810623"/>
                <a:gd name="connsiteY425" fmla="*/ 540749 h 787401"/>
                <a:gd name="connsiteX426" fmla="*/ 2783802 w 8810623"/>
                <a:gd name="connsiteY426" fmla="*/ 601560 h 787401"/>
                <a:gd name="connsiteX427" fmla="*/ 2683639 w 8810623"/>
                <a:gd name="connsiteY427" fmla="*/ 623888 h 787401"/>
                <a:gd name="connsiteX428" fmla="*/ 2577753 w 8810623"/>
                <a:gd name="connsiteY428" fmla="*/ 596571 h 787401"/>
                <a:gd name="connsiteX429" fmla="*/ 2513124 w 8810623"/>
                <a:gd name="connsiteY429" fmla="*/ 518421 h 787401"/>
                <a:gd name="connsiteX430" fmla="*/ 2492375 w 8810623"/>
                <a:gd name="connsiteY430" fmla="*/ 395850 h 787401"/>
                <a:gd name="connsiteX431" fmla="*/ 2501915 w 8810623"/>
                <a:gd name="connsiteY431" fmla="*/ 300835 h 787401"/>
                <a:gd name="connsiteX432" fmla="*/ 2563920 w 8810623"/>
                <a:gd name="connsiteY432" fmla="*/ 207244 h 787401"/>
                <a:gd name="connsiteX433" fmla="*/ 2676723 w 8810623"/>
                <a:gd name="connsiteY433" fmla="*/ 173038 h 787401"/>
                <a:gd name="connsiteX434" fmla="*/ 2234933 w 8810623"/>
                <a:gd name="connsiteY434" fmla="*/ 173038 h 787401"/>
                <a:gd name="connsiteX435" fmla="*/ 2346461 w 8810623"/>
                <a:gd name="connsiteY435" fmla="*/ 213930 h 787401"/>
                <a:gd name="connsiteX436" fmla="*/ 2387601 w 8810623"/>
                <a:gd name="connsiteY436" fmla="*/ 324242 h 787401"/>
                <a:gd name="connsiteX437" fmla="*/ 2387601 w 8810623"/>
                <a:gd name="connsiteY437" fmla="*/ 607393 h 787401"/>
                <a:gd name="connsiteX438" fmla="*/ 2379040 w 8810623"/>
                <a:gd name="connsiteY438" fmla="*/ 615951 h 787401"/>
                <a:gd name="connsiteX439" fmla="*/ 2313883 w 8810623"/>
                <a:gd name="connsiteY439" fmla="*/ 615951 h 787401"/>
                <a:gd name="connsiteX440" fmla="*/ 2305322 w 8810623"/>
                <a:gd name="connsiteY440" fmla="*/ 607393 h 787401"/>
                <a:gd name="connsiteX441" fmla="*/ 2305322 w 8810623"/>
                <a:gd name="connsiteY441" fmla="*/ 340408 h 787401"/>
                <a:gd name="connsiteX442" fmla="*/ 2280353 w 8810623"/>
                <a:gd name="connsiteY442" fmla="*/ 270988 h 787401"/>
                <a:gd name="connsiteX443" fmla="*/ 2214245 w 8810623"/>
                <a:gd name="connsiteY443" fmla="*/ 244361 h 787401"/>
                <a:gd name="connsiteX444" fmla="*/ 2148137 w 8810623"/>
                <a:gd name="connsiteY444" fmla="*/ 270988 h 787401"/>
                <a:gd name="connsiteX445" fmla="*/ 2122454 w 8810623"/>
                <a:gd name="connsiteY445" fmla="*/ 339695 h 787401"/>
                <a:gd name="connsiteX446" fmla="*/ 2122454 w 8810623"/>
                <a:gd name="connsiteY446" fmla="*/ 607393 h 787401"/>
                <a:gd name="connsiteX447" fmla="*/ 2113893 w 8810623"/>
                <a:gd name="connsiteY447" fmla="*/ 615951 h 787401"/>
                <a:gd name="connsiteX448" fmla="*/ 2048736 w 8810623"/>
                <a:gd name="connsiteY448" fmla="*/ 615951 h 787401"/>
                <a:gd name="connsiteX449" fmla="*/ 2039937 w 8810623"/>
                <a:gd name="connsiteY449" fmla="*/ 607393 h 787401"/>
                <a:gd name="connsiteX450" fmla="*/ 2039937 w 8810623"/>
                <a:gd name="connsiteY450" fmla="*/ 187778 h 787401"/>
                <a:gd name="connsiteX451" fmla="*/ 2048736 w 8810623"/>
                <a:gd name="connsiteY451" fmla="*/ 179220 h 787401"/>
                <a:gd name="connsiteX452" fmla="*/ 2113893 w 8810623"/>
                <a:gd name="connsiteY452" fmla="*/ 179220 h 787401"/>
                <a:gd name="connsiteX453" fmla="*/ 2122454 w 8810623"/>
                <a:gd name="connsiteY453" fmla="*/ 187778 h 787401"/>
                <a:gd name="connsiteX454" fmla="*/ 2122454 w 8810623"/>
                <a:gd name="connsiteY454" fmla="*/ 218685 h 787401"/>
                <a:gd name="connsiteX455" fmla="*/ 2123881 w 8810623"/>
                <a:gd name="connsiteY455" fmla="*/ 221062 h 787401"/>
                <a:gd name="connsiteX456" fmla="*/ 2125783 w 8810623"/>
                <a:gd name="connsiteY456" fmla="*/ 220349 h 787401"/>
                <a:gd name="connsiteX457" fmla="*/ 2234933 w 8810623"/>
                <a:gd name="connsiteY457" fmla="*/ 173038 h 787401"/>
                <a:gd name="connsiteX458" fmla="*/ 1424862 w 8810623"/>
                <a:gd name="connsiteY458" fmla="*/ 173038 h 787401"/>
                <a:gd name="connsiteX459" fmla="*/ 1554361 w 8810623"/>
                <a:gd name="connsiteY459" fmla="*/ 216270 h 787401"/>
                <a:gd name="connsiteX460" fmla="*/ 1606635 w 8810623"/>
                <a:gd name="connsiteY460" fmla="*/ 343592 h 787401"/>
                <a:gd name="connsiteX461" fmla="*/ 1609249 w 8810623"/>
                <a:gd name="connsiteY461" fmla="*/ 422455 h 787401"/>
                <a:gd name="connsiteX462" fmla="*/ 1600696 w 8810623"/>
                <a:gd name="connsiteY462" fmla="*/ 431006 h 787401"/>
                <a:gd name="connsiteX463" fmla="*/ 1326965 w 8810623"/>
                <a:gd name="connsiteY463" fmla="*/ 431006 h 787401"/>
                <a:gd name="connsiteX464" fmla="*/ 1323638 w 8810623"/>
                <a:gd name="connsiteY464" fmla="*/ 434569 h 787401"/>
                <a:gd name="connsiteX465" fmla="*/ 1328865 w 8810623"/>
                <a:gd name="connsiteY465" fmla="*/ 478989 h 787401"/>
                <a:gd name="connsiteX466" fmla="*/ 1366883 w 8810623"/>
                <a:gd name="connsiteY466" fmla="*/ 532673 h 787401"/>
                <a:gd name="connsiteX467" fmla="*/ 1439357 w 8810623"/>
                <a:gd name="connsiteY467" fmla="*/ 551914 h 787401"/>
                <a:gd name="connsiteX468" fmla="*/ 1537252 w 8810623"/>
                <a:gd name="connsiteY468" fmla="*/ 499655 h 787401"/>
                <a:gd name="connsiteX469" fmla="*/ 1548421 w 8810623"/>
                <a:gd name="connsiteY469" fmla="*/ 497042 h 787401"/>
                <a:gd name="connsiteX470" fmla="*/ 1597131 w 8810623"/>
                <a:gd name="connsiteY470" fmla="*/ 529585 h 787401"/>
                <a:gd name="connsiteX471" fmla="*/ 1599744 w 8810623"/>
                <a:gd name="connsiteY471" fmla="*/ 540749 h 787401"/>
                <a:gd name="connsiteX472" fmla="*/ 1531549 w 8810623"/>
                <a:gd name="connsiteY472" fmla="*/ 601560 h 787401"/>
                <a:gd name="connsiteX473" fmla="*/ 1431752 w 8810623"/>
                <a:gd name="connsiteY473" fmla="*/ 623888 h 787401"/>
                <a:gd name="connsiteX474" fmla="*/ 1326253 w 8810623"/>
                <a:gd name="connsiteY474" fmla="*/ 596571 h 787401"/>
                <a:gd name="connsiteX475" fmla="*/ 1261858 w 8810623"/>
                <a:gd name="connsiteY475" fmla="*/ 518421 h 787401"/>
                <a:gd name="connsiteX476" fmla="*/ 1241425 w 8810623"/>
                <a:gd name="connsiteY476" fmla="*/ 395850 h 787401"/>
                <a:gd name="connsiteX477" fmla="*/ 1250692 w 8810623"/>
                <a:gd name="connsiteY477" fmla="*/ 300835 h 787401"/>
                <a:gd name="connsiteX478" fmla="*/ 1312471 w 8810623"/>
                <a:gd name="connsiteY478" fmla="*/ 207244 h 787401"/>
                <a:gd name="connsiteX479" fmla="*/ 1424862 w 8810623"/>
                <a:gd name="connsiteY479" fmla="*/ 173038 h 787401"/>
                <a:gd name="connsiteX480" fmla="*/ 666483 w 8810623"/>
                <a:gd name="connsiteY480" fmla="*/ 173038 h 787401"/>
                <a:gd name="connsiteX481" fmla="*/ 778011 w 8810623"/>
                <a:gd name="connsiteY481" fmla="*/ 213930 h 787401"/>
                <a:gd name="connsiteX482" fmla="*/ 819150 w 8810623"/>
                <a:gd name="connsiteY482" fmla="*/ 324242 h 787401"/>
                <a:gd name="connsiteX483" fmla="*/ 819150 w 8810623"/>
                <a:gd name="connsiteY483" fmla="*/ 607393 h 787401"/>
                <a:gd name="connsiteX484" fmla="*/ 810589 w 8810623"/>
                <a:gd name="connsiteY484" fmla="*/ 615951 h 787401"/>
                <a:gd name="connsiteX485" fmla="*/ 745432 w 8810623"/>
                <a:gd name="connsiteY485" fmla="*/ 615951 h 787401"/>
                <a:gd name="connsiteX486" fmla="*/ 736870 w 8810623"/>
                <a:gd name="connsiteY486" fmla="*/ 607393 h 787401"/>
                <a:gd name="connsiteX487" fmla="*/ 736870 w 8810623"/>
                <a:gd name="connsiteY487" fmla="*/ 340408 h 787401"/>
                <a:gd name="connsiteX488" fmla="*/ 711902 w 8810623"/>
                <a:gd name="connsiteY488" fmla="*/ 270988 h 787401"/>
                <a:gd name="connsiteX489" fmla="*/ 645794 w 8810623"/>
                <a:gd name="connsiteY489" fmla="*/ 244361 h 787401"/>
                <a:gd name="connsiteX490" fmla="*/ 579685 w 8810623"/>
                <a:gd name="connsiteY490" fmla="*/ 270988 h 787401"/>
                <a:gd name="connsiteX491" fmla="*/ 554003 w 8810623"/>
                <a:gd name="connsiteY491" fmla="*/ 339695 h 787401"/>
                <a:gd name="connsiteX492" fmla="*/ 554003 w 8810623"/>
                <a:gd name="connsiteY492" fmla="*/ 607393 h 787401"/>
                <a:gd name="connsiteX493" fmla="*/ 545443 w 8810623"/>
                <a:gd name="connsiteY493" fmla="*/ 615951 h 787401"/>
                <a:gd name="connsiteX494" fmla="*/ 480047 w 8810623"/>
                <a:gd name="connsiteY494" fmla="*/ 615951 h 787401"/>
                <a:gd name="connsiteX495" fmla="*/ 471487 w 8810623"/>
                <a:gd name="connsiteY495" fmla="*/ 607393 h 787401"/>
                <a:gd name="connsiteX496" fmla="*/ 471487 w 8810623"/>
                <a:gd name="connsiteY496" fmla="*/ 187778 h 787401"/>
                <a:gd name="connsiteX497" fmla="*/ 480047 w 8810623"/>
                <a:gd name="connsiteY497" fmla="*/ 179220 h 787401"/>
                <a:gd name="connsiteX498" fmla="*/ 545443 w 8810623"/>
                <a:gd name="connsiteY498" fmla="*/ 179220 h 787401"/>
                <a:gd name="connsiteX499" fmla="*/ 554003 w 8810623"/>
                <a:gd name="connsiteY499" fmla="*/ 187778 h 787401"/>
                <a:gd name="connsiteX500" fmla="*/ 554003 w 8810623"/>
                <a:gd name="connsiteY500" fmla="*/ 218685 h 787401"/>
                <a:gd name="connsiteX501" fmla="*/ 555193 w 8810623"/>
                <a:gd name="connsiteY501" fmla="*/ 221062 h 787401"/>
                <a:gd name="connsiteX502" fmla="*/ 557333 w 8810623"/>
                <a:gd name="connsiteY502" fmla="*/ 220349 h 787401"/>
                <a:gd name="connsiteX503" fmla="*/ 666483 w 8810623"/>
                <a:gd name="connsiteY503" fmla="*/ 173038 h 787401"/>
                <a:gd name="connsiteX504" fmla="*/ 981340 w 8810623"/>
                <a:gd name="connsiteY504" fmla="*/ 65088 h 787401"/>
                <a:gd name="connsiteX505" fmla="*/ 1043412 w 8810623"/>
                <a:gd name="connsiteY505" fmla="*/ 65088 h 787401"/>
                <a:gd name="connsiteX506" fmla="*/ 1052005 w 8810623"/>
                <a:gd name="connsiteY506" fmla="*/ 73657 h 787401"/>
                <a:gd name="connsiteX507" fmla="*/ 1052005 w 8810623"/>
                <a:gd name="connsiteY507" fmla="*/ 175055 h 787401"/>
                <a:gd name="connsiteX508" fmla="*/ 1055588 w 8810623"/>
                <a:gd name="connsiteY508" fmla="*/ 178387 h 787401"/>
                <a:gd name="connsiteX509" fmla="*/ 1148693 w 8810623"/>
                <a:gd name="connsiteY509" fmla="*/ 178387 h 787401"/>
                <a:gd name="connsiteX510" fmla="*/ 1157288 w 8810623"/>
                <a:gd name="connsiteY510" fmla="*/ 187194 h 787401"/>
                <a:gd name="connsiteX511" fmla="*/ 1157288 w 8810623"/>
                <a:gd name="connsiteY511" fmla="*/ 237893 h 787401"/>
                <a:gd name="connsiteX512" fmla="*/ 1148693 w 8810623"/>
                <a:gd name="connsiteY512" fmla="*/ 246461 h 787401"/>
                <a:gd name="connsiteX513" fmla="*/ 1055588 w 8810623"/>
                <a:gd name="connsiteY513" fmla="*/ 246461 h 787401"/>
                <a:gd name="connsiteX514" fmla="*/ 1052005 w 8810623"/>
                <a:gd name="connsiteY514" fmla="*/ 249794 h 787401"/>
                <a:gd name="connsiteX515" fmla="*/ 1052005 w 8810623"/>
                <a:gd name="connsiteY515" fmla="*/ 477581 h 787401"/>
                <a:gd name="connsiteX516" fmla="*/ 1068478 w 8810623"/>
                <a:gd name="connsiteY516" fmla="*/ 529470 h 787401"/>
                <a:gd name="connsiteX517" fmla="*/ 1119328 w 8810623"/>
                <a:gd name="connsiteY517" fmla="*/ 545417 h 787401"/>
                <a:gd name="connsiteX518" fmla="*/ 1144396 w 8810623"/>
                <a:gd name="connsiteY518" fmla="*/ 545417 h 787401"/>
                <a:gd name="connsiteX519" fmla="*/ 1152990 w 8810623"/>
                <a:gd name="connsiteY519" fmla="*/ 553986 h 787401"/>
                <a:gd name="connsiteX520" fmla="*/ 1152990 w 8810623"/>
                <a:gd name="connsiteY520" fmla="*/ 607303 h 787401"/>
                <a:gd name="connsiteX521" fmla="*/ 1144396 w 8810623"/>
                <a:gd name="connsiteY521" fmla="*/ 615872 h 787401"/>
                <a:gd name="connsiteX522" fmla="*/ 1104765 w 8810623"/>
                <a:gd name="connsiteY522" fmla="*/ 617538 h 787401"/>
                <a:gd name="connsiteX523" fmla="*/ 1005931 w 8810623"/>
                <a:gd name="connsiteY523" fmla="*/ 593974 h 787401"/>
                <a:gd name="connsiteX524" fmla="*/ 972746 w 8810623"/>
                <a:gd name="connsiteY524" fmla="*/ 506620 h 787401"/>
                <a:gd name="connsiteX525" fmla="*/ 972746 w 8810623"/>
                <a:gd name="connsiteY525" fmla="*/ 249794 h 787401"/>
                <a:gd name="connsiteX526" fmla="*/ 969403 w 8810623"/>
                <a:gd name="connsiteY526" fmla="*/ 246461 h 787401"/>
                <a:gd name="connsiteX527" fmla="*/ 916883 w 8810623"/>
                <a:gd name="connsiteY527" fmla="*/ 246461 h 787401"/>
                <a:gd name="connsiteX528" fmla="*/ 908049 w 8810623"/>
                <a:gd name="connsiteY528" fmla="*/ 237893 h 787401"/>
                <a:gd name="connsiteX529" fmla="*/ 908049 w 8810623"/>
                <a:gd name="connsiteY529" fmla="*/ 187194 h 787401"/>
                <a:gd name="connsiteX530" fmla="*/ 916883 w 8810623"/>
                <a:gd name="connsiteY530" fmla="*/ 178387 h 787401"/>
                <a:gd name="connsiteX531" fmla="*/ 969403 w 8810623"/>
                <a:gd name="connsiteY531" fmla="*/ 178387 h 787401"/>
                <a:gd name="connsiteX532" fmla="*/ 972746 w 8810623"/>
                <a:gd name="connsiteY532" fmla="*/ 175055 h 787401"/>
                <a:gd name="connsiteX533" fmla="*/ 972746 w 8810623"/>
                <a:gd name="connsiteY533" fmla="*/ 73657 h 787401"/>
                <a:gd name="connsiteX534" fmla="*/ 981340 w 8810623"/>
                <a:gd name="connsiteY534" fmla="*/ 65088 h 787401"/>
                <a:gd name="connsiteX535" fmla="*/ 2978773 w 8810623"/>
                <a:gd name="connsiteY535" fmla="*/ 15875 h 787401"/>
                <a:gd name="connsiteX536" fmla="*/ 3043930 w 8810623"/>
                <a:gd name="connsiteY536" fmla="*/ 15875 h 787401"/>
                <a:gd name="connsiteX537" fmla="*/ 3052491 w 8810623"/>
                <a:gd name="connsiteY537" fmla="*/ 24424 h 787401"/>
                <a:gd name="connsiteX538" fmla="*/ 3052491 w 8810623"/>
                <a:gd name="connsiteY538" fmla="*/ 219146 h 787401"/>
                <a:gd name="connsiteX539" fmla="*/ 3053918 w 8810623"/>
                <a:gd name="connsiteY539" fmla="*/ 221520 h 787401"/>
                <a:gd name="connsiteX540" fmla="*/ 3056058 w 8810623"/>
                <a:gd name="connsiteY540" fmla="*/ 220808 h 787401"/>
                <a:gd name="connsiteX541" fmla="*/ 3164970 w 8810623"/>
                <a:gd name="connsiteY541" fmla="*/ 173552 h 787401"/>
                <a:gd name="connsiteX542" fmla="*/ 3276736 w 8810623"/>
                <a:gd name="connsiteY542" fmla="*/ 214396 h 787401"/>
                <a:gd name="connsiteX543" fmla="*/ 3317875 w 8810623"/>
                <a:gd name="connsiteY543" fmla="*/ 324580 h 787401"/>
                <a:gd name="connsiteX544" fmla="*/ 3317875 w 8810623"/>
                <a:gd name="connsiteY544" fmla="*/ 607401 h 787401"/>
                <a:gd name="connsiteX545" fmla="*/ 3309314 w 8810623"/>
                <a:gd name="connsiteY545" fmla="*/ 615950 h 787401"/>
                <a:gd name="connsiteX546" fmla="*/ 3243920 w 8810623"/>
                <a:gd name="connsiteY546" fmla="*/ 615950 h 787401"/>
                <a:gd name="connsiteX547" fmla="*/ 3235359 w 8810623"/>
                <a:gd name="connsiteY547" fmla="*/ 607401 h 787401"/>
                <a:gd name="connsiteX548" fmla="*/ 3235359 w 8810623"/>
                <a:gd name="connsiteY548" fmla="*/ 340728 h 787401"/>
                <a:gd name="connsiteX549" fmla="*/ 3210628 w 8810623"/>
                <a:gd name="connsiteY549" fmla="*/ 271388 h 787401"/>
                <a:gd name="connsiteX550" fmla="*/ 3144519 w 8810623"/>
                <a:gd name="connsiteY550" fmla="*/ 244792 h 787401"/>
                <a:gd name="connsiteX551" fmla="*/ 3078411 w 8810623"/>
                <a:gd name="connsiteY551" fmla="*/ 271388 h 787401"/>
                <a:gd name="connsiteX552" fmla="*/ 3052491 w 8810623"/>
                <a:gd name="connsiteY552" fmla="*/ 340015 h 787401"/>
                <a:gd name="connsiteX553" fmla="*/ 3052491 w 8810623"/>
                <a:gd name="connsiteY553" fmla="*/ 607401 h 787401"/>
                <a:gd name="connsiteX554" fmla="*/ 3043930 w 8810623"/>
                <a:gd name="connsiteY554" fmla="*/ 615950 h 787401"/>
                <a:gd name="connsiteX555" fmla="*/ 2978773 w 8810623"/>
                <a:gd name="connsiteY555" fmla="*/ 615950 h 787401"/>
                <a:gd name="connsiteX556" fmla="*/ 2970212 w 8810623"/>
                <a:gd name="connsiteY556" fmla="*/ 607401 h 787401"/>
                <a:gd name="connsiteX557" fmla="*/ 2970212 w 8810623"/>
                <a:gd name="connsiteY557" fmla="*/ 24424 h 787401"/>
                <a:gd name="connsiteX558" fmla="*/ 2978773 w 8810623"/>
                <a:gd name="connsiteY558" fmla="*/ 15875 h 787401"/>
                <a:gd name="connsiteX559" fmla="*/ 7824785 w 8810623"/>
                <a:gd name="connsiteY559" fmla="*/ 0 h 787401"/>
                <a:gd name="connsiteX560" fmla="*/ 7864954 w 8810623"/>
                <a:gd name="connsiteY560" fmla="*/ 15634 h 787401"/>
                <a:gd name="connsiteX561" fmla="*/ 7880348 w 8810623"/>
                <a:gd name="connsiteY561" fmla="*/ 55562 h 787401"/>
                <a:gd name="connsiteX562" fmla="*/ 7864954 w 8810623"/>
                <a:gd name="connsiteY562" fmla="*/ 95490 h 787401"/>
                <a:gd name="connsiteX563" fmla="*/ 7824785 w 8810623"/>
                <a:gd name="connsiteY563" fmla="*/ 111125 h 787401"/>
                <a:gd name="connsiteX564" fmla="*/ 7784857 w 8810623"/>
                <a:gd name="connsiteY564" fmla="*/ 95490 h 787401"/>
                <a:gd name="connsiteX565" fmla="*/ 7769223 w 8810623"/>
                <a:gd name="connsiteY565" fmla="*/ 55562 h 787401"/>
                <a:gd name="connsiteX566" fmla="*/ 7784857 w 8810623"/>
                <a:gd name="connsiteY566" fmla="*/ 15634 h 787401"/>
                <a:gd name="connsiteX567" fmla="*/ 7824785 w 8810623"/>
                <a:gd name="connsiteY567" fmla="*/ 0 h 787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</a:cxnLst>
              <a:rect l="l" t="t" r="r" b="b"/>
              <a:pathLst>
                <a:path w="8810623" h="787401">
                  <a:moveTo>
                    <a:pt x="8170503" y="242888"/>
                  </a:moveTo>
                  <a:cubicBezTo>
                    <a:pt x="8145787" y="242888"/>
                    <a:pt x="8125585" y="249137"/>
                    <a:pt x="8109425" y="261635"/>
                  </a:cubicBezTo>
                  <a:cubicBezTo>
                    <a:pt x="8093501" y="274132"/>
                    <a:pt x="8082569" y="290716"/>
                    <a:pt x="8076865" y="311385"/>
                  </a:cubicBezTo>
                  <a:cubicBezTo>
                    <a:pt x="8072825" y="324123"/>
                    <a:pt x="8070211" y="340466"/>
                    <a:pt x="8069260" y="360174"/>
                  </a:cubicBezTo>
                  <a:cubicBezTo>
                    <a:pt x="8069260" y="362337"/>
                    <a:pt x="8070211" y="363538"/>
                    <a:pt x="8072587" y="363538"/>
                  </a:cubicBezTo>
                  <a:cubicBezTo>
                    <a:pt x="8269133" y="363538"/>
                    <a:pt x="8269133" y="363538"/>
                    <a:pt x="8269133" y="363538"/>
                  </a:cubicBezTo>
                  <a:cubicBezTo>
                    <a:pt x="8271271" y="363538"/>
                    <a:pt x="8272460" y="362337"/>
                    <a:pt x="8272460" y="360174"/>
                  </a:cubicBezTo>
                  <a:cubicBezTo>
                    <a:pt x="8271271" y="340946"/>
                    <a:pt x="8269608" y="326766"/>
                    <a:pt x="8267469" y="317634"/>
                  </a:cubicBezTo>
                  <a:cubicBezTo>
                    <a:pt x="8261527" y="295042"/>
                    <a:pt x="8250357" y="277016"/>
                    <a:pt x="8233483" y="263317"/>
                  </a:cubicBezTo>
                  <a:cubicBezTo>
                    <a:pt x="8216610" y="249858"/>
                    <a:pt x="8195458" y="242888"/>
                    <a:pt x="8170503" y="242888"/>
                  </a:cubicBezTo>
                  <a:close/>
                  <a:moveTo>
                    <a:pt x="7476614" y="242888"/>
                  </a:moveTo>
                  <a:cubicBezTo>
                    <a:pt x="7452516" y="242888"/>
                    <a:pt x="7432235" y="249819"/>
                    <a:pt x="7416249" y="263203"/>
                  </a:cubicBezTo>
                  <a:cubicBezTo>
                    <a:pt x="7400264" y="276825"/>
                    <a:pt x="7388811" y="294272"/>
                    <a:pt x="7381892" y="315542"/>
                  </a:cubicBezTo>
                  <a:cubicBezTo>
                    <a:pt x="7375450" y="332749"/>
                    <a:pt x="7372348" y="359516"/>
                    <a:pt x="7372348" y="395604"/>
                  </a:cubicBezTo>
                  <a:cubicBezTo>
                    <a:pt x="7372348" y="435277"/>
                    <a:pt x="7375211" y="462283"/>
                    <a:pt x="7380937" y="476862"/>
                  </a:cubicBezTo>
                  <a:cubicBezTo>
                    <a:pt x="7386664" y="498132"/>
                    <a:pt x="7398116" y="515339"/>
                    <a:pt x="7415056" y="528962"/>
                  </a:cubicBezTo>
                  <a:cubicBezTo>
                    <a:pt x="7431997" y="542584"/>
                    <a:pt x="7452516" y="549276"/>
                    <a:pt x="7476614" y="549276"/>
                  </a:cubicBezTo>
                  <a:cubicBezTo>
                    <a:pt x="7501905" y="549276"/>
                    <a:pt x="7522424" y="542584"/>
                    <a:pt x="7538172" y="528962"/>
                  </a:cubicBezTo>
                  <a:cubicBezTo>
                    <a:pt x="7553919" y="515339"/>
                    <a:pt x="7564178" y="498132"/>
                    <a:pt x="7568712" y="476862"/>
                  </a:cubicBezTo>
                  <a:cubicBezTo>
                    <a:pt x="7570382" y="467541"/>
                    <a:pt x="7571814" y="457742"/>
                    <a:pt x="7572529" y="447466"/>
                  </a:cubicBezTo>
                  <a:cubicBezTo>
                    <a:pt x="7573484" y="436950"/>
                    <a:pt x="7573961" y="419742"/>
                    <a:pt x="7573961" y="395604"/>
                  </a:cubicBezTo>
                  <a:cubicBezTo>
                    <a:pt x="7573961" y="371466"/>
                    <a:pt x="7573484" y="354498"/>
                    <a:pt x="7572529" y="344221"/>
                  </a:cubicBezTo>
                  <a:cubicBezTo>
                    <a:pt x="7571814" y="334183"/>
                    <a:pt x="7570143" y="324624"/>
                    <a:pt x="7567757" y="315542"/>
                  </a:cubicBezTo>
                  <a:cubicBezTo>
                    <a:pt x="7563224" y="294272"/>
                    <a:pt x="7552964" y="276825"/>
                    <a:pt x="7536740" y="263203"/>
                  </a:cubicBezTo>
                  <a:cubicBezTo>
                    <a:pt x="7520754" y="249819"/>
                    <a:pt x="7500712" y="242888"/>
                    <a:pt x="7476614" y="242888"/>
                  </a:cubicBezTo>
                  <a:close/>
                  <a:moveTo>
                    <a:pt x="6701829" y="242888"/>
                  </a:moveTo>
                  <a:cubicBezTo>
                    <a:pt x="6677350" y="242888"/>
                    <a:pt x="6657148" y="249137"/>
                    <a:pt x="6640988" y="261635"/>
                  </a:cubicBezTo>
                  <a:cubicBezTo>
                    <a:pt x="6625064" y="274132"/>
                    <a:pt x="6614132" y="290716"/>
                    <a:pt x="6608428" y="311385"/>
                  </a:cubicBezTo>
                  <a:cubicBezTo>
                    <a:pt x="6604388" y="324123"/>
                    <a:pt x="6601774" y="340466"/>
                    <a:pt x="6600823" y="360174"/>
                  </a:cubicBezTo>
                  <a:cubicBezTo>
                    <a:pt x="6600823" y="362337"/>
                    <a:pt x="6601774" y="363538"/>
                    <a:pt x="6604150" y="363538"/>
                  </a:cubicBezTo>
                  <a:cubicBezTo>
                    <a:pt x="6800696" y="363538"/>
                    <a:pt x="6800696" y="363538"/>
                    <a:pt x="6800696" y="363538"/>
                  </a:cubicBezTo>
                  <a:cubicBezTo>
                    <a:pt x="6802835" y="363538"/>
                    <a:pt x="6804023" y="362337"/>
                    <a:pt x="6804023" y="360174"/>
                  </a:cubicBezTo>
                  <a:cubicBezTo>
                    <a:pt x="6802835" y="340946"/>
                    <a:pt x="6801171" y="326766"/>
                    <a:pt x="6798794" y="317634"/>
                  </a:cubicBezTo>
                  <a:cubicBezTo>
                    <a:pt x="6793090" y="295042"/>
                    <a:pt x="6781920" y="277016"/>
                    <a:pt x="6765046" y="263317"/>
                  </a:cubicBezTo>
                  <a:cubicBezTo>
                    <a:pt x="6748173" y="249858"/>
                    <a:pt x="6727021" y="242888"/>
                    <a:pt x="6701829" y="242888"/>
                  </a:cubicBezTo>
                  <a:close/>
                  <a:moveTo>
                    <a:pt x="4320700" y="242888"/>
                  </a:moveTo>
                  <a:cubicBezTo>
                    <a:pt x="4296250" y="242888"/>
                    <a:pt x="4275835" y="249137"/>
                    <a:pt x="4259930" y="261635"/>
                  </a:cubicBezTo>
                  <a:cubicBezTo>
                    <a:pt x="4243788" y="274132"/>
                    <a:pt x="4233106" y="290716"/>
                    <a:pt x="4227409" y="311385"/>
                  </a:cubicBezTo>
                  <a:cubicBezTo>
                    <a:pt x="4223373" y="324123"/>
                    <a:pt x="4220762" y="340466"/>
                    <a:pt x="4219575" y="360174"/>
                  </a:cubicBezTo>
                  <a:cubicBezTo>
                    <a:pt x="4219575" y="362337"/>
                    <a:pt x="4220762" y="363538"/>
                    <a:pt x="4223136" y="363538"/>
                  </a:cubicBezTo>
                  <a:cubicBezTo>
                    <a:pt x="4419212" y="363538"/>
                    <a:pt x="4419212" y="363538"/>
                    <a:pt x="4419212" y="363538"/>
                  </a:cubicBezTo>
                  <a:cubicBezTo>
                    <a:pt x="4421586" y="363538"/>
                    <a:pt x="4422773" y="362337"/>
                    <a:pt x="4422773" y="360174"/>
                  </a:cubicBezTo>
                  <a:cubicBezTo>
                    <a:pt x="4421586" y="340946"/>
                    <a:pt x="4419924" y="326766"/>
                    <a:pt x="4417551" y="317634"/>
                  </a:cubicBezTo>
                  <a:cubicBezTo>
                    <a:pt x="4411853" y="295042"/>
                    <a:pt x="4400461" y="277016"/>
                    <a:pt x="4383607" y="263317"/>
                  </a:cubicBezTo>
                  <a:cubicBezTo>
                    <a:pt x="4366753" y="249858"/>
                    <a:pt x="4345863" y="242888"/>
                    <a:pt x="4320700" y="242888"/>
                  </a:cubicBezTo>
                  <a:close/>
                  <a:moveTo>
                    <a:pt x="2676960" y="242888"/>
                  </a:moveTo>
                  <a:cubicBezTo>
                    <a:pt x="2652050" y="242888"/>
                    <a:pt x="2631691" y="249137"/>
                    <a:pt x="2615643" y="261635"/>
                  </a:cubicBezTo>
                  <a:cubicBezTo>
                    <a:pt x="2599356" y="274132"/>
                    <a:pt x="2588578" y="290716"/>
                    <a:pt x="2582590" y="311385"/>
                  </a:cubicBezTo>
                  <a:cubicBezTo>
                    <a:pt x="2578758" y="324123"/>
                    <a:pt x="2576123" y="340466"/>
                    <a:pt x="2574925" y="360174"/>
                  </a:cubicBezTo>
                  <a:cubicBezTo>
                    <a:pt x="2574925" y="362337"/>
                    <a:pt x="2576123" y="363538"/>
                    <a:pt x="2578279" y="363538"/>
                  </a:cubicBezTo>
                  <a:cubicBezTo>
                    <a:pt x="2776360" y="363538"/>
                    <a:pt x="2776360" y="363538"/>
                    <a:pt x="2776360" y="363538"/>
                  </a:cubicBezTo>
                  <a:cubicBezTo>
                    <a:pt x="2778755" y="363538"/>
                    <a:pt x="2779713" y="362337"/>
                    <a:pt x="2779713" y="360174"/>
                  </a:cubicBezTo>
                  <a:cubicBezTo>
                    <a:pt x="2778755" y="340946"/>
                    <a:pt x="2776839" y="326766"/>
                    <a:pt x="2774683" y="317634"/>
                  </a:cubicBezTo>
                  <a:cubicBezTo>
                    <a:pt x="2768935" y="295042"/>
                    <a:pt x="2757438" y="277016"/>
                    <a:pt x="2740432" y="263317"/>
                  </a:cubicBezTo>
                  <a:cubicBezTo>
                    <a:pt x="2723427" y="249858"/>
                    <a:pt x="2702349" y="242888"/>
                    <a:pt x="2676960" y="242888"/>
                  </a:cubicBezTo>
                  <a:close/>
                  <a:moveTo>
                    <a:pt x="1425100" y="242888"/>
                  </a:moveTo>
                  <a:cubicBezTo>
                    <a:pt x="1400650" y="242888"/>
                    <a:pt x="1380234" y="249137"/>
                    <a:pt x="1364331" y="261635"/>
                  </a:cubicBezTo>
                  <a:cubicBezTo>
                    <a:pt x="1348187" y="274132"/>
                    <a:pt x="1337506" y="290716"/>
                    <a:pt x="1331571" y="311385"/>
                  </a:cubicBezTo>
                  <a:cubicBezTo>
                    <a:pt x="1327772" y="324123"/>
                    <a:pt x="1325162" y="340466"/>
                    <a:pt x="1323974" y="360174"/>
                  </a:cubicBezTo>
                  <a:cubicBezTo>
                    <a:pt x="1323974" y="362337"/>
                    <a:pt x="1325162" y="363538"/>
                    <a:pt x="1327297" y="363538"/>
                  </a:cubicBezTo>
                  <a:cubicBezTo>
                    <a:pt x="1523613" y="363538"/>
                    <a:pt x="1523613" y="363538"/>
                    <a:pt x="1523613" y="363538"/>
                  </a:cubicBezTo>
                  <a:cubicBezTo>
                    <a:pt x="1525988" y="363538"/>
                    <a:pt x="1527175" y="362337"/>
                    <a:pt x="1527175" y="360174"/>
                  </a:cubicBezTo>
                  <a:cubicBezTo>
                    <a:pt x="1525988" y="340946"/>
                    <a:pt x="1524088" y="326766"/>
                    <a:pt x="1521951" y="317634"/>
                  </a:cubicBezTo>
                  <a:cubicBezTo>
                    <a:pt x="1516254" y="295042"/>
                    <a:pt x="1504860" y="277016"/>
                    <a:pt x="1488007" y="263317"/>
                  </a:cubicBezTo>
                  <a:cubicBezTo>
                    <a:pt x="1471151" y="249858"/>
                    <a:pt x="1450263" y="242888"/>
                    <a:pt x="1425100" y="242888"/>
                  </a:cubicBezTo>
                  <a:close/>
                  <a:moveTo>
                    <a:pt x="7790487" y="179388"/>
                  </a:moveTo>
                  <a:cubicBezTo>
                    <a:pt x="7855671" y="179388"/>
                    <a:pt x="7855671" y="179388"/>
                    <a:pt x="7855671" y="179388"/>
                  </a:cubicBezTo>
                  <a:cubicBezTo>
                    <a:pt x="7861380" y="179388"/>
                    <a:pt x="7864473" y="182246"/>
                    <a:pt x="7864473" y="187962"/>
                  </a:cubicBezTo>
                  <a:cubicBezTo>
                    <a:pt x="7864473" y="607377"/>
                    <a:pt x="7864473" y="607377"/>
                    <a:pt x="7864473" y="607377"/>
                  </a:cubicBezTo>
                  <a:cubicBezTo>
                    <a:pt x="7864473" y="613093"/>
                    <a:pt x="7861380" y="615951"/>
                    <a:pt x="7855671" y="615951"/>
                  </a:cubicBezTo>
                  <a:cubicBezTo>
                    <a:pt x="7790487" y="615951"/>
                    <a:pt x="7790487" y="615951"/>
                    <a:pt x="7790487" y="615951"/>
                  </a:cubicBezTo>
                  <a:cubicBezTo>
                    <a:pt x="7784778" y="615951"/>
                    <a:pt x="7781923" y="613093"/>
                    <a:pt x="7781923" y="607377"/>
                  </a:cubicBezTo>
                  <a:cubicBezTo>
                    <a:pt x="7781923" y="187962"/>
                    <a:pt x="7781923" y="187962"/>
                    <a:pt x="7781923" y="187962"/>
                  </a:cubicBezTo>
                  <a:cubicBezTo>
                    <a:pt x="7781923" y="182246"/>
                    <a:pt x="7784778" y="179388"/>
                    <a:pt x="7790487" y="179388"/>
                  </a:cubicBezTo>
                  <a:close/>
                  <a:moveTo>
                    <a:pt x="5619666" y="179388"/>
                  </a:moveTo>
                  <a:cubicBezTo>
                    <a:pt x="5689184" y="179388"/>
                    <a:pt x="5689184" y="179388"/>
                    <a:pt x="5689184" y="179388"/>
                  </a:cubicBezTo>
                  <a:cubicBezTo>
                    <a:pt x="5694422" y="179388"/>
                    <a:pt x="5697755" y="181530"/>
                    <a:pt x="5699421" y="186051"/>
                  </a:cubicBezTo>
                  <a:cubicBezTo>
                    <a:pt x="5796556" y="509928"/>
                    <a:pt x="5796556" y="509928"/>
                    <a:pt x="5796556" y="509928"/>
                  </a:cubicBezTo>
                  <a:cubicBezTo>
                    <a:pt x="5797032" y="511118"/>
                    <a:pt x="5797984" y="511832"/>
                    <a:pt x="5799175" y="511832"/>
                  </a:cubicBezTo>
                  <a:cubicBezTo>
                    <a:pt x="5800365" y="511832"/>
                    <a:pt x="5801079" y="511118"/>
                    <a:pt x="5801794" y="509928"/>
                  </a:cubicBezTo>
                  <a:cubicBezTo>
                    <a:pt x="5897976" y="186051"/>
                    <a:pt x="5897976" y="186051"/>
                    <a:pt x="5897976" y="186051"/>
                  </a:cubicBezTo>
                  <a:cubicBezTo>
                    <a:pt x="5899642" y="181530"/>
                    <a:pt x="5903213" y="179388"/>
                    <a:pt x="5908213" y="179388"/>
                  </a:cubicBezTo>
                  <a:cubicBezTo>
                    <a:pt x="5976302" y="179388"/>
                    <a:pt x="5976302" y="179388"/>
                    <a:pt x="5976302" y="179388"/>
                  </a:cubicBezTo>
                  <a:cubicBezTo>
                    <a:pt x="5982492" y="179388"/>
                    <a:pt x="5984873" y="182482"/>
                    <a:pt x="5983206" y="188669"/>
                  </a:cubicBezTo>
                  <a:cubicBezTo>
                    <a:pt x="5826553" y="646523"/>
                    <a:pt x="5826553" y="646523"/>
                    <a:pt x="5826553" y="646523"/>
                  </a:cubicBezTo>
                  <a:cubicBezTo>
                    <a:pt x="5813459" y="686026"/>
                    <a:pt x="5800365" y="715534"/>
                    <a:pt x="5787033" y="734572"/>
                  </a:cubicBezTo>
                  <a:cubicBezTo>
                    <a:pt x="5773939" y="753847"/>
                    <a:pt x="5756797" y="767412"/>
                    <a:pt x="5735609" y="775503"/>
                  </a:cubicBezTo>
                  <a:cubicBezTo>
                    <a:pt x="5714420" y="783356"/>
                    <a:pt x="5684661" y="787401"/>
                    <a:pt x="5646093" y="787401"/>
                  </a:cubicBezTo>
                  <a:cubicBezTo>
                    <a:pt x="5640141" y="787401"/>
                    <a:pt x="5640141" y="787401"/>
                    <a:pt x="5640141" y="787401"/>
                  </a:cubicBezTo>
                  <a:lnTo>
                    <a:pt x="5634189" y="787401"/>
                  </a:lnTo>
                  <a:cubicBezTo>
                    <a:pt x="5634189" y="778834"/>
                    <a:pt x="5634189" y="778834"/>
                    <a:pt x="5634189" y="778834"/>
                  </a:cubicBezTo>
                  <a:cubicBezTo>
                    <a:pt x="5634189" y="728147"/>
                    <a:pt x="5634189" y="728147"/>
                    <a:pt x="5634189" y="728147"/>
                  </a:cubicBezTo>
                  <a:cubicBezTo>
                    <a:pt x="5634189" y="722435"/>
                    <a:pt x="5637046" y="719580"/>
                    <a:pt x="5642760" y="719580"/>
                  </a:cubicBezTo>
                  <a:cubicBezTo>
                    <a:pt x="5644426" y="719580"/>
                    <a:pt x="5644426" y="719580"/>
                    <a:pt x="5644426" y="719580"/>
                  </a:cubicBezTo>
                  <a:cubicBezTo>
                    <a:pt x="5667281" y="719104"/>
                    <a:pt x="5685375" y="716248"/>
                    <a:pt x="5698707" y="711013"/>
                  </a:cubicBezTo>
                  <a:cubicBezTo>
                    <a:pt x="5711801" y="705778"/>
                    <a:pt x="5722753" y="696259"/>
                    <a:pt x="5731323" y="682219"/>
                  </a:cubicBezTo>
                  <a:cubicBezTo>
                    <a:pt x="5739894" y="668178"/>
                    <a:pt x="5748227" y="647237"/>
                    <a:pt x="5756083" y="619157"/>
                  </a:cubicBezTo>
                  <a:cubicBezTo>
                    <a:pt x="5756797" y="618443"/>
                    <a:pt x="5756797" y="616777"/>
                    <a:pt x="5756083" y="613921"/>
                  </a:cubicBezTo>
                  <a:cubicBezTo>
                    <a:pt x="5612762" y="188669"/>
                    <a:pt x="5612762" y="188669"/>
                    <a:pt x="5612762" y="188669"/>
                  </a:cubicBezTo>
                  <a:cubicBezTo>
                    <a:pt x="5611810" y="185337"/>
                    <a:pt x="5611810" y="185337"/>
                    <a:pt x="5611810" y="185337"/>
                  </a:cubicBezTo>
                  <a:cubicBezTo>
                    <a:pt x="5611810" y="181292"/>
                    <a:pt x="5614429" y="179388"/>
                    <a:pt x="5619666" y="179388"/>
                  </a:cubicBezTo>
                  <a:close/>
                  <a:moveTo>
                    <a:pt x="8799" y="179388"/>
                  </a:moveTo>
                  <a:cubicBezTo>
                    <a:pt x="73005" y="179388"/>
                    <a:pt x="73005" y="179388"/>
                    <a:pt x="73005" y="179388"/>
                  </a:cubicBezTo>
                  <a:cubicBezTo>
                    <a:pt x="78713" y="179388"/>
                    <a:pt x="81565" y="182243"/>
                    <a:pt x="81565" y="187952"/>
                  </a:cubicBezTo>
                  <a:cubicBezTo>
                    <a:pt x="81565" y="454841"/>
                    <a:pt x="81565" y="454841"/>
                    <a:pt x="81565" y="454841"/>
                  </a:cubicBezTo>
                  <a:cubicBezTo>
                    <a:pt x="81565" y="484575"/>
                    <a:pt x="89413" y="508124"/>
                    <a:pt x="105345" y="525250"/>
                  </a:cubicBezTo>
                  <a:cubicBezTo>
                    <a:pt x="121040" y="542377"/>
                    <a:pt x="143157" y="551178"/>
                    <a:pt x="171691" y="551178"/>
                  </a:cubicBezTo>
                  <a:cubicBezTo>
                    <a:pt x="200465" y="551178"/>
                    <a:pt x="223293" y="542377"/>
                    <a:pt x="240415" y="524775"/>
                  </a:cubicBezTo>
                  <a:cubicBezTo>
                    <a:pt x="257537" y="507410"/>
                    <a:pt x="266097" y="484099"/>
                    <a:pt x="266097" y="454841"/>
                  </a:cubicBezTo>
                  <a:cubicBezTo>
                    <a:pt x="266097" y="187952"/>
                    <a:pt x="266097" y="187952"/>
                    <a:pt x="266097" y="187952"/>
                  </a:cubicBezTo>
                  <a:cubicBezTo>
                    <a:pt x="266097" y="182243"/>
                    <a:pt x="268952" y="179388"/>
                    <a:pt x="274896" y="179388"/>
                  </a:cubicBezTo>
                  <a:cubicBezTo>
                    <a:pt x="339103" y="179388"/>
                    <a:pt x="339103" y="179388"/>
                    <a:pt x="339103" y="179388"/>
                  </a:cubicBezTo>
                  <a:cubicBezTo>
                    <a:pt x="344810" y="179388"/>
                    <a:pt x="347662" y="182243"/>
                    <a:pt x="347662" y="187952"/>
                  </a:cubicBezTo>
                  <a:cubicBezTo>
                    <a:pt x="347662" y="607791"/>
                    <a:pt x="347662" y="607791"/>
                    <a:pt x="347662" y="607791"/>
                  </a:cubicBezTo>
                  <a:cubicBezTo>
                    <a:pt x="347662" y="613500"/>
                    <a:pt x="344810" y="616354"/>
                    <a:pt x="339103" y="616354"/>
                  </a:cubicBezTo>
                  <a:cubicBezTo>
                    <a:pt x="274896" y="616354"/>
                    <a:pt x="274896" y="616354"/>
                    <a:pt x="274896" y="616354"/>
                  </a:cubicBezTo>
                  <a:cubicBezTo>
                    <a:pt x="268952" y="616354"/>
                    <a:pt x="266097" y="613500"/>
                    <a:pt x="266097" y="607791"/>
                  </a:cubicBezTo>
                  <a:cubicBezTo>
                    <a:pt x="266097" y="575917"/>
                    <a:pt x="266097" y="575917"/>
                    <a:pt x="266097" y="575917"/>
                  </a:cubicBezTo>
                  <a:cubicBezTo>
                    <a:pt x="266097" y="574727"/>
                    <a:pt x="265859" y="574014"/>
                    <a:pt x="264909" y="573776"/>
                  </a:cubicBezTo>
                  <a:cubicBezTo>
                    <a:pt x="263957" y="573538"/>
                    <a:pt x="263007" y="574014"/>
                    <a:pt x="261817" y="575203"/>
                  </a:cubicBezTo>
                  <a:cubicBezTo>
                    <a:pt x="238988" y="606602"/>
                    <a:pt x="203795" y="622301"/>
                    <a:pt x="156234" y="622301"/>
                  </a:cubicBezTo>
                  <a:cubicBezTo>
                    <a:pt x="128174" y="622301"/>
                    <a:pt x="102492" y="616830"/>
                    <a:pt x="78713" y="606126"/>
                  </a:cubicBezTo>
                  <a:cubicBezTo>
                    <a:pt x="54933" y="595184"/>
                    <a:pt x="35909" y="579247"/>
                    <a:pt x="21642" y="557839"/>
                  </a:cubicBezTo>
                  <a:cubicBezTo>
                    <a:pt x="7134" y="536668"/>
                    <a:pt x="0" y="510978"/>
                    <a:pt x="0" y="480769"/>
                  </a:cubicBezTo>
                  <a:cubicBezTo>
                    <a:pt x="0" y="187952"/>
                    <a:pt x="0" y="187952"/>
                    <a:pt x="0" y="187952"/>
                  </a:cubicBezTo>
                  <a:cubicBezTo>
                    <a:pt x="0" y="182243"/>
                    <a:pt x="2854" y="179388"/>
                    <a:pt x="8799" y="179388"/>
                  </a:cubicBezTo>
                  <a:close/>
                  <a:moveTo>
                    <a:pt x="7185536" y="174625"/>
                  </a:moveTo>
                  <a:cubicBezTo>
                    <a:pt x="7203807" y="174625"/>
                    <a:pt x="7220417" y="178430"/>
                    <a:pt x="7235128" y="185801"/>
                  </a:cubicBezTo>
                  <a:cubicBezTo>
                    <a:pt x="7239162" y="187703"/>
                    <a:pt x="7240586" y="191032"/>
                    <a:pt x="7239399" y="196263"/>
                  </a:cubicBezTo>
                  <a:cubicBezTo>
                    <a:pt x="7225637" y="260703"/>
                    <a:pt x="7225637" y="260703"/>
                    <a:pt x="7225637" y="260703"/>
                  </a:cubicBezTo>
                  <a:cubicBezTo>
                    <a:pt x="7225162" y="265696"/>
                    <a:pt x="7221840" y="267361"/>
                    <a:pt x="7215434" y="265696"/>
                  </a:cubicBezTo>
                  <a:cubicBezTo>
                    <a:pt x="7205705" y="261654"/>
                    <a:pt x="7194316" y="259752"/>
                    <a:pt x="7181265" y="259752"/>
                  </a:cubicBezTo>
                  <a:cubicBezTo>
                    <a:pt x="7169164" y="260703"/>
                    <a:pt x="7169164" y="260703"/>
                    <a:pt x="7169164" y="260703"/>
                  </a:cubicBezTo>
                  <a:cubicBezTo>
                    <a:pt x="7142350" y="261654"/>
                    <a:pt x="7120283" y="270927"/>
                    <a:pt x="7102724" y="288523"/>
                  </a:cubicBezTo>
                  <a:cubicBezTo>
                    <a:pt x="7085402" y="305881"/>
                    <a:pt x="7076623" y="328709"/>
                    <a:pt x="7076623" y="356767"/>
                  </a:cubicBezTo>
                  <a:cubicBezTo>
                    <a:pt x="7076623" y="607390"/>
                    <a:pt x="7076623" y="607390"/>
                    <a:pt x="7076623" y="607390"/>
                  </a:cubicBezTo>
                  <a:cubicBezTo>
                    <a:pt x="7076623" y="613097"/>
                    <a:pt x="7073776" y="615950"/>
                    <a:pt x="7068081" y="615950"/>
                  </a:cubicBezTo>
                  <a:cubicBezTo>
                    <a:pt x="7003065" y="615950"/>
                    <a:pt x="7003065" y="615950"/>
                    <a:pt x="7003065" y="615950"/>
                  </a:cubicBezTo>
                  <a:cubicBezTo>
                    <a:pt x="6997370" y="615950"/>
                    <a:pt x="6994523" y="613097"/>
                    <a:pt x="6994523" y="607390"/>
                  </a:cubicBezTo>
                  <a:cubicBezTo>
                    <a:pt x="6994523" y="187703"/>
                    <a:pt x="6994523" y="187703"/>
                    <a:pt x="6994523" y="187703"/>
                  </a:cubicBezTo>
                  <a:cubicBezTo>
                    <a:pt x="6994523" y="181997"/>
                    <a:pt x="6997370" y="179143"/>
                    <a:pt x="7003065" y="179143"/>
                  </a:cubicBezTo>
                  <a:cubicBezTo>
                    <a:pt x="7068081" y="179143"/>
                    <a:pt x="7068081" y="179143"/>
                    <a:pt x="7068081" y="179143"/>
                  </a:cubicBezTo>
                  <a:cubicBezTo>
                    <a:pt x="7073776" y="179143"/>
                    <a:pt x="7076623" y="181997"/>
                    <a:pt x="7076623" y="187703"/>
                  </a:cubicBezTo>
                  <a:cubicBezTo>
                    <a:pt x="7076623" y="233120"/>
                    <a:pt x="7076623" y="233120"/>
                    <a:pt x="7076623" y="233120"/>
                  </a:cubicBezTo>
                  <a:cubicBezTo>
                    <a:pt x="7076623" y="234784"/>
                    <a:pt x="7077098" y="235735"/>
                    <a:pt x="7078047" y="236211"/>
                  </a:cubicBezTo>
                  <a:cubicBezTo>
                    <a:pt x="7078759" y="236449"/>
                    <a:pt x="7079470" y="235973"/>
                    <a:pt x="7080182" y="234784"/>
                  </a:cubicBezTo>
                  <a:cubicBezTo>
                    <a:pt x="7105809" y="194837"/>
                    <a:pt x="7140927" y="174625"/>
                    <a:pt x="7185536" y="174625"/>
                  </a:cubicBezTo>
                  <a:close/>
                  <a:moveTo>
                    <a:pt x="5407142" y="174625"/>
                  </a:moveTo>
                  <a:cubicBezTo>
                    <a:pt x="5440487" y="174625"/>
                    <a:pt x="5469783" y="180108"/>
                    <a:pt x="5495269" y="190597"/>
                  </a:cubicBezTo>
                  <a:cubicBezTo>
                    <a:pt x="5520754" y="201324"/>
                    <a:pt x="5540523" y="216103"/>
                    <a:pt x="5554337" y="234935"/>
                  </a:cubicBezTo>
                  <a:cubicBezTo>
                    <a:pt x="5567914" y="253767"/>
                    <a:pt x="5574821" y="275221"/>
                    <a:pt x="5574821" y="298582"/>
                  </a:cubicBezTo>
                  <a:cubicBezTo>
                    <a:pt x="5574821" y="301204"/>
                    <a:pt x="5574821" y="301204"/>
                    <a:pt x="5574821" y="301204"/>
                  </a:cubicBezTo>
                  <a:cubicBezTo>
                    <a:pt x="5574821" y="306925"/>
                    <a:pt x="5571963" y="309786"/>
                    <a:pt x="5566246" y="309786"/>
                  </a:cubicBezTo>
                  <a:cubicBezTo>
                    <a:pt x="5505987" y="309786"/>
                    <a:pt x="5505987" y="309786"/>
                    <a:pt x="5505987" y="309786"/>
                  </a:cubicBezTo>
                  <a:cubicBezTo>
                    <a:pt x="5500270" y="309786"/>
                    <a:pt x="5497412" y="306925"/>
                    <a:pt x="5497412" y="301204"/>
                  </a:cubicBezTo>
                  <a:cubicBezTo>
                    <a:pt x="5497412" y="298582"/>
                    <a:pt x="5497412" y="298582"/>
                    <a:pt x="5497412" y="298582"/>
                  </a:cubicBezTo>
                  <a:cubicBezTo>
                    <a:pt x="5497412" y="281896"/>
                    <a:pt x="5489314" y="268070"/>
                    <a:pt x="5472880" y="256866"/>
                  </a:cubicBezTo>
                  <a:cubicBezTo>
                    <a:pt x="5456683" y="245662"/>
                    <a:pt x="5434532" y="240179"/>
                    <a:pt x="5406427" y="240179"/>
                  </a:cubicBezTo>
                  <a:cubicBezTo>
                    <a:pt x="5381180" y="240179"/>
                    <a:pt x="5360696" y="244947"/>
                    <a:pt x="5344738" y="254720"/>
                  </a:cubicBezTo>
                  <a:cubicBezTo>
                    <a:pt x="5329018" y="264494"/>
                    <a:pt x="5321158" y="277605"/>
                    <a:pt x="5321158" y="294291"/>
                  </a:cubicBezTo>
                  <a:cubicBezTo>
                    <a:pt x="5321158" y="310978"/>
                    <a:pt x="5328780" y="323612"/>
                    <a:pt x="5344024" y="332193"/>
                  </a:cubicBezTo>
                  <a:cubicBezTo>
                    <a:pt x="5359267" y="340775"/>
                    <a:pt x="5383800" y="350072"/>
                    <a:pt x="5417622" y="359845"/>
                  </a:cubicBezTo>
                  <a:cubicBezTo>
                    <a:pt x="5450729" y="368904"/>
                    <a:pt x="5478358" y="377962"/>
                    <a:pt x="5500509" y="386782"/>
                  </a:cubicBezTo>
                  <a:cubicBezTo>
                    <a:pt x="5522659" y="395841"/>
                    <a:pt x="5541237" y="408951"/>
                    <a:pt x="5556719" y="426353"/>
                  </a:cubicBezTo>
                  <a:cubicBezTo>
                    <a:pt x="5572201" y="443993"/>
                    <a:pt x="5580061" y="466639"/>
                    <a:pt x="5580061" y="494768"/>
                  </a:cubicBezTo>
                  <a:cubicBezTo>
                    <a:pt x="5580061" y="533862"/>
                    <a:pt x="5564579" y="564851"/>
                    <a:pt x="5534092" y="587735"/>
                  </a:cubicBezTo>
                  <a:cubicBezTo>
                    <a:pt x="5503367" y="610620"/>
                    <a:pt x="5462638" y="622300"/>
                    <a:pt x="5411429" y="622300"/>
                  </a:cubicBezTo>
                  <a:cubicBezTo>
                    <a:pt x="5377131" y="622300"/>
                    <a:pt x="5346882" y="617056"/>
                    <a:pt x="5320682" y="606806"/>
                  </a:cubicBezTo>
                  <a:cubicBezTo>
                    <a:pt x="5294720" y="596317"/>
                    <a:pt x="5274475" y="582253"/>
                    <a:pt x="5260184" y="564136"/>
                  </a:cubicBezTo>
                  <a:cubicBezTo>
                    <a:pt x="5245893" y="546019"/>
                    <a:pt x="5238748" y="525995"/>
                    <a:pt x="5238748" y="504303"/>
                  </a:cubicBezTo>
                  <a:cubicBezTo>
                    <a:pt x="5238748" y="494768"/>
                    <a:pt x="5238748" y="494768"/>
                    <a:pt x="5238748" y="494768"/>
                  </a:cubicBezTo>
                  <a:cubicBezTo>
                    <a:pt x="5238748" y="489047"/>
                    <a:pt x="5241606" y="486186"/>
                    <a:pt x="5247322" y="486186"/>
                  </a:cubicBezTo>
                  <a:cubicBezTo>
                    <a:pt x="5309249" y="486186"/>
                    <a:pt x="5309249" y="486186"/>
                    <a:pt x="5309249" y="486186"/>
                  </a:cubicBezTo>
                  <a:cubicBezTo>
                    <a:pt x="5314966" y="486186"/>
                    <a:pt x="5317824" y="489047"/>
                    <a:pt x="5317824" y="494768"/>
                  </a:cubicBezTo>
                  <a:cubicBezTo>
                    <a:pt x="5317824" y="499059"/>
                    <a:pt x="5317824" y="499059"/>
                    <a:pt x="5317824" y="499059"/>
                  </a:cubicBezTo>
                  <a:cubicBezTo>
                    <a:pt x="5317824" y="515268"/>
                    <a:pt x="5326637" y="529333"/>
                    <a:pt x="5344024" y="541252"/>
                  </a:cubicBezTo>
                  <a:cubicBezTo>
                    <a:pt x="5361411" y="553409"/>
                    <a:pt x="5383800" y="559368"/>
                    <a:pt x="5410714" y="559368"/>
                  </a:cubicBezTo>
                  <a:cubicBezTo>
                    <a:pt x="5436438" y="559368"/>
                    <a:pt x="5457398" y="553886"/>
                    <a:pt x="5473356" y="542682"/>
                  </a:cubicBezTo>
                  <a:cubicBezTo>
                    <a:pt x="5489552" y="531478"/>
                    <a:pt x="5497412" y="517175"/>
                    <a:pt x="5497412" y="500012"/>
                  </a:cubicBezTo>
                  <a:cubicBezTo>
                    <a:pt x="5497412" y="483326"/>
                    <a:pt x="5490029" y="470930"/>
                    <a:pt x="5475261" y="462587"/>
                  </a:cubicBezTo>
                  <a:cubicBezTo>
                    <a:pt x="5460256" y="454243"/>
                    <a:pt x="5436200" y="445423"/>
                    <a:pt x="5402854" y="436365"/>
                  </a:cubicBezTo>
                  <a:cubicBezTo>
                    <a:pt x="5370224" y="427068"/>
                    <a:pt x="5342833" y="417771"/>
                    <a:pt x="5320682" y="408475"/>
                  </a:cubicBezTo>
                  <a:cubicBezTo>
                    <a:pt x="5298769" y="398939"/>
                    <a:pt x="5280192" y="385352"/>
                    <a:pt x="5264948" y="367950"/>
                  </a:cubicBezTo>
                  <a:cubicBezTo>
                    <a:pt x="5249704" y="350310"/>
                    <a:pt x="5242082" y="327903"/>
                    <a:pt x="5242082" y="300489"/>
                  </a:cubicBezTo>
                  <a:cubicBezTo>
                    <a:pt x="5242082" y="261872"/>
                    <a:pt x="5257088" y="231359"/>
                    <a:pt x="5287337" y="208713"/>
                  </a:cubicBezTo>
                  <a:cubicBezTo>
                    <a:pt x="5317348" y="186067"/>
                    <a:pt x="5357362" y="174625"/>
                    <a:pt x="5407142" y="174625"/>
                  </a:cubicBezTo>
                  <a:close/>
                  <a:moveTo>
                    <a:pt x="1908331" y="174625"/>
                  </a:moveTo>
                  <a:cubicBezTo>
                    <a:pt x="1926719" y="174625"/>
                    <a:pt x="1943438" y="178430"/>
                    <a:pt x="1958484" y="185801"/>
                  </a:cubicBezTo>
                  <a:cubicBezTo>
                    <a:pt x="1962305" y="187703"/>
                    <a:pt x="1963738" y="191032"/>
                    <a:pt x="1962782" y="196263"/>
                  </a:cubicBezTo>
                  <a:cubicBezTo>
                    <a:pt x="1948931" y="260703"/>
                    <a:pt x="1948931" y="260703"/>
                    <a:pt x="1948931" y="260703"/>
                  </a:cubicBezTo>
                  <a:cubicBezTo>
                    <a:pt x="1948454" y="265696"/>
                    <a:pt x="1944871" y="267361"/>
                    <a:pt x="1938661" y="265696"/>
                  </a:cubicBezTo>
                  <a:cubicBezTo>
                    <a:pt x="1928870" y="261654"/>
                    <a:pt x="1917406" y="259752"/>
                    <a:pt x="1904033" y="259752"/>
                  </a:cubicBezTo>
                  <a:cubicBezTo>
                    <a:pt x="1892091" y="260703"/>
                    <a:pt x="1892091" y="260703"/>
                    <a:pt x="1892091" y="260703"/>
                  </a:cubicBezTo>
                  <a:cubicBezTo>
                    <a:pt x="1865105" y="261654"/>
                    <a:pt x="1842658" y="270927"/>
                    <a:pt x="1825224" y="288523"/>
                  </a:cubicBezTo>
                  <a:cubicBezTo>
                    <a:pt x="1807553" y="305881"/>
                    <a:pt x="1798954" y="328709"/>
                    <a:pt x="1798954" y="356767"/>
                  </a:cubicBezTo>
                  <a:cubicBezTo>
                    <a:pt x="1798954" y="607390"/>
                    <a:pt x="1798954" y="607390"/>
                    <a:pt x="1798954" y="607390"/>
                  </a:cubicBezTo>
                  <a:cubicBezTo>
                    <a:pt x="1798954" y="613097"/>
                    <a:pt x="1796088" y="615950"/>
                    <a:pt x="1790358" y="615950"/>
                  </a:cubicBezTo>
                  <a:cubicBezTo>
                    <a:pt x="1724683" y="615950"/>
                    <a:pt x="1724683" y="615950"/>
                    <a:pt x="1724683" y="615950"/>
                  </a:cubicBezTo>
                  <a:cubicBezTo>
                    <a:pt x="1718951" y="615950"/>
                    <a:pt x="1716086" y="613097"/>
                    <a:pt x="1716086" y="607390"/>
                  </a:cubicBezTo>
                  <a:cubicBezTo>
                    <a:pt x="1716086" y="187703"/>
                    <a:pt x="1716086" y="187703"/>
                    <a:pt x="1716086" y="187703"/>
                  </a:cubicBezTo>
                  <a:cubicBezTo>
                    <a:pt x="1716086" y="181997"/>
                    <a:pt x="1718951" y="179143"/>
                    <a:pt x="1724683" y="179143"/>
                  </a:cubicBezTo>
                  <a:cubicBezTo>
                    <a:pt x="1790358" y="179143"/>
                    <a:pt x="1790358" y="179143"/>
                    <a:pt x="1790358" y="179143"/>
                  </a:cubicBezTo>
                  <a:cubicBezTo>
                    <a:pt x="1796088" y="179143"/>
                    <a:pt x="1798954" y="181997"/>
                    <a:pt x="1798954" y="187703"/>
                  </a:cubicBezTo>
                  <a:cubicBezTo>
                    <a:pt x="1798954" y="233120"/>
                    <a:pt x="1798954" y="233120"/>
                    <a:pt x="1798954" y="233120"/>
                  </a:cubicBezTo>
                  <a:cubicBezTo>
                    <a:pt x="1798954" y="234784"/>
                    <a:pt x="1799432" y="235735"/>
                    <a:pt x="1800149" y="236211"/>
                  </a:cubicBezTo>
                  <a:cubicBezTo>
                    <a:pt x="1801104" y="236449"/>
                    <a:pt x="1801820" y="235973"/>
                    <a:pt x="1802297" y="234784"/>
                  </a:cubicBezTo>
                  <a:cubicBezTo>
                    <a:pt x="1828329" y="194837"/>
                    <a:pt x="1863673" y="174625"/>
                    <a:pt x="1908331" y="174625"/>
                  </a:cubicBezTo>
                  <a:close/>
                  <a:moveTo>
                    <a:pt x="8657956" y="173038"/>
                  </a:moveTo>
                  <a:cubicBezTo>
                    <a:pt x="8704802" y="173038"/>
                    <a:pt x="8742137" y="186590"/>
                    <a:pt x="8769484" y="213930"/>
                  </a:cubicBezTo>
                  <a:cubicBezTo>
                    <a:pt x="8797069" y="241032"/>
                    <a:pt x="8810623" y="277882"/>
                    <a:pt x="8810623" y="324242"/>
                  </a:cubicBezTo>
                  <a:cubicBezTo>
                    <a:pt x="8810623" y="607393"/>
                    <a:pt x="8810623" y="607393"/>
                    <a:pt x="8810623" y="607393"/>
                  </a:cubicBezTo>
                  <a:cubicBezTo>
                    <a:pt x="8810623" y="613098"/>
                    <a:pt x="8807770" y="615951"/>
                    <a:pt x="8802062" y="615951"/>
                  </a:cubicBezTo>
                  <a:cubicBezTo>
                    <a:pt x="8736905" y="615951"/>
                    <a:pt x="8736905" y="615951"/>
                    <a:pt x="8736905" y="615951"/>
                  </a:cubicBezTo>
                  <a:cubicBezTo>
                    <a:pt x="8731198" y="615951"/>
                    <a:pt x="8728345" y="613098"/>
                    <a:pt x="8728345" y="607393"/>
                  </a:cubicBezTo>
                  <a:cubicBezTo>
                    <a:pt x="8728345" y="340408"/>
                    <a:pt x="8728345" y="340408"/>
                    <a:pt x="8728345" y="340408"/>
                  </a:cubicBezTo>
                  <a:cubicBezTo>
                    <a:pt x="8728345" y="311879"/>
                    <a:pt x="8720022" y="288581"/>
                    <a:pt x="8703376" y="270988"/>
                  </a:cubicBezTo>
                  <a:cubicBezTo>
                    <a:pt x="8686730" y="253157"/>
                    <a:pt x="8664852" y="244361"/>
                    <a:pt x="8637267" y="244361"/>
                  </a:cubicBezTo>
                  <a:cubicBezTo>
                    <a:pt x="8610396" y="244361"/>
                    <a:pt x="8588518" y="253157"/>
                    <a:pt x="8571159" y="270988"/>
                  </a:cubicBezTo>
                  <a:cubicBezTo>
                    <a:pt x="8554037" y="288581"/>
                    <a:pt x="8545477" y="311642"/>
                    <a:pt x="8545477" y="339695"/>
                  </a:cubicBezTo>
                  <a:cubicBezTo>
                    <a:pt x="8545477" y="607393"/>
                    <a:pt x="8545477" y="607393"/>
                    <a:pt x="8545477" y="607393"/>
                  </a:cubicBezTo>
                  <a:cubicBezTo>
                    <a:pt x="8545477" y="613098"/>
                    <a:pt x="8542623" y="615951"/>
                    <a:pt x="8536916" y="615951"/>
                  </a:cubicBezTo>
                  <a:cubicBezTo>
                    <a:pt x="8471759" y="615951"/>
                    <a:pt x="8471759" y="615951"/>
                    <a:pt x="8471759" y="615951"/>
                  </a:cubicBezTo>
                  <a:cubicBezTo>
                    <a:pt x="8466052" y="615951"/>
                    <a:pt x="8462960" y="613098"/>
                    <a:pt x="8462960" y="607393"/>
                  </a:cubicBezTo>
                  <a:cubicBezTo>
                    <a:pt x="8462960" y="187778"/>
                    <a:pt x="8462960" y="187778"/>
                    <a:pt x="8462960" y="187778"/>
                  </a:cubicBezTo>
                  <a:cubicBezTo>
                    <a:pt x="8462960" y="182072"/>
                    <a:pt x="8466052" y="179220"/>
                    <a:pt x="8471759" y="179220"/>
                  </a:cubicBezTo>
                  <a:cubicBezTo>
                    <a:pt x="8536916" y="179220"/>
                    <a:pt x="8536916" y="179220"/>
                    <a:pt x="8536916" y="179220"/>
                  </a:cubicBezTo>
                  <a:cubicBezTo>
                    <a:pt x="8542623" y="179220"/>
                    <a:pt x="8545477" y="182072"/>
                    <a:pt x="8545477" y="187778"/>
                  </a:cubicBezTo>
                  <a:cubicBezTo>
                    <a:pt x="8545477" y="218685"/>
                    <a:pt x="8545477" y="218685"/>
                    <a:pt x="8545477" y="218685"/>
                  </a:cubicBezTo>
                  <a:cubicBezTo>
                    <a:pt x="8545477" y="219636"/>
                    <a:pt x="8545952" y="220587"/>
                    <a:pt x="8546666" y="221062"/>
                  </a:cubicBezTo>
                  <a:cubicBezTo>
                    <a:pt x="8547617" y="221775"/>
                    <a:pt x="8548330" y="221538"/>
                    <a:pt x="8548806" y="220349"/>
                  </a:cubicBezTo>
                  <a:cubicBezTo>
                    <a:pt x="8573537" y="188729"/>
                    <a:pt x="8609920" y="173038"/>
                    <a:pt x="8657956" y="173038"/>
                  </a:cubicBezTo>
                  <a:close/>
                  <a:moveTo>
                    <a:pt x="8170266" y="173038"/>
                  </a:moveTo>
                  <a:cubicBezTo>
                    <a:pt x="8227969" y="173038"/>
                    <a:pt x="8270949" y="187291"/>
                    <a:pt x="8299682" y="216270"/>
                  </a:cubicBezTo>
                  <a:cubicBezTo>
                    <a:pt x="8328177" y="245250"/>
                    <a:pt x="8345511" y="287532"/>
                    <a:pt x="8351923" y="343592"/>
                  </a:cubicBezTo>
                  <a:cubicBezTo>
                    <a:pt x="8354297" y="367108"/>
                    <a:pt x="8355010" y="393237"/>
                    <a:pt x="8354535" y="422455"/>
                  </a:cubicBezTo>
                  <a:cubicBezTo>
                    <a:pt x="8354535" y="428156"/>
                    <a:pt x="8351685" y="431006"/>
                    <a:pt x="8345986" y="431006"/>
                  </a:cubicBezTo>
                  <a:cubicBezTo>
                    <a:pt x="8072433" y="431006"/>
                    <a:pt x="8072433" y="431006"/>
                    <a:pt x="8072433" y="431006"/>
                  </a:cubicBezTo>
                  <a:cubicBezTo>
                    <a:pt x="8070058" y="431006"/>
                    <a:pt x="8069108" y="432194"/>
                    <a:pt x="8069108" y="434569"/>
                  </a:cubicBezTo>
                  <a:cubicBezTo>
                    <a:pt x="8069108" y="453810"/>
                    <a:pt x="8070771" y="468775"/>
                    <a:pt x="8074095" y="478989"/>
                  </a:cubicBezTo>
                  <a:cubicBezTo>
                    <a:pt x="8080506" y="502030"/>
                    <a:pt x="8093092" y="519846"/>
                    <a:pt x="8112326" y="532673"/>
                  </a:cubicBezTo>
                  <a:cubicBezTo>
                    <a:pt x="8131560" y="545500"/>
                    <a:pt x="8155544" y="551914"/>
                    <a:pt x="8184751" y="551914"/>
                  </a:cubicBezTo>
                  <a:cubicBezTo>
                    <a:pt x="8227019" y="551914"/>
                    <a:pt x="8259551" y="534573"/>
                    <a:pt x="8282347" y="499655"/>
                  </a:cubicBezTo>
                  <a:cubicBezTo>
                    <a:pt x="8285197" y="493954"/>
                    <a:pt x="8288996" y="493004"/>
                    <a:pt x="8293508" y="497042"/>
                  </a:cubicBezTo>
                  <a:cubicBezTo>
                    <a:pt x="8342424" y="529585"/>
                    <a:pt x="8342424" y="529585"/>
                    <a:pt x="8342424" y="529585"/>
                  </a:cubicBezTo>
                  <a:cubicBezTo>
                    <a:pt x="8346461" y="533148"/>
                    <a:pt x="8347411" y="536711"/>
                    <a:pt x="8345036" y="540749"/>
                  </a:cubicBezTo>
                  <a:cubicBezTo>
                    <a:pt x="8329127" y="566641"/>
                    <a:pt x="8306331" y="586832"/>
                    <a:pt x="8276886" y="601560"/>
                  </a:cubicBezTo>
                  <a:cubicBezTo>
                    <a:pt x="8247441" y="616525"/>
                    <a:pt x="8214196" y="623888"/>
                    <a:pt x="8176915" y="623888"/>
                  </a:cubicBezTo>
                  <a:cubicBezTo>
                    <a:pt x="8135360" y="623888"/>
                    <a:pt x="8100216" y="614862"/>
                    <a:pt x="8071483" y="596571"/>
                  </a:cubicBezTo>
                  <a:cubicBezTo>
                    <a:pt x="8042988" y="578281"/>
                    <a:pt x="8021616" y="552151"/>
                    <a:pt x="8007369" y="518421"/>
                  </a:cubicBezTo>
                  <a:cubicBezTo>
                    <a:pt x="7993596" y="484690"/>
                    <a:pt x="7986710" y="443833"/>
                    <a:pt x="7986710" y="395850"/>
                  </a:cubicBezTo>
                  <a:cubicBezTo>
                    <a:pt x="7986710" y="354281"/>
                    <a:pt x="7989797" y="322451"/>
                    <a:pt x="7996208" y="300835"/>
                  </a:cubicBezTo>
                  <a:cubicBezTo>
                    <a:pt x="8006419" y="261165"/>
                    <a:pt x="8027078" y="230048"/>
                    <a:pt x="8057948" y="207244"/>
                  </a:cubicBezTo>
                  <a:cubicBezTo>
                    <a:pt x="8088818" y="184440"/>
                    <a:pt x="8126099" y="173038"/>
                    <a:pt x="8170266" y="173038"/>
                  </a:cubicBezTo>
                  <a:close/>
                  <a:moveTo>
                    <a:pt x="7457407" y="173038"/>
                  </a:moveTo>
                  <a:cubicBezTo>
                    <a:pt x="7504287" y="173038"/>
                    <a:pt x="7541411" y="187304"/>
                    <a:pt x="7568301" y="215834"/>
                  </a:cubicBezTo>
                  <a:cubicBezTo>
                    <a:pt x="7569491" y="217023"/>
                    <a:pt x="7570443" y="217499"/>
                    <a:pt x="7571157" y="217261"/>
                  </a:cubicBezTo>
                  <a:cubicBezTo>
                    <a:pt x="7572109" y="216785"/>
                    <a:pt x="7572585" y="216072"/>
                    <a:pt x="7572585" y="215121"/>
                  </a:cubicBezTo>
                  <a:cubicBezTo>
                    <a:pt x="7572585" y="188492"/>
                    <a:pt x="7572585" y="188492"/>
                    <a:pt x="7572585" y="188492"/>
                  </a:cubicBezTo>
                  <a:cubicBezTo>
                    <a:pt x="7572585" y="182786"/>
                    <a:pt x="7575441" y="179933"/>
                    <a:pt x="7581152" y="179933"/>
                  </a:cubicBezTo>
                  <a:cubicBezTo>
                    <a:pt x="7646356" y="179933"/>
                    <a:pt x="7646356" y="179933"/>
                    <a:pt x="7646356" y="179933"/>
                  </a:cubicBezTo>
                  <a:cubicBezTo>
                    <a:pt x="7652067" y="179933"/>
                    <a:pt x="7654923" y="182786"/>
                    <a:pt x="7654923" y="188492"/>
                  </a:cubicBezTo>
                  <a:cubicBezTo>
                    <a:pt x="7654923" y="594343"/>
                    <a:pt x="7654923" y="594343"/>
                    <a:pt x="7654923" y="594343"/>
                  </a:cubicBezTo>
                  <a:cubicBezTo>
                    <a:pt x="7654923" y="663530"/>
                    <a:pt x="7635409" y="712983"/>
                    <a:pt x="7596144" y="742941"/>
                  </a:cubicBezTo>
                  <a:cubicBezTo>
                    <a:pt x="7556879" y="772660"/>
                    <a:pt x="7504287" y="787401"/>
                    <a:pt x="7438607" y="787401"/>
                  </a:cubicBezTo>
                  <a:cubicBezTo>
                    <a:pt x="7429327" y="787401"/>
                    <a:pt x="7415048" y="786926"/>
                    <a:pt x="7395535" y="785737"/>
                  </a:cubicBezTo>
                  <a:cubicBezTo>
                    <a:pt x="7389823" y="785261"/>
                    <a:pt x="7386968" y="781933"/>
                    <a:pt x="7386968" y="776227"/>
                  </a:cubicBezTo>
                  <a:cubicBezTo>
                    <a:pt x="7389585" y="717025"/>
                    <a:pt x="7389585" y="717025"/>
                    <a:pt x="7389585" y="717025"/>
                  </a:cubicBezTo>
                  <a:cubicBezTo>
                    <a:pt x="7389585" y="714885"/>
                    <a:pt x="7390537" y="712746"/>
                    <a:pt x="7392203" y="711081"/>
                  </a:cubicBezTo>
                  <a:cubicBezTo>
                    <a:pt x="7393869" y="709417"/>
                    <a:pt x="7396011" y="708704"/>
                    <a:pt x="7399104" y="709417"/>
                  </a:cubicBezTo>
                  <a:cubicBezTo>
                    <a:pt x="7406957" y="709893"/>
                    <a:pt x="7418856" y="710130"/>
                    <a:pt x="7434324" y="710130"/>
                  </a:cubicBezTo>
                  <a:cubicBezTo>
                    <a:pt x="7482870" y="710130"/>
                    <a:pt x="7518090" y="701333"/>
                    <a:pt x="7539983" y="683264"/>
                  </a:cubicBezTo>
                  <a:cubicBezTo>
                    <a:pt x="7561638" y="665194"/>
                    <a:pt x="7572585" y="634762"/>
                    <a:pt x="7572585" y="591728"/>
                  </a:cubicBezTo>
                  <a:cubicBezTo>
                    <a:pt x="7572585" y="576273"/>
                    <a:pt x="7572585" y="576273"/>
                    <a:pt x="7572585" y="576273"/>
                  </a:cubicBezTo>
                  <a:cubicBezTo>
                    <a:pt x="7572585" y="575085"/>
                    <a:pt x="7572109" y="574371"/>
                    <a:pt x="7571157" y="573658"/>
                  </a:cubicBezTo>
                  <a:cubicBezTo>
                    <a:pt x="7570443" y="573183"/>
                    <a:pt x="7569491" y="573420"/>
                    <a:pt x="7568301" y="574609"/>
                  </a:cubicBezTo>
                  <a:cubicBezTo>
                    <a:pt x="7544266" y="602664"/>
                    <a:pt x="7509047" y="616692"/>
                    <a:pt x="7462642" y="616692"/>
                  </a:cubicBezTo>
                  <a:cubicBezTo>
                    <a:pt x="7425281" y="616692"/>
                    <a:pt x="7391727" y="606944"/>
                    <a:pt x="7361505" y="587448"/>
                  </a:cubicBezTo>
                  <a:cubicBezTo>
                    <a:pt x="7331521" y="567952"/>
                    <a:pt x="7310817" y="539421"/>
                    <a:pt x="7299395" y="501618"/>
                  </a:cubicBezTo>
                  <a:cubicBezTo>
                    <a:pt x="7292017" y="476416"/>
                    <a:pt x="7288210" y="441703"/>
                    <a:pt x="7288210" y="397005"/>
                  </a:cubicBezTo>
                  <a:cubicBezTo>
                    <a:pt x="7288210" y="349454"/>
                    <a:pt x="7292493" y="312839"/>
                    <a:pt x="7301060" y="287161"/>
                  </a:cubicBezTo>
                  <a:cubicBezTo>
                    <a:pt x="7312007" y="252687"/>
                    <a:pt x="7331283" y="225107"/>
                    <a:pt x="7359125" y="204184"/>
                  </a:cubicBezTo>
                  <a:cubicBezTo>
                    <a:pt x="7386730" y="183500"/>
                    <a:pt x="7419570" y="173038"/>
                    <a:pt x="7457407" y="173038"/>
                  </a:cubicBezTo>
                  <a:close/>
                  <a:moveTo>
                    <a:pt x="6702382" y="173038"/>
                  </a:moveTo>
                  <a:cubicBezTo>
                    <a:pt x="6760572" y="173038"/>
                    <a:pt x="6803738" y="187291"/>
                    <a:pt x="6832594" y="216270"/>
                  </a:cubicBezTo>
                  <a:cubicBezTo>
                    <a:pt x="6861212" y="245250"/>
                    <a:pt x="6878622" y="287532"/>
                    <a:pt x="6885061" y="343592"/>
                  </a:cubicBezTo>
                  <a:cubicBezTo>
                    <a:pt x="6887207" y="367108"/>
                    <a:pt x="6888161" y="393237"/>
                    <a:pt x="6887684" y="422455"/>
                  </a:cubicBezTo>
                  <a:cubicBezTo>
                    <a:pt x="6887684" y="428156"/>
                    <a:pt x="6884584" y="431006"/>
                    <a:pt x="6878860" y="431006"/>
                  </a:cubicBezTo>
                  <a:cubicBezTo>
                    <a:pt x="6604365" y="431006"/>
                    <a:pt x="6604365" y="431006"/>
                    <a:pt x="6604365" y="431006"/>
                  </a:cubicBezTo>
                  <a:cubicBezTo>
                    <a:pt x="6601981" y="431006"/>
                    <a:pt x="6601027" y="432194"/>
                    <a:pt x="6601027" y="434569"/>
                  </a:cubicBezTo>
                  <a:cubicBezTo>
                    <a:pt x="6601027" y="453810"/>
                    <a:pt x="6602696" y="468775"/>
                    <a:pt x="6606035" y="478989"/>
                  </a:cubicBezTo>
                  <a:cubicBezTo>
                    <a:pt x="6612474" y="502030"/>
                    <a:pt x="6625114" y="519846"/>
                    <a:pt x="6644431" y="532673"/>
                  </a:cubicBezTo>
                  <a:cubicBezTo>
                    <a:pt x="6663509" y="545500"/>
                    <a:pt x="6687835" y="551914"/>
                    <a:pt x="6717168" y="551914"/>
                  </a:cubicBezTo>
                  <a:cubicBezTo>
                    <a:pt x="6759618" y="551914"/>
                    <a:pt x="6792290" y="534573"/>
                    <a:pt x="6815185" y="499655"/>
                  </a:cubicBezTo>
                  <a:cubicBezTo>
                    <a:pt x="6818047" y="493954"/>
                    <a:pt x="6821862" y="493004"/>
                    <a:pt x="6826394" y="497042"/>
                  </a:cubicBezTo>
                  <a:cubicBezTo>
                    <a:pt x="6875521" y="529585"/>
                    <a:pt x="6875521" y="529585"/>
                    <a:pt x="6875521" y="529585"/>
                  </a:cubicBezTo>
                  <a:cubicBezTo>
                    <a:pt x="6879575" y="533148"/>
                    <a:pt x="6880291" y="536711"/>
                    <a:pt x="6878145" y="540749"/>
                  </a:cubicBezTo>
                  <a:cubicBezTo>
                    <a:pt x="6862166" y="566641"/>
                    <a:pt x="6839272" y="586832"/>
                    <a:pt x="6809700" y="601560"/>
                  </a:cubicBezTo>
                  <a:cubicBezTo>
                    <a:pt x="6780128" y="616525"/>
                    <a:pt x="6746740" y="623888"/>
                    <a:pt x="6709298" y="623888"/>
                  </a:cubicBezTo>
                  <a:cubicBezTo>
                    <a:pt x="6667564" y="623888"/>
                    <a:pt x="6632268" y="614862"/>
                    <a:pt x="6603412" y="596571"/>
                  </a:cubicBezTo>
                  <a:cubicBezTo>
                    <a:pt x="6574793" y="578281"/>
                    <a:pt x="6553330" y="552151"/>
                    <a:pt x="6539021" y="518421"/>
                  </a:cubicBezTo>
                  <a:cubicBezTo>
                    <a:pt x="6525189" y="484690"/>
                    <a:pt x="6518273" y="443833"/>
                    <a:pt x="6518273" y="395850"/>
                  </a:cubicBezTo>
                  <a:cubicBezTo>
                    <a:pt x="6518273" y="354281"/>
                    <a:pt x="6521373" y="322451"/>
                    <a:pt x="6527812" y="300835"/>
                  </a:cubicBezTo>
                  <a:cubicBezTo>
                    <a:pt x="6538067" y="261165"/>
                    <a:pt x="6558815" y="230048"/>
                    <a:pt x="6589818" y="207244"/>
                  </a:cubicBezTo>
                  <a:cubicBezTo>
                    <a:pt x="6620821" y="184440"/>
                    <a:pt x="6658263" y="173038"/>
                    <a:pt x="6702382" y="173038"/>
                  </a:cubicBezTo>
                  <a:close/>
                  <a:moveTo>
                    <a:pt x="6260593" y="173038"/>
                  </a:moveTo>
                  <a:cubicBezTo>
                    <a:pt x="6307439" y="173038"/>
                    <a:pt x="6344774" y="186590"/>
                    <a:pt x="6372121" y="213930"/>
                  </a:cubicBezTo>
                  <a:cubicBezTo>
                    <a:pt x="6399705" y="241032"/>
                    <a:pt x="6413498" y="277882"/>
                    <a:pt x="6413498" y="324242"/>
                  </a:cubicBezTo>
                  <a:cubicBezTo>
                    <a:pt x="6413498" y="607393"/>
                    <a:pt x="6413498" y="607393"/>
                    <a:pt x="6413498" y="607393"/>
                  </a:cubicBezTo>
                  <a:cubicBezTo>
                    <a:pt x="6413498" y="613098"/>
                    <a:pt x="6410644" y="615951"/>
                    <a:pt x="6404699" y="615951"/>
                  </a:cubicBezTo>
                  <a:cubicBezTo>
                    <a:pt x="6339542" y="615951"/>
                    <a:pt x="6339542" y="615951"/>
                    <a:pt x="6339542" y="615951"/>
                  </a:cubicBezTo>
                  <a:cubicBezTo>
                    <a:pt x="6333835" y="615951"/>
                    <a:pt x="6330981" y="613098"/>
                    <a:pt x="6330981" y="607393"/>
                  </a:cubicBezTo>
                  <a:cubicBezTo>
                    <a:pt x="6330981" y="340408"/>
                    <a:pt x="6330981" y="340408"/>
                    <a:pt x="6330981" y="340408"/>
                  </a:cubicBezTo>
                  <a:cubicBezTo>
                    <a:pt x="6330981" y="311879"/>
                    <a:pt x="6322658" y="288581"/>
                    <a:pt x="6306012" y="270988"/>
                  </a:cubicBezTo>
                  <a:cubicBezTo>
                    <a:pt x="6289366" y="253157"/>
                    <a:pt x="6267489" y="244361"/>
                    <a:pt x="6239904" y="244361"/>
                  </a:cubicBezTo>
                  <a:cubicBezTo>
                    <a:pt x="6213033" y="244361"/>
                    <a:pt x="6191155" y="253157"/>
                    <a:pt x="6173796" y="270988"/>
                  </a:cubicBezTo>
                  <a:cubicBezTo>
                    <a:pt x="6156674" y="288581"/>
                    <a:pt x="6148114" y="311642"/>
                    <a:pt x="6148114" y="339695"/>
                  </a:cubicBezTo>
                  <a:cubicBezTo>
                    <a:pt x="6148114" y="607393"/>
                    <a:pt x="6148114" y="607393"/>
                    <a:pt x="6148114" y="607393"/>
                  </a:cubicBezTo>
                  <a:cubicBezTo>
                    <a:pt x="6148114" y="613098"/>
                    <a:pt x="6145260" y="615951"/>
                    <a:pt x="6139553" y="615951"/>
                  </a:cubicBezTo>
                  <a:cubicBezTo>
                    <a:pt x="6074396" y="615951"/>
                    <a:pt x="6074396" y="615951"/>
                    <a:pt x="6074396" y="615951"/>
                  </a:cubicBezTo>
                  <a:cubicBezTo>
                    <a:pt x="6068689" y="615951"/>
                    <a:pt x="6065835" y="613098"/>
                    <a:pt x="6065835" y="607393"/>
                  </a:cubicBezTo>
                  <a:cubicBezTo>
                    <a:pt x="6065835" y="187778"/>
                    <a:pt x="6065835" y="187778"/>
                    <a:pt x="6065835" y="187778"/>
                  </a:cubicBezTo>
                  <a:cubicBezTo>
                    <a:pt x="6065835" y="182072"/>
                    <a:pt x="6068689" y="179220"/>
                    <a:pt x="6074396" y="179220"/>
                  </a:cubicBezTo>
                  <a:cubicBezTo>
                    <a:pt x="6139553" y="179220"/>
                    <a:pt x="6139553" y="179220"/>
                    <a:pt x="6139553" y="179220"/>
                  </a:cubicBezTo>
                  <a:cubicBezTo>
                    <a:pt x="6145260" y="179220"/>
                    <a:pt x="6148114" y="182072"/>
                    <a:pt x="6148114" y="187778"/>
                  </a:cubicBezTo>
                  <a:cubicBezTo>
                    <a:pt x="6148114" y="218685"/>
                    <a:pt x="6148114" y="218685"/>
                    <a:pt x="6148114" y="218685"/>
                  </a:cubicBezTo>
                  <a:cubicBezTo>
                    <a:pt x="6148114" y="219636"/>
                    <a:pt x="6148589" y="220587"/>
                    <a:pt x="6149540" y="221062"/>
                  </a:cubicBezTo>
                  <a:cubicBezTo>
                    <a:pt x="6150254" y="221775"/>
                    <a:pt x="6150967" y="221538"/>
                    <a:pt x="6151681" y="220349"/>
                  </a:cubicBezTo>
                  <a:cubicBezTo>
                    <a:pt x="6176174" y="188729"/>
                    <a:pt x="6212557" y="173038"/>
                    <a:pt x="6260593" y="173038"/>
                  </a:cubicBezTo>
                  <a:close/>
                  <a:moveTo>
                    <a:pt x="4806681" y="173038"/>
                  </a:moveTo>
                  <a:cubicBezTo>
                    <a:pt x="4853527" y="173038"/>
                    <a:pt x="4890624" y="186590"/>
                    <a:pt x="4918209" y="213930"/>
                  </a:cubicBezTo>
                  <a:cubicBezTo>
                    <a:pt x="4945793" y="241032"/>
                    <a:pt x="4959348" y="277882"/>
                    <a:pt x="4959348" y="324242"/>
                  </a:cubicBezTo>
                  <a:cubicBezTo>
                    <a:pt x="4959348" y="607393"/>
                    <a:pt x="4959348" y="607393"/>
                    <a:pt x="4959348" y="607393"/>
                  </a:cubicBezTo>
                  <a:cubicBezTo>
                    <a:pt x="4959348" y="613098"/>
                    <a:pt x="4956494" y="615951"/>
                    <a:pt x="4950787" y="615951"/>
                  </a:cubicBezTo>
                  <a:cubicBezTo>
                    <a:pt x="4885630" y="615951"/>
                    <a:pt x="4885630" y="615951"/>
                    <a:pt x="4885630" y="615951"/>
                  </a:cubicBezTo>
                  <a:cubicBezTo>
                    <a:pt x="4879923" y="615951"/>
                    <a:pt x="4877069" y="613098"/>
                    <a:pt x="4877069" y="607393"/>
                  </a:cubicBezTo>
                  <a:cubicBezTo>
                    <a:pt x="4877069" y="340408"/>
                    <a:pt x="4877069" y="340408"/>
                    <a:pt x="4877069" y="340408"/>
                  </a:cubicBezTo>
                  <a:cubicBezTo>
                    <a:pt x="4877069" y="311879"/>
                    <a:pt x="4868746" y="288581"/>
                    <a:pt x="4852100" y="270988"/>
                  </a:cubicBezTo>
                  <a:cubicBezTo>
                    <a:pt x="4835454" y="253157"/>
                    <a:pt x="4813577" y="244361"/>
                    <a:pt x="4785992" y="244361"/>
                  </a:cubicBezTo>
                  <a:cubicBezTo>
                    <a:pt x="4759121" y="244361"/>
                    <a:pt x="4737005" y="253157"/>
                    <a:pt x="4719884" y="270988"/>
                  </a:cubicBezTo>
                  <a:cubicBezTo>
                    <a:pt x="4702762" y="288581"/>
                    <a:pt x="4694201" y="311642"/>
                    <a:pt x="4694201" y="339695"/>
                  </a:cubicBezTo>
                  <a:cubicBezTo>
                    <a:pt x="4694201" y="607393"/>
                    <a:pt x="4694201" y="607393"/>
                    <a:pt x="4694201" y="607393"/>
                  </a:cubicBezTo>
                  <a:cubicBezTo>
                    <a:pt x="4694201" y="613098"/>
                    <a:pt x="4691348" y="615951"/>
                    <a:pt x="4685641" y="615951"/>
                  </a:cubicBezTo>
                  <a:cubicBezTo>
                    <a:pt x="4620246" y="615951"/>
                    <a:pt x="4620246" y="615951"/>
                    <a:pt x="4620246" y="615951"/>
                  </a:cubicBezTo>
                  <a:cubicBezTo>
                    <a:pt x="4614539" y="615951"/>
                    <a:pt x="4611685" y="613098"/>
                    <a:pt x="4611685" y="607393"/>
                  </a:cubicBezTo>
                  <a:cubicBezTo>
                    <a:pt x="4611685" y="187778"/>
                    <a:pt x="4611685" y="187778"/>
                    <a:pt x="4611685" y="187778"/>
                  </a:cubicBezTo>
                  <a:cubicBezTo>
                    <a:pt x="4611685" y="182072"/>
                    <a:pt x="4614539" y="179220"/>
                    <a:pt x="4620246" y="179220"/>
                  </a:cubicBezTo>
                  <a:cubicBezTo>
                    <a:pt x="4685641" y="179220"/>
                    <a:pt x="4685641" y="179220"/>
                    <a:pt x="4685641" y="179220"/>
                  </a:cubicBezTo>
                  <a:cubicBezTo>
                    <a:pt x="4691348" y="179220"/>
                    <a:pt x="4694201" y="182072"/>
                    <a:pt x="4694201" y="187778"/>
                  </a:cubicBezTo>
                  <a:cubicBezTo>
                    <a:pt x="4694201" y="218685"/>
                    <a:pt x="4694201" y="218685"/>
                    <a:pt x="4694201" y="218685"/>
                  </a:cubicBezTo>
                  <a:cubicBezTo>
                    <a:pt x="4694201" y="219636"/>
                    <a:pt x="4694677" y="220587"/>
                    <a:pt x="4695390" y="221062"/>
                  </a:cubicBezTo>
                  <a:cubicBezTo>
                    <a:pt x="4696342" y="221775"/>
                    <a:pt x="4697055" y="221538"/>
                    <a:pt x="4697531" y="220349"/>
                  </a:cubicBezTo>
                  <a:cubicBezTo>
                    <a:pt x="4722262" y="188729"/>
                    <a:pt x="4758645" y="173038"/>
                    <a:pt x="4806681" y="173038"/>
                  </a:cubicBezTo>
                  <a:close/>
                  <a:moveTo>
                    <a:pt x="4320462" y="173038"/>
                  </a:moveTo>
                  <a:cubicBezTo>
                    <a:pt x="4378202" y="173038"/>
                    <a:pt x="4421446" y="187291"/>
                    <a:pt x="4449959" y="216270"/>
                  </a:cubicBezTo>
                  <a:cubicBezTo>
                    <a:pt x="4478473" y="245250"/>
                    <a:pt x="4496056" y="287532"/>
                    <a:pt x="4502234" y="343592"/>
                  </a:cubicBezTo>
                  <a:cubicBezTo>
                    <a:pt x="4504610" y="367108"/>
                    <a:pt x="4505323" y="393237"/>
                    <a:pt x="4504848" y="422455"/>
                  </a:cubicBezTo>
                  <a:cubicBezTo>
                    <a:pt x="4504848" y="428156"/>
                    <a:pt x="4501996" y="431006"/>
                    <a:pt x="4496294" y="431006"/>
                  </a:cubicBezTo>
                  <a:cubicBezTo>
                    <a:pt x="4222803" y="431006"/>
                    <a:pt x="4222803" y="431006"/>
                    <a:pt x="4222803" y="431006"/>
                  </a:cubicBezTo>
                  <a:cubicBezTo>
                    <a:pt x="4220427" y="431006"/>
                    <a:pt x="4219239" y="432194"/>
                    <a:pt x="4219239" y="434569"/>
                  </a:cubicBezTo>
                  <a:cubicBezTo>
                    <a:pt x="4219239" y="453810"/>
                    <a:pt x="4220902" y="468775"/>
                    <a:pt x="4224466" y="478989"/>
                  </a:cubicBezTo>
                  <a:cubicBezTo>
                    <a:pt x="4230644" y="502030"/>
                    <a:pt x="4243475" y="519846"/>
                    <a:pt x="4262484" y="532673"/>
                  </a:cubicBezTo>
                  <a:cubicBezTo>
                    <a:pt x="4281731" y="545500"/>
                    <a:pt x="4305968" y="551914"/>
                    <a:pt x="4334956" y="551914"/>
                  </a:cubicBezTo>
                  <a:cubicBezTo>
                    <a:pt x="4377251" y="551914"/>
                    <a:pt x="4410040" y="534573"/>
                    <a:pt x="4432851" y="499655"/>
                  </a:cubicBezTo>
                  <a:cubicBezTo>
                    <a:pt x="4435702" y="493954"/>
                    <a:pt x="4439267" y="493004"/>
                    <a:pt x="4444019" y="497042"/>
                  </a:cubicBezTo>
                  <a:cubicBezTo>
                    <a:pt x="4492967" y="529585"/>
                    <a:pt x="4492967" y="529585"/>
                    <a:pt x="4492967" y="529585"/>
                  </a:cubicBezTo>
                  <a:cubicBezTo>
                    <a:pt x="4496769" y="533148"/>
                    <a:pt x="4497719" y="536711"/>
                    <a:pt x="4495581" y="540749"/>
                  </a:cubicBezTo>
                  <a:cubicBezTo>
                    <a:pt x="4479423" y="566641"/>
                    <a:pt x="4456612" y="586832"/>
                    <a:pt x="4427148" y="601560"/>
                  </a:cubicBezTo>
                  <a:cubicBezTo>
                    <a:pt x="4397686" y="616525"/>
                    <a:pt x="4364420" y="623888"/>
                    <a:pt x="4327353" y="623888"/>
                  </a:cubicBezTo>
                  <a:cubicBezTo>
                    <a:pt x="4285533" y="623888"/>
                    <a:pt x="4250366" y="614862"/>
                    <a:pt x="4221853" y="596571"/>
                  </a:cubicBezTo>
                  <a:cubicBezTo>
                    <a:pt x="4193339" y="578281"/>
                    <a:pt x="4171716" y="552151"/>
                    <a:pt x="4157460" y="518421"/>
                  </a:cubicBezTo>
                  <a:cubicBezTo>
                    <a:pt x="4143678" y="484690"/>
                    <a:pt x="4137025" y="443833"/>
                    <a:pt x="4137025" y="395850"/>
                  </a:cubicBezTo>
                  <a:cubicBezTo>
                    <a:pt x="4137025" y="354281"/>
                    <a:pt x="4140114" y="322451"/>
                    <a:pt x="4146292" y="300835"/>
                  </a:cubicBezTo>
                  <a:cubicBezTo>
                    <a:pt x="4156747" y="261165"/>
                    <a:pt x="4177181" y="230048"/>
                    <a:pt x="4208071" y="207244"/>
                  </a:cubicBezTo>
                  <a:cubicBezTo>
                    <a:pt x="4238961" y="184440"/>
                    <a:pt x="4276504" y="173038"/>
                    <a:pt x="4320462" y="173038"/>
                  </a:cubicBezTo>
                  <a:close/>
                  <a:moveTo>
                    <a:pt x="3635297" y="173038"/>
                  </a:moveTo>
                  <a:cubicBezTo>
                    <a:pt x="3664563" y="173038"/>
                    <a:pt x="3689308" y="178744"/>
                    <a:pt x="3710009" y="189918"/>
                  </a:cubicBezTo>
                  <a:cubicBezTo>
                    <a:pt x="3730709" y="201092"/>
                    <a:pt x="3746651" y="217496"/>
                    <a:pt x="3758072" y="239130"/>
                  </a:cubicBezTo>
                  <a:cubicBezTo>
                    <a:pt x="3759737" y="241508"/>
                    <a:pt x="3761641" y="241508"/>
                    <a:pt x="3763306" y="239130"/>
                  </a:cubicBezTo>
                  <a:cubicBezTo>
                    <a:pt x="3777106" y="216783"/>
                    <a:pt x="3795189" y="200141"/>
                    <a:pt x="3817793" y="189442"/>
                  </a:cubicBezTo>
                  <a:cubicBezTo>
                    <a:pt x="3840397" y="178506"/>
                    <a:pt x="3865380" y="173038"/>
                    <a:pt x="3892981" y="173038"/>
                  </a:cubicBezTo>
                  <a:cubicBezTo>
                    <a:pt x="3936523" y="173038"/>
                    <a:pt x="3970785" y="186114"/>
                    <a:pt x="3996006" y="212266"/>
                  </a:cubicBezTo>
                  <a:cubicBezTo>
                    <a:pt x="4021227" y="238180"/>
                    <a:pt x="4033838" y="274316"/>
                    <a:pt x="4033838" y="320676"/>
                  </a:cubicBezTo>
                  <a:cubicBezTo>
                    <a:pt x="4033838" y="607393"/>
                    <a:pt x="4033838" y="607393"/>
                    <a:pt x="4033838" y="607393"/>
                  </a:cubicBezTo>
                  <a:cubicBezTo>
                    <a:pt x="4033838" y="613098"/>
                    <a:pt x="4030983" y="615951"/>
                    <a:pt x="4025272" y="615951"/>
                  </a:cubicBezTo>
                  <a:cubicBezTo>
                    <a:pt x="3960792" y="615951"/>
                    <a:pt x="3960792" y="615951"/>
                    <a:pt x="3960792" y="615951"/>
                  </a:cubicBezTo>
                  <a:cubicBezTo>
                    <a:pt x="3955082" y="615951"/>
                    <a:pt x="3952226" y="613098"/>
                    <a:pt x="3952226" y="607393"/>
                  </a:cubicBezTo>
                  <a:cubicBezTo>
                    <a:pt x="3952226" y="337793"/>
                    <a:pt x="3952226" y="337793"/>
                    <a:pt x="3952226" y="337793"/>
                  </a:cubicBezTo>
                  <a:cubicBezTo>
                    <a:pt x="3952226" y="309264"/>
                    <a:pt x="3944375" y="286441"/>
                    <a:pt x="3928671" y="269561"/>
                  </a:cubicBezTo>
                  <a:cubicBezTo>
                    <a:pt x="3912967" y="252682"/>
                    <a:pt x="3891791" y="244361"/>
                    <a:pt x="3865380" y="244361"/>
                  </a:cubicBezTo>
                  <a:cubicBezTo>
                    <a:pt x="3839207" y="244361"/>
                    <a:pt x="3817793" y="252682"/>
                    <a:pt x="3801138" y="269324"/>
                  </a:cubicBezTo>
                  <a:cubicBezTo>
                    <a:pt x="3784482" y="285728"/>
                    <a:pt x="3776155" y="308076"/>
                    <a:pt x="3776155" y="336129"/>
                  </a:cubicBezTo>
                  <a:cubicBezTo>
                    <a:pt x="3776155" y="607393"/>
                    <a:pt x="3776155" y="607393"/>
                    <a:pt x="3776155" y="607393"/>
                  </a:cubicBezTo>
                  <a:cubicBezTo>
                    <a:pt x="3776155" y="613098"/>
                    <a:pt x="3773299" y="615951"/>
                    <a:pt x="3767589" y="615951"/>
                  </a:cubicBezTo>
                  <a:cubicBezTo>
                    <a:pt x="3703109" y="615951"/>
                    <a:pt x="3703109" y="615951"/>
                    <a:pt x="3703109" y="615951"/>
                  </a:cubicBezTo>
                  <a:cubicBezTo>
                    <a:pt x="3697398" y="615951"/>
                    <a:pt x="3694543" y="613098"/>
                    <a:pt x="3694543" y="607393"/>
                  </a:cubicBezTo>
                  <a:cubicBezTo>
                    <a:pt x="3694543" y="337793"/>
                    <a:pt x="3694543" y="337793"/>
                    <a:pt x="3694543" y="337793"/>
                  </a:cubicBezTo>
                  <a:cubicBezTo>
                    <a:pt x="3694543" y="309264"/>
                    <a:pt x="3686691" y="286441"/>
                    <a:pt x="3670987" y="269561"/>
                  </a:cubicBezTo>
                  <a:cubicBezTo>
                    <a:pt x="3655284" y="252682"/>
                    <a:pt x="3634108" y="244361"/>
                    <a:pt x="3607935" y="244361"/>
                  </a:cubicBezTo>
                  <a:cubicBezTo>
                    <a:pt x="3581524" y="244361"/>
                    <a:pt x="3560348" y="252682"/>
                    <a:pt x="3544644" y="269324"/>
                  </a:cubicBezTo>
                  <a:cubicBezTo>
                    <a:pt x="3528940" y="285728"/>
                    <a:pt x="3521088" y="308076"/>
                    <a:pt x="3521088" y="336129"/>
                  </a:cubicBezTo>
                  <a:cubicBezTo>
                    <a:pt x="3521088" y="607393"/>
                    <a:pt x="3521088" y="607393"/>
                    <a:pt x="3521088" y="607393"/>
                  </a:cubicBezTo>
                  <a:cubicBezTo>
                    <a:pt x="3521088" y="613098"/>
                    <a:pt x="3518233" y="615951"/>
                    <a:pt x="3512523" y="615951"/>
                  </a:cubicBezTo>
                  <a:cubicBezTo>
                    <a:pt x="3447329" y="615951"/>
                    <a:pt x="3447329" y="615951"/>
                    <a:pt x="3447329" y="615951"/>
                  </a:cubicBezTo>
                  <a:cubicBezTo>
                    <a:pt x="3441380" y="615951"/>
                    <a:pt x="3438525" y="613098"/>
                    <a:pt x="3438525" y="607393"/>
                  </a:cubicBezTo>
                  <a:cubicBezTo>
                    <a:pt x="3438525" y="187778"/>
                    <a:pt x="3438525" y="187778"/>
                    <a:pt x="3438525" y="187778"/>
                  </a:cubicBezTo>
                  <a:cubicBezTo>
                    <a:pt x="3438525" y="182072"/>
                    <a:pt x="3441380" y="179220"/>
                    <a:pt x="3447329" y="179220"/>
                  </a:cubicBezTo>
                  <a:cubicBezTo>
                    <a:pt x="3512523" y="179220"/>
                    <a:pt x="3512523" y="179220"/>
                    <a:pt x="3512523" y="179220"/>
                  </a:cubicBezTo>
                  <a:cubicBezTo>
                    <a:pt x="3518233" y="179220"/>
                    <a:pt x="3521088" y="182072"/>
                    <a:pt x="3521088" y="187778"/>
                  </a:cubicBezTo>
                  <a:cubicBezTo>
                    <a:pt x="3521088" y="216783"/>
                    <a:pt x="3521088" y="216783"/>
                    <a:pt x="3521088" y="216783"/>
                  </a:cubicBezTo>
                  <a:cubicBezTo>
                    <a:pt x="3521088" y="217971"/>
                    <a:pt x="3521564" y="218922"/>
                    <a:pt x="3522278" y="219398"/>
                  </a:cubicBezTo>
                  <a:cubicBezTo>
                    <a:pt x="3523230" y="220111"/>
                    <a:pt x="3524182" y="219636"/>
                    <a:pt x="3525371" y="218685"/>
                  </a:cubicBezTo>
                  <a:cubicBezTo>
                    <a:pt x="3550592" y="188254"/>
                    <a:pt x="3587234" y="173038"/>
                    <a:pt x="3635297" y="173038"/>
                  </a:cubicBezTo>
                  <a:close/>
                  <a:moveTo>
                    <a:pt x="2676723" y="173038"/>
                  </a:moveTo>
                  <a:cubicBezTo>
                    <a:pt x="2734674" y="173038"/>
                    <a:pt x="2778078" y="187291"/>
                    <a:pt x="2806697" y="216270"/>
                  </a:cubicBezTo>
                  <a:cubicBezTo>
                    <a:pt x="2835315" y="245250"/>
                    <a:pt x="2852963" y="287532"/>
                    <a:pt x="2859163" y="343592"/>
                  </a:cubicBezTo>
                  <a:cubicBezTo>
                    <a:pt x="2861548" y="367108"/>
                    <a:pt x="2862263" y="393237"/>
                    <a:pt x="2861786" y="422455"/>
                  </a:cubicBezTo>
                  <a:cubicBezTo>
                    <a:pt x="2861786" y="428156"/>
                    <a:pt x="2858924" y="431006"/>
                    <a:pt x="2853201" y="431006"/>
                  </a:cubicBezTo>
                  <a:cubicBezTo>
                    <a:pt x="2578468" y="431006"/>
                    <a:pt x="2578468" y="431006"/>
                    <a:pt x="2578468" y="431006"/>
                  </a:cubicBezTo>
                  <a:cubicBezTo>
                    <a:pt x="2576322" y="431006"/>
                    <a:pt x="2575129" y="432194"/>
                    <a:pt x="2575129" y="434569"/>
                  </a:cubicBezTo>
                  <a:cubicBezTo>
                    <a:pt x="2575129" y="453810"/>
                    <a:pt x="2576798" y="468775"/>
                    <a:pt x="2580376" y="478989"/>
                  </a:cubicBezTo>
                  <a:cubicBezTo>
                    <a:pt x="2586576" y="502030"/>
                    <a:pt x="2599454" y="519846"/>
                    <a:pt x="2618533" y="532673"/>
                  </a:cubicBezTo>
                  <a:cubicBezTo>
                    <a:pt x="2637850" y="545500"/>
                    <a:pt x="2662176" y="551914"/>
                    <a:pt x="2691271" y="551914"/>
                  </a:cubicBezTo>
                  <a:cubicBezTo>
                    <a:pt x="2733721" y="551914"/>
                    <a:pt x="2766631" y="534573"/>
                    <a:pt x="2789526" y="499655"/>
                  </a:cubicBezTo>
                  <a:cubicBezTo>
                    <a:pt x="2792387" y="493954"/>
                    <a:pt x="2795965" y="493004"/>
                    <a:pt x="2800735" y="497042"/>
                  </a:cubicBezTo>
                  <a:cubicBezTo>
                    <a:pt x="2849624" y="529585"/>
                    <a:pt x="2849624" y="529585"/>
                    <a:pt x="2849624" y="529585"/>
                  </a:cubicBezTo>
                  <a:cubicBezTo>
                    <a:pt x="2853678" y="533148"/>
                    <a:pt x="2854632" y="536711"/>
                    <a:pt x="2852247" y="540749"/>
                  </a:cubicBezTo>
                  <a:cubicBezTo>
                    <a:pt x="2836269" y="566641"/>
                    <a:pt x="2813374" y="586832"/>
                    <a:pt x="2783802" y="601560"/>
                  </a:cubicBezTo>
                  <a:cubicBezTo>
                    <a:pt x="2754230" y="616525"/>
                    <a:pt x="2720843" y="623888"/>
                    <a:pt x="2683639" y="623888"/>
                  </a:cubicBezTo>
                  <a:cubicBezTo>
                    <a:pt x="2641666" y="623888"/>
                    <a:pt x="2606370" y="614862"/>
                    <a:pt x="2577753" y="596571"/>
                  </a:cubicBezTo>
                  <a:cubicBezTo>
                    <a:pt x="2548896" y="578281"/>
                    <a:pt x="2527433" y="552151"/>
                    <a:pt x="2513124" y="518421"/>
                  </a:cubicBezTo>
                  <a:cubicBezTo>
                    <a:pt x="2499291" y="484690"/>
                    <a:pt x="2492375" y="443833"/>
                    <a:pt x="2492375" y="395850"/>
                  </a:cubicBezTo>
                  <a:cubicBezTo>
                    <a:pt x="2492375" y="354281"/>
                    <a:pt x="2495714" y="322451"/>
                    <a:pt x="2501915" y="300835"/>
                  </a:cubicBezTo>
                  <a:cubicBezTo>
                    <a:pt x="2512169" y="261165"/>
                    <a:pt x="2532918" y="230048"/>
                    <a:pt x="2563920" y="207244"/>
                  </a:cubicBezTo>
                  <a:cubicBezTo>
                    <a:pt x="2594923" y="184440"/>
                    <a:pt x="2632604" y="173038"/>
                    <a:pt x="2676723" y="173038"/>
                  </a:cubicBezTo>
                  <a:close/>
                  <a:moveTo>
                    <a:pt x="2234933" y="173038"/>
                  </a:moveTo>
                  <a:cubicBezTo>
                    <a:pt x="2281780" y="173038"/>
                    <a:pt x="2319114" y="186590"/>
                    <a:pt x="2346461" y="213930"/>
                  </a:cubicBezTo>
                  <a:cubicBezTo>
                    <a:pt x="2374046" y="241032"/>
                    <a:pt x="2387601" y="277882"/>
                    <a:pt x="2387601" y="324242"/>
                  </a:cubicBezTo>
                  <a:cubicBezTo>
                    <a:pt x="2387601" y="607393"/>
                    <a:pt x="2387601" y="607393"/>
                    <a:pt x="2387601" y="607393"/>
                  </a:cubicBezTo>
                  <a:cubicBezTo>
                    <a:pt x="2387601" y="613098"/>
                    <a:pt x="2384747" y="615951"/>
                    <a:pt x="2379040" y="615951"/>
                  </a:cubicBezTo>
                  <a:cubicBezTo>
                    <a:pt x="2313883" y="615951"/>
                    <a:pt x="2313883" y="615951"/>
                    <a:pt x="2313883" y="615951"/>
                  </a:cubicBezTo>
                  <a:cubicBezTo>
                    <a:pt x="2308176" y="615951"/>
                    <a:pt x="2305322" y="613098"/>
                    <a:pt x="2305322" y="607393"/>
                  </a:cubicBezTo>
                  <a:cubicBezTo>
                    <a:pt x="2305322" y="340408"/>
                    <a:pt x="2305322" y="340408"/>
                    <a:pt x="2305322" y="340408"/>
                  </a:cubicBezTo>
                  <a:cubicBezTo>
                    <a:pt x="2305322" y="311879"/>
                    <a:pt x="2296999" y="288581"/>
                    <a:pt x="2280353" y="270988"/>
                  </a:cubicBezTo>
                  <a:cubicBezTo>
                    <a:pt x="2263707" y="253157"/>
                    <a:pt x="2241829" y="244361"/>
                    <a:pt x="2214245" y="244361"/>
                  </a:cubicBezTo>
                  <a:cubicBezTo>
                    <a:pt x="2187373" y="244361"/>
                    <a:pt x="2165496" y="253157"/>
                    <a:pt x="2148137" y="270988"/>
                  </a:cubicBezTo>
                  <a:cubicBezTo>
                    <a:pt x="2131015" y="288581"/>
                    <a:pt x="2122454" y="311642"/>
                    <a:pt x="2122454" y="339695"/>
                  </a:cubicBezTo>
                  <a:cubicBezTo>
                    <a:pt x="2122454" y="607393"/>
                    <a:pt x="2122454" y="607393"/>
                    <a:pt x="2122454" y="607393"/>
                  </a:cubicBezTo>
                  <a:cubicBezTo>
                    <a:pt x="2122454" y="613098"/>
                    <a:pt x="2119601" y="615951"/>
                    <a:pt x="2113893" y="615951"/>
                  </a:cubicBezTo>
                  <a:cubicBezTo>
                    <a:pt x="2048736" y="615951"/>
                    <a:pt x="2048736" y="615951"/>
                    <a:pt x="2048736" y="615951"/>
                  </a:cubicBezTo>
                  <a:cubicBezTo>
                    <a:pt x="2043029" y="615951"/>
                    <a:pt x="2039937" y="613098"/>
                    <a:pt x="2039937" y="607393"/>
                  </a:cubicBezTo>
                  <a:cubicBezTo>
                    <a:pt x="2039937" y="187778"/>
                    <a:pt x="2039937" y="187778"/>
                    <a:pt x="2039937" y="187778"/>
                  </a:cubicBezTo>
                  <a:cubicBezTo>
                    <a:pt x="2039937" y="182072"/>
                    <a:pt x="2043029" y="179220"/>
                    <a:pt x="2048736" y="179220"/>
                  </a:cubicBezTo>
                  <a:cubicBezTo>
                    <a:pt x="2113893" y="179220"/>
                    <a:pt x="2113893" y="179220"/>
                    <a:pt x="2113893" y="179220"/>
                  </a:cubicBezTo>
                  <a:cubicBezTo>
                    <a:pt x="2119601" y="179220"/>
                    <a:pt x="2122454" y="182072"/>
                    <a:pt x="2122454" y="187778"/>
                  </a:cubicBezTo>
                  <a:cubicBezTo>
                    <a:pt x="2122454" y="218685"/>
                    <a:pt x="2122454" y="218685"/>
                    <a:pt x="2122454" y="218685"/>
                  </a:cubicBezTo>
                  <a:cubicBezTo>
                    <a:pt x="2122454" y="219636"/>
                    <a:pt x="2122930" y="220587"/>
                    <a:pt x="2123881" y="221062"/>
                  </a:cubicBezTo>
                  <a:cubicBezTo>
                    <a:pt x="2124594" y="221775"/>
                    <a:pt x="2125308" y="221538"/>
                    <a:pt x="2125783" y="220349"/>
                  </a:cubicBezTo>
                  <a:cubicBezTo>
                    <a:pt x="2150514" y="188729"/>
                    <a:pt x="2186898" y="173038"/>
                    <a:pt x="2234933" y="173038"/>
                  </a:cubicBezTo>
                  <a:close/>
                  <a:moveTo>
                    <a:pt x="1424862" y="173038"/>
                  </a:moveTo>
                  <a:cubicBezTo>
                    <a:pt x="1482602" y="173038"/>
                    <a:pt x="1525847" y="187291"/>
                    <a:pt x="1554361" y="216270"/>
                  </a:cubicBezTo>
                  <a:cubicBezTo>
                    <a:pt x="1582874" y="245250"/>
                    <a:pt x="1600458" y="287532"/>
                    <a:pt x="1606635" y="343592"/>
                  </a:cubicBezTo>
                  <a:cubicBezTo>
                    <a:pt x="1609011" y="367108"/>
                    <a:pt x="1609725" y="393237"/>
                    <a:pt x="1609249" y="422455"/>
                  </a:cubicBezTo>
                  <a:cubicBezTo>
                    <a:pt x="1609249" y="428156"/>
                    <a:pt x="1606398" y="431006"/>
                    <a:pt x="1600696" y="431006"/>
                  </a:cubicBezTo>
                  <a:cubicBezTo>
                    <a:pt x="1326965" y="431006"/>
                    <a:pt x="1326965" y="431006"/>
                    <a:pt x="1326965" y="431006"/>
                  </a:cubicBezTo>
                  <a:cubicBezTo>
                    <a:pt x="1324826" y="431006"/>
                    <a:pt x="1323638" y="432194"/>
                    <a:pt x="1323638" y="434569"/>
                  </a:cubicBezTo>
                  <a:cubicBezTo>
                    <a:pt x="1323638" y="453810"/>
                    <a:pt x="1325303" y="468775"/>
                    <a:pt x="1328865" y="478989"/>
                  </a:cubicBezTo>
                  <a:cubicBezTo>
                    <a:pt x="1335045" y="502030"/>
                    <a:pt x="1347874" y="519846"/>
                    <a:pt x="1366883" y="532673"/>
                  </a:cubicBezTo>
                  <a:cubicBezTo>
                    <a:pt x="1386130" y="545500"/>
                    <a:pt x="1410368" y="551914"/>
                    <a:pt x="1439357" y="551914"/>
                  </a:cubicBezTo>
                  <a:cubicBezTo>
                    <a:pt x="1481652" y="551914"/>
                    <a:pt x="1514441" y="534573"/>
                    <a:pt x="1537252" y="499655"/>
                  </a:cubicBezTo>
                  <a:cubicBezTo>
                    <a:pt x="1540104" y="493954"/>
                    <a:pt x="1543669" y="493004"/>
                    <a:pt x="1548421" y="497042"/>
                  </a:cubicBezTo>
                  <a:cubicBezTo>
                    <a:pt x="1597131" y="529585"/>
                    <a:pt x="1597131" y="529585"/>
                    <a:pt x="1597131" y="529585"/>
                  </a:cubicBezTo>
                  <a:cubicBezTo>
                    <a:pt x="1601171" y="533148"/>
                    <a:pt x="1602121" y="536711"/>
                    <a:pt x="1599744" y="540749"/>
                  </a:cubicBezTo>
                  <a:cubicBezTo>
                    <a:pt x="1583824" y="566641"/>
                    <a:pt x="1561013" y="586832"/>
                    <a:pt x="1531549" y="601560"/>
                  </a:cubicBezTo>
                  <a:cubicBezTo>
                    <a:pt x="1502086" y="616525"/>
                    <a:pt x="1468820" y="623888"/>
                    <a:pt x="1431752" y="623888"/>
                  </a:cubicBezTo>
                  <a:cubicBezTo>
                    <a:pt x="1389932" y="623888"/>
                    <a:pt x="1354766" y="614862"/>
                    <a:pt x="1326253" y="596571"/>
                  </a:cubicBezTo>
                  <a:cubicBezTo>
                    <a:pt x="1297502" y="578281"/>
                    <a:pt x="1276115" y="552151"/>
                    <a:pt x="1261858" y="518421"/>
                  </a:cubicBezTo>
                  <a:cubicBezTo>
                    <a:pt x="1248077" y="484690"/>
                    <a:pt x="1241425" y="443833"/>
                    <a:pt x="1241425" y="395850"/>
                  </a:cubicBezTo>
                  <a:cubicBezTo>
                    <a:pt x="1241425" y="354281"/>
                    <a:pt x="1244513" y="322451"/>
                    <a:pt x="1250692" y="300835"/>
                  </a:cubicBezTo>
                  <a:cubicBezTo>
                    <a:pt x="1261146" y="261165"/>
                    <a:pt x="1281580" y="230048"/>
                    <a:pt x="1312471" y="207244"/>
                  </a:cubicBezTo>
                  <a:cubicBezTo>
                    <a:pt x="1343360" y="184440"/>
                    <a:pt x="1380903" y="173038"/>
                    <a:pt x="1424862" y="173038"/>
                  </a:cubicBezTo>
                  <a:close/>
                  <a:moveTo>
                    <a:pt x="666483" y="173038"/>
                  </a:moveTo>
                  <a:cubicBezTo>
                    <a:pt x="713330" y="173038"/>
                    <a:pt x="750425" y="186590"/>
                    <a:pt x="778011" y="213930"/>
                  </a:cubicBezTo>
                  <a:cubicBezTo>
                    <a:pt x="805358" y="241032"/>
                    <a:pt x="819150" y="277882"/>
                    <a:pt x="819150" y="324242"/>
                  </a:cubicBezTo>
                  <a:cubicBezTo>
                    <a:pt x="819150" y="607393"/>
                    <a:pt x="819150" y="607393"/>
                    <a:pt x="819150" y="607393"/>
                  </a:cubicBezTo>
                  <a:cubicBezTo>
                    <a:pt x="819150" y="613098"/>
                    <a:pt x="816295" y="615951"/>
                    <a:pt x="810589" y="615951"/>
                  </a:cubicBezTo>
                  <a:cubicBezTo>
                    <a:pt x="745432" y="615951"/>
                    <a:pt x="745432" y="615951"/>
                    <a:pt x="745432" y="615951"/>
                  </a:cubicBezTo>
                  <a:cubicBezTo>
                    <a:pt x="739724" y="615951"/>
                    <a:pt x="736870" y="613098"/>
                    <a:pt x="736870" y="607393"/>
                  </a:cubicBezTo>
                  <a:cubicBezTo>
                    <a:pt x="736870" y="340408"/>
                    <a:pt x="736870" y="340408"/>
                    <a:pt x="736870" y="340408"/>
                  </a:cubicBezTo>
                  <a:cubicBezTo>
                    <a:pt x="736870" y="311879"/>
                    <a:pt x="728548" y="288581"/>
                    <a:pt x="711902" y="270988"/>
                  </a:cubicBezTo>
                  <a:cubicBezTo>
                    <a:pt x="695256" y="253157"/>
                    <a:pt x="673378" y="244361"/>
                    <a:pt x="645794" y="244361"/>
                  </a:cubicBezTo>
                  <a:cubicBezTo>
                    <a:pt x="618922" y="244361"/>
                    <a:pt x="596807" y="253157"/>
                    <a:pt x="579685" y="270988"/>
                  </a:cubicBezTo>
                  <a:cubicBezTo>
                    <a:pt x="562564" y="288581"/>
                    <a:pt x="554003" y="311642"/>
                    <a:pt x="554003" y="339695"/>
                  </a:cubicBezTo>
                  <a:cubicBezTo>
                    <a:pt x="554003" y="607393"/>
                    <a:pt x="554003" y="607393"/>
                    <a:pt x="554003" y="607393"/>
                  </a:cubicBezTo>
                  <a:cubicBezTo>
                    <a:pt x="554003" y="613098"/>
                    <a:pt x="551151" y="615951"/>
                    <a:pt x="545443" y="615951"/>
                  </a:cubicBezTo>
                  <a:cubicBezTo>
                    <a:pt x="480047" y="615951"/>
                    <a:pt x="480047" y="615951"/>
                    <a:pt x="480047" y="615951"/>
                  </a:cubicBezTo>
                  <a:cubicBezTo>
                    <a:pt x="474340" y="615951"/>
                    <a:pt x="471487" y="613098"/>
                    <a:pt x="471487" y="607393"/>
                  </a:cubicBezTo>
                  <a:cubicBezTo>
                    <a:pt x="471487" y="187778"/>
                    <a:pt x="471487" y="187778"/>
                    <a:pt x="471487" y="187778"/>
                  </a:cubicBezTo>
                  <a:cubicBezTo>
                    <a:pt x="471487" y="182072"/>
                    <a:pt x="474340" y="179220"/>
                    <a:pt x="480047" y="179220"/>
                  </a:cubicBezTo>
                  <a:cubicBezTo>
                    <a:pt x="545443" y="179220"/>
                    <a:pt x="545443" y="179220"/>
                    <a:pt x="545443" y="179220"/>
                  </a:cubicBezTo>
                  <a:cubicBezTo>
                    <a:pt x="551151" y="179220"/>
                    <a:pt x="554003" y="182072"/>
                    <a:pt x="554003" y="187778"/>
                  </a:cubicBezTo>
                  <a:cubicBezTo>
                    <a:pt x="554003" y="218685"/>
                    <a:pt x="554003" y="218685"/>
                    <a:pt x="554003" y="218685"/>
                  </a:cubicBezTo>
                  <a:cubicBezTo>
                    <a:pt x="554003" y="219636"/>
                    <a:pt x="554241" y="220587"/>
                    <a:pt x="555193" y="221062"/>
                  </a:cubicBezTo>
                  <a:cubicBezTo>
                    <a:pt x="556143" y="221775"/>
                    <a:pt x="556856" y="221538"/>
                    <a:pt x="557333" y="220349"/>
                  </a:cubicBezTo>
                  <a:cubicBezTo>
                    <a:pt x="582063" y="188729"/>
                    <a:pt x="618447" y="173038"/>
                    <a:pt x="666483" y="173038"/>
                  </a:cubicBezTo>
                  <a:close/>
                  <a:moveTo>
                    <a:pt x="981340" y="65088"/>
                  </a:moveTo>
                  <a:cubicBezTo>
                    <a:pt x="1043412" y="65088"/>
                    <a:pt x="1043412" y="65088"/>
                    <a:pt x="1043412" y="65088"/>
                  </a:cubicBezTo>
                  <a:cubicBezTo>
                    <a:pt x="1049141" y="65088"/>
                    <a:pt x="1052005" y="67944"/>
                    <a:pt x="1052005" y="73657"/>
                  </a:cubicBezTo>
                  <a:cubicBezTo>
                    <a:pt x="1052005" y="175055"/>
                    <a:pt x="1052005" y="175055"/>
                    <a:pt x="1052005" y="175055"/>
                  </a:cubicBezTo>
                  <a:cubicBezTo>
                    <a:pt x="1052005" y="177435"/>
                    <a:pt x="1053201" y="178387"/>
                    <a:pt x="1055588" y="178387"/>
                  </a:cubicBezTo>
                  <a:cubicBezTo>
                    <a:pt x="1148693" y="178387"/>
                    <a:pt x="1148693" y="178387"/>
                    <a:pt x="1148693" y="178387"/>
                  </a:cubicBezTo>
                  <a:cubicBezTo>
                    <a:pt x="1154423" y="178387"/>
                    <a:pt x="1157288" y="181481"/>
                    <a:pt x="1157288" y="187194"/>
                  </a:cubicBezTo>
                  <a:cubicBezTo>
                    <a:pt x="1157288" y="237893"/>
                    <a:pt x="1157288" y="237893"/>
                    <a:pt x="1157288" y="237893"/>
                  </a:cubicBezTo>
                  <a:cubicBezTo>
                    <a:pt x="1157288" y="243605"/>
                    <a:pt x="1154423" y="246461"/>
                    <a:pt x="1148693" y="246461"/>
                  </a:cubicBezTo>
                  <a:cubicBezTo>
                    <a:pt x="1055588" y="246461"/>
                    <a:pt x="1055588" y="246461"/>
                    <a:pt x="1055588" y="246461"/>
                  </a:cubicBezTo>
                  <a:cubicBezTo>
                    <a:pt x="1053201" y="246461"/>
                    <a:pt x="1052005" y="247651"/>
                    <a:pt x="1052005" y="249794"/>
                  </a:cubicBezTo>
                  <a:cubicBezTo>
                    <a:pt x="1052005" y="477581"/>
                    <a:pt x="1052005" y="477581"/>
                    <a:pt x="1052005" y="477581"/>
                  </a:cubicBezTo>
                  <a:cubicBezTo>
                    <a:pt x="1052005" y="501621"/>
                    <a:pt x="1057496" y="518997"/>
                    <a:pt x="1068478" y="529470"/>
                  </a:cubicBezTo>
                  <a:cubicBezTo>
                    <a:pt x="1079460" y="540181"/>
                    <a:pt x="1096410" y="545417"/>
                    <a:pt x="1119328" y="545417"/>
                  </a:cubicBezTo>
                  <a:cubicBezTo>
                    <a:pt x="1144396" y="545417"/>
                    <a:pt x="1144396" y="545417"/>
                    <a:pt x="1144396" y="545417"/>
                  </a:cubicBezTo>
                  <a:cubicBezTo>
                    <a:pt x="1150125" y="545417"/>
                    <a:pt x="1152990" y="548274"/>
                    <a:pt x="1152990" y="553986"/>
                  </a:cubicBezTo>
                  <a:cubicBezTo>
                    <a:pt x="1152990" y="607303"/>
                    <a:pt x="1152990" y="607303"/>
                    <a:pt x="1152990" y="607303"/>
                  </a:cubicBezTo>
                  <a:cubicBezTo>
                    <a:pt x="1152990" y="613016"/>
                    <a:pt x="1150125" y="615872"/>
                    <a:pt x="1144396" y="615872"/>
                  </a:cubicBezTo>
                  <a:cubicBezTo>
                    <a:pt x="1126014" y="617062"/>
                    <a:pt x="1112644" y="617538"/>
                    <a:pt x="1104765" y="617538"/>
                  </a:cubicBezTo>
                  <a:cubicBezTo>
                    <a:pt x="1061078" y="617538"/>
                    <a:pt x="1028132" y="609683"/>
                    <a:pt x="1005931" y="593974"/>
                  </a:cubicBezTo>
                  <a:cubicBezTo>
                    <a:pt x="983966" y="578265"/>
                    <a:pt x="972746" y="549226"/>
                    <a:pt x="972746" y="506620"/>
                  </a:cubicBezTo>
                  <a:cubicBezTo>
                    <a:pt x="972746" y="249794"/>
                    <a:pt x="972746" y="249794"/>
                    <a:pt x="972746" y="249794"/>
                  </a:cubicBezTo>
                  <a:cubicBezTo>
                    <a:pt x="972746" y="247651"/>
                    <a:pt x="971554" y="246461"/>
                    <a:pt x="969403" y="246461"/>
                  </a:cubicBezTo>
                  <a:cubicBezTo>
                    <a:pt x="916883" y="246461"/>
                    <a:pt x="916883" y="246461"/>
                    <a:pt x="916883" y="246461"/>
                  </a:cubicBezTo>
                  <a:cubicBezTo>
                    <a:pt x="911153" y="246461"/>
                    <a:pt x="908049" y="243605"/>
                    <a:pt x="908049" y="237893"/>
                  </a:cubicBezTo>
                  <a:cubicBezTo>
                    <a:pt x="908049" y="187194"/>
                    <a:pt x="908049" y="187194"/>
                    <a:pt x="908049" y="187194"/>
                  </a:cubicBezTo>
                  <a:cubicBezTo>
                    <a:pt x="908049" y="181481"/>
                    <a:pt x="911153" y="178387"/>
                    <a:pt x="916883" y="178387"/>
                  </a:cubicBezTo>
                  <a:cubicBezTo>
                    <a:pt x="969403" y="178387"/>
                    <a:pt x="969403" y="178387"/>
                    <a:pt x="969403" y="178387"/>
                  </a:cubicBezTo>
                  <a:cubicBezTo>
                    <a:pt x="971554" y="178387"/>
                    <a:pt x="972746" y="177435"/>
                    <a:pt x="972746" y="175055"/>
                  </a:cubicBezTo>
                  <a:cubicBezTo>
                    <a:pt x="972746" y="73657"/>
                    <a:pt x="972746" y="73657"/>
                    <a:pt x="972746" y="73657"/>
                  </a:cubicBezTo>
                  <a:cubicBezTo>
                    <a:pt x="972746" y="67944"/>
                    <a:pt x="975612" y="65088"/>
                    <a:pt x="981340" y="65088"/>
                  </a:cubicBezTo>
                  <a:close/>
                  <a:moveTo>
                    <a:pt x="2978773" y="15875"/>
                  </a:moveTo>
                  <a:cubicBezTo>
                    <a:pt x="3043930" y="15875"/>
                    <a:pt x="3043930" y="15875"/>
                    <a:pt x="3043930" y="15875"/>
                  </a:cubicBezTo>
                  <a:cubicBezTo>
                    <a:pt x="3049637" y="15875"/>
                    <a:pt x="3052491" y="18724"/>
                    <a:pt x="3052491" y="24424"/>
                  </a:cubicBezTo>
                  <a:cubicBezTo>
                    <a:pt x="3052491" y="219146"/>
                    <a:pt x="3052491" y="219146"/>
                    <a:pt x="3052491" y="219146"/>
                  </a:cubicBezTo>
                  <a:cubicBezTo>
                    <a:pt x="3052491" y="220095"/>
                    <a:pt x="3052966" y="221045"/>
                    <a:pt x="3053918" y="221520"/>
                  </a:cubicBezTo>
                  <a:cubicBezTo>
                    <a:pt x="3054631" y="222233"/>
                    <a:pt x="3055344" y="221995"/>
                    <a:pt x="3056058" y="220808"/>
                  </a:cubicBezTo>
                  <a:cubicBezTo>
                    <a:pt x="3080551" y="189225"/>
                    <a:pt x="3116935" y="173552"/>
                    <a:pt x="3164970" y="173552"/>
                  </a:cubicBezTo>
                  <a:cubicBezTo>
                    <a:pt x="3212054" y="173552"/>
                    <a:pt x="3249151" y="187088"/>
                    <a:pt x="3276736" y="214396"/>
                  </a:cubicBezTo>
                  <a:cubicBezTo>
                    <a:pt x="3304083" y="241467"/>
                    <a:pt x="3317875" y="278274"/>
                    <a:pt x="3317875" y="324580"/>
                  </a:cubicBezTo>
                  <a:cubicBezTo>
                    <a:pt x="3317875" y="607401"/>
                    <a:pt x="3317875" y="607401"/>
                    <a:pt x="3317875" y="607401"/>
                  </a:cubicBezTo>
                  <a:cubicBezTo>
                    <a:pt x="3317875" y="613101"/>
                    <a:pt x="3315022" y="615950"/>
                    <a:pt x="3309314" y="615950"/>
                  </a:cubicBezTo>
                  <a:cubicBezTo>
                    <a:pt x="3243920" y="615950"/>
                    <a:pt x="3243920" y="615950"/>
                    <a:pt x="3243920" y="615950"/>
                  </a:cubicBezTo>
                  <a:cubicBezTo>
                    <a:pt x="3238212" y="615950"/>
                    <a:pt x="3235359" y="613101"/>
                    <a:pt x="3235359" y="607401"/>
                  </a:cubicBezTo>
                  <a:cubicBezTo>
                    <a:pt x="3235359" y="340728"/>
                    <a:pt x="3235359" y="340728"/>
                    <a:pt x="3235359" y="340728"/>
                  </a:cubicBezTo>
                  <a:cubicBezTo>
                    <a:pt x="3235359" y="312232"/>
                    <a:pt x="3227036" y="288960"/>
                    <a:pt x="3210628" y="271388"/>
                  </a:cubicBezTo>
                  <a:cubicBezTo>
                    <a:pt x="3193982" y="253578"/>
                    <a:pt x="3171866" y="244792"/>
                    <a:pt x="3144519" y="244792"/>
                  </a:cubicBezTo>
                  <a:cubicBezTo>
                    <a:pt x="3117648" y="244792"/>
                    <a:pt x="3095533" y="253578"/>
                    <a:pt x="3078411" y="271388"/>
                  </a:cubicBezTo>
                  <a:cubicBezTo>
                    <a:pt x="3061289" y="288960"/>
                    <a:pt x="3052491" y="311995"/>
                    <a:pt x="3052491" y="340015"/>
                  </a:cubicBezTo>
                  <a:cubicBezTo>
                    <a:pt x="3052491" y="607401"/>
                    <a:pt x="3052491" y="607401"/>
                    <a:pt x="3052491" y="607401"/>
                  </a:cubicBezTo>
                  <a:cubicBezTo>
                    <a:pt x="3052491" y="613101"/>
                    <a:pt x="3049637" y="615950"/>
                    <a:pt x="3043930" y="615950"/>
                  </a:cubicBezTo>
                  <a:cubicBezTo>
                    <a:pt x="2978773" y="615950"/>
                    <a:pt x="2978773" y="615950"/>
                    <a:pt x="2978773" y="615950"/>
                  </a:cubicBezTo>
                  <a:cubicBezTo>
                    <a:pt x="2973066" y="615950"/>
                    <a:pt x="2970212" y="613101"/>
                    <a:pt x="2970212" y="607401"/>
                  </a:cubicBezTo>
                  <a:cubicBezTo>
                    <a:pt x="2970212" y="24424"/>
                    <a:pt x="2970212" y="24424"/>
                    <a:pt x="2970212" y="24424"/>
                  </a:cubicBezTo>
                  <a:cubicBezTo>
                    <a:pt x="2970212" y="18724"/>
                    <a:pt x="2973066" y="15875"/>
                    <a:pt x="2978773" y="15875"/>
                  </a:cubicBezTo>
                  <a:close/>
                  <a:moveTo>
                    <a:pt x="7824785" y="0"/>
                  </a:moveTo>
                  <a:cubicBezTo>
                    <a:pt x="7841141" y="0"/>
                    <a:pt x="7854371" y="5051"/>
                    <a:pt x="7864954" y="15634"/>
                  </a:cubicBezTo>
                  <a:cubicBezTo>
                    <a:pt x="7875297" y="25977"/>
                    <a:pt x="7880348" y="39206"/>
                    <a:pt x="7880348" y="55562"/>
                  </a:cubicBezTo>
                  <a:cubicBezTo>
                    <a:pt x="7880348" y="71678"/>
                    <a:pt x="7875297" y="84907"/>
                    <a:pt x="7864954" y="95490"/>
                  </a:cubicBezTo>
                  <a:cubicBezTo>
                    <a:pt x="7854371" y="105833"/>
                    <a:pt x="7841141" y="111125"/>
                    <a:pt x="7824785" y="111125"/>
                  </a:cubicBezTo>
                  <a:cubicBezTo>
                    <a:pt x="7808670" y="111125"/>
                    <a:pt x="7795441" y="105833"/>
                    <a:pt x="7784857" y="95490"/>
                  </a:cubicBezTo>
                  <a:cubicBezTo>
                    <a:pt x="7774515" y="84907"/>
                    <a:pt x="7769223" y="71678"/>
                    <a:pt x="7769223" y="55562"/>
                  </a:cubicBezTo>
                  <a:cubicBezTo>
                    <a:pt x="7769223" y="39206"/>
                    <a:pt x="7774515" y="25977"/>
                    <a:pt x="7784857" y="15634"/>
                  </a:cubicBezTo>
                  <a:cubicBezTo>
                    <a:pt x="7795441" y="5051"/>
                    <a:pt x="7808670" y="0"/>
                    <a:pt x="782478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283400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Grün-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35F98A1-B44B-477E-A410-D56F95719AD4}"/>
              </a:ext>
            </a:extLst>
          </p:cNvPr>
          <p:cNvGrpSpPr/>
          <p:nvPr userDrawn="1"/>
        </p:nvGrpSpPr>
        <p:grpSpPr>
          <a:xfrm>
            <a:off x="1" y="1"/>
            <a:ext cx="8937922" cy="6858001"/>
            <a:chOff x="0" y="0"/>
            <a:chExt cx="8936759" cy="6858001"/>
          </a:xfrm>
        </p:grpSpPr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E0164C2-D9F2-4013-AC9F-E83CFEF71F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8936759" cy="6858000"/>
            </a:xfrm>
            <a:custGeom>
              <a:avLst/>
              <a:gdLst>
                <a:gd name="connsiteX0" fmla="*/ 8402249 w 8936759"/>
                <a:gd name="connsiteY0" fmla="*/ 0 h 6858000"/>
                <a:gd name="connsiteX1" fmla="*/ 8936759 w 8936759"/>
                <a:gd name="connsiteY1" fmla="*/ 0 h 6858000"/>
                <a:gd name="connsiteX2" fmla="*/ 8936625 w 8936759"/>
                <a:gd name="connsiteY2" fmla="*/ 499 h 6858000"/>
                <a:gd name="connsiteX3" fmla="*/ 7119206 w 8936759"/>
                <a:gd name="connsiteY3" fmla="*/ 6739771 h 6858000"/>
                <a:gd name="connsiteX4" fmla="*/ 7087323 w 8936759"/>
                <a:gd name="connsiteY4" fmla="*/ 6858000 h 6858000"/>
                <a:gd name="connsiteX5" fmla="*/ 0 w 8936759"/>
                <a:gd name="connsiteY5" fmla="*/ 6858000 h 6858000"/>
                <a:gd name="connsiteX6" fmla="*/ 0 w 8936759"/>
                <a:gd name="connsiteY6" fmla="*/ 1 h 6858000"/>
                <a:gd name="connsiteX7" fmla="*/ 8402249 w 8936759"/>
                <a:gd name="connsiteY7" fmla="*/ 1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36759" h="6858000">
                  <a:moveTo>
                    <a:pt x="8402249" y="0"/>
                  </a:moveTo>
                  <a:lnTo>
                    <a:pt x="8936759" y="0"/>
                  </a:lnTo>
                  <a:lnTo>
                    <a:pt x="8936625" y="499"/>
                  </a:lnTo>
                  <a:cubicBezTo>
                    <a:pt x="7848163" y="4036686"/>
                    <a:pt x="7348541" y="5889363"/>
                    <a:pt x="7119206" y="6739771"/>
                  </a:cubicBezTo>
                  <a:lnTo>
                    <a:pt x="7087323" y="6858000"/>
                  </a:lnTo>
                  <a:lnTo>
                    <a:pt x="0" y="6858000"/>
                  </a:lnTo>
                  <a:lnTo>
                    <a:pt x="0" y="1"/>
                  </a:lnTo>
                  <a:lnTo>
                    <a:pt x="8402249" y="1"/>
                  </a:lnTo>
                  <a:close/>
                </a:path>
              </a:pathLst>
            </a:custGeom>
            <a:solidFill>
              <a:schemeClr val="accent6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F24D8949-8E10-4CA5-B937-CFC0CBBCF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" y="0"/>
              <a:ext cx="8571035" cy="6858000"/>
            </a:xfrm>
            <a:custGeom>
              <a:avLst/>
              <a:gdLst>
                <a:gd name="connsiteX0" fmla="*/ 8402249 w 8571035"/>
                <a:gd name="connsiteY0" fmla="*/ 0 h 6858000"/>
                <a:gd name="connsiteX1" fmla="*/ 8571035 w 8571035"/>
                <a:gd name="connsiteY1" fmla="*/ 0 h 6858000"/>
                <a:gd name="connsiteX2" fmla="*/ 8570901 w 8571035"/>
                <a:gd name="connsiteY2" fmla="*/ 499 h 6858000"/>
                <a:gd name="connsiteX3" fmla="*/ 6753482 w 8571035"/>
                <a:gd name="connsiteY3" fmla="*/ 6739771 h 6858000"/>
                <a:gd name="connsiteX4" fmla="*/ 6721599 w 8571035"/>
                <a:gd name="connsiteY4" fmla="*/ 6858000 h 6858000"/>
                <a:gd name="connsiteX5" fmla="*/ 0 w 8571035"/>
                <a:gd name="connsiteY5" fmla="*/ 6858000 h 6858000"/>
                <a:gd name="connsiteX6" fmla="*/ 0 w 8571035"/>
                <a:gd name="connsiteY6" fmla="*/ 1 h 6858000"/>
                <a:gd name="connsiteX7" fmla="*/ 8402249 w 8571035"/>
                <a:gd name="connsiteY7" fmla="*/ 1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71035" h="6858000">
                  <a:moveTo>
                    <a:pt x="8402249" y="0"/>
                  </a:moveTo>
                  <a:lnTo>
                    <a:pt x="8571035" y="0"/>
                  </a:lnTo>
                  <a:lnTo>
                    <a:pt x="8570901" y="499"/>
                  </a:lnTo>
                  <a:cubicBezTo>
                    <a:pt x="7482439" y="4036686"/>
                    <a:pt x="6982817" y="5889363"/>
                    <a:pt x="6753482" y="6739771"/>
                  </a:cubicBezTo>
                  <a:lnTo>
                    <a:pt x="6721599" y="6858000"/>
                  </a:lnTo>
                  <a:lnTo>
                    <a:pt x="0" y="6858000"/>
                  </a:lnTo>
                  <a:lnTo>
                    <a:pt x="0" y="1"/>
                  </a:lnTo>
                  <a:lnTo>
                    <a:pt x="8402249" y="1"/>
                  </a:lnTo>
                  <a:close/>
                </a:path>
              </a:pathLst>
            </a:custGeom>
            <a:solidFill>
              <a:schemeClr val="accent6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FE8353A6-57F6-4092-A8EA-79119B926078}"/>
                </a:ext>
              </a:extLst>
            </p:cNvPr>
            <p:cNvSpPr/>
            <p:nvPr userDrawn="1"/>
          </p:nvSpPr>
          <p:spPr>
            <a:xfrm>
              <a:off x="0" y="2"/>
              <a:ext cx="7407248" cy="6857999"/>
            </a:xfrm>
            <a:custGeom>
              <a:avLst/>
              <a:gdLst>
                <a:gd name="connsiteX0" fmla="*/ 0 w 7407248"/>
                <a:gd name="connsiteY0" fmla="*/ 0 h 6857999"/>
                <a:gd name="connsiteX1" fmla="*/ 7407248 w 7407248"/>
                <a:gd name="connsiteY1" fmla="*/ 0 h 6857999"/>
                <a:gd name="connsiteX2" fmla="*/ 7407114 w 7407248"/>
                <a:gd name="connsiteY2" fmla="*/ 497 h 6857999"/>
                <a:gd name="connsiteX3" fmla="*/ 5589695 w 7407248"/>
                <a:gd name="connsiteY3" fmla="*/ 6739769 h 6857999"/>
                <a:gd name="connsiteX4" fmla="*/ 5557812 w 7407248"/>
                <a:gd name="connsiteY4" fmla="*/ 6857999 h 6857999"/>
                <a:gd name="connsiteX5" fmla="*/ 0 w 7407248"/>
                <a:gd name="connsiteY5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7248" h="6857999">
                  <a:moveTo>
                    <a:pt x="0" y="0"/>
                  </a:moveTo>
                  <a:lnTo>
                    <a:pt x="7407248" y="0"/>
                  </a:lnTo>
                  <a:lnTo>
                    <a:pt x="7407114" y="497"/>
                  </a:lnTo>
                  <a:cubicBezTo>
                    <a:pt x="6318652" y="4036684"/>
                    <a:pt x="5819030" y="5889361"/>
                    <a:pt x="5589695" y="6739769"/>
                  </a:cubicBezTo>
                  <a:lnTo>
                    <a:pt x="5557812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chemeClr val="accent6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endParaRPr lang="de-DE" sz="1800" err="1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A6F7481B-DADF-48F1-B83C-C5B81A7CEEFB}"/>
                </a:ext>
              </a:extLst>
            </p:cNvPr>
            <p:cNvSpPr/>
            <p:nvPr userDrawn="1"/>
          </p:nvSpPr>
          <p:spPr>
            <a:xfrm>
              <a:off x="0" y="2"/>
              <a:ext cx="6959642" cy="6857999"/>
            </a:xfrm>
            <a:custGeom>
              <a:avLst/>
              <a:gdLst>
                <a:gd name="connsiteX0" fmla="*/ 0 w 6959642"/>
                <a:gd name="connsiteY0" fmla="*/ 0 h 6857999"/>
                <a:gd name="connsiteX1" fmla="*/ 6959642 w 6959642"/>
                <a:gd name="connsiteY1" fmla="*/ 0 h 6857999"/>
                <a:gd name="connsiteX2" fmla="*/ 6959508 w 6959642"/>
                <a:gd name="connsiteY2" fmla="*/ 497 h 6857999"/>
                <a:gd name="connsiteX3" fmla="*/ 5142089 w 6959642"/>
                <a:gd name="connsiteY3" fmla="*/ 6739769 h 6857999"/>
                <a:gd name="connsiteX4" fmla="*/ 5110205 w 6959642"/>
                <a:gd name="connsiteY4" fmla="*/ 6857999 h 6857999"/>
                <a:gd name="connsiteX5" fmla="*/ 0 w 6959642"/>
                <a:gd name="connsiteY5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59642" h="6857999">
                  <a:moveTo>
                    <a:pt x="0" y="0"/>
                  </a:moveTo>
                  <a:lnTo>
                    <a:pt x="6959642" y="0"/>
                  </a:lnTo>
                  <a:lnTo>
                    <a:pt x="6959508" y="497"/>
                  </a:lnTo>
                  <a:cubicBezTo>
                    <a:pt x="5871046" y="4036684"/>
                    <a:pt x="5371424" y="5889361"/>
                    <a:pt x="5142089" y="6739769"/>
                  </a:cubicBezTo>
                  <a:lnTo>
                    <a:pt x="5110205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chemeClr val="accent6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endParaRPr lang="de-DE" sz="1800" err="1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F2AC3C7-AD27-4245-BA48-BAAF741DC2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" y="2"/>
              <a:ext cx="5476145" cy="6857999"/>
            </a:xfrm>
            <a:custGeom>
              <a:avLst/>
              <a:gdLst>
                <a:gd name="connsiteX0" fmla="*/ 0 w 5476145"/>
                <a:gd name="connsiteY0" fmla="*/ 0 h 6857999"/>
                <a:gd name="connsiteX1" fmla="*/ 5476145 w 5476145"/>
                <a:gd name="connsiteY1" fmla="*/ 0 h 6857999"/>
                <a:gd name="connsiteX2" fmla="*/ 5476010 w 5476145"/>
                <a:gd name="connsiteY2" fmla="*/ 498 h 6857999"/>
                <a:gd name="connsiteX3" fmla="*/ 3658591 w 5476145"/>
                <a:gd name="connsiteY3" fmla="*/ 6739770 h 6857999"/>
                <a:gd name="connsiteX4" fmla="*/ 3626708 w 5476145"/>
                <a:gd name="connsiteY4" fmla="*/ 6857999 h 6857999"/>
                <a:gd name="connsiteX5" fmla="*/ 0 w 5476145"/>
                <a:gd name="connsiteY5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76145" h="6857999">
                  <a:moveTo>
                    <a:pt x="0" y="0"/>
                  </a:moveTo>
                  <a:lnTo>
                    <a:pt x="5476145" y="0"/>
                  </a:lnTo>
                  <a:lnTo>
                    <a:pt x="5476010" y="498"/>
                  </a:lnTo>
                  <a:cubicBezTo>
                    <a:pt x="4387548" y="4036685"/>
                    <a:pt x="3887926" y="5889362"/>
                    <a:pt x="3658591" y="6739770"/>
                  </a:cubicBezTo>
                  <a:lnTo>
                    <a:pt x="3626708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F049A09-40A9-4E72-8DEB-9802187D61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39">
            <a:extLst>
              <a:ext uri="{FF2B5EF4-FFF2-40B4-BE49-F238E27FC236}">
                <a16:creationId xmlns:a16="http://schemas.microsoft.com/office/drawing/2014/main" id="{53007BAB-5607-49A4-9A44-F90F38F0F9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9140" y="1511300"/>
            <a:ext cx="5477588" cy="1619988"/>
          </a:xfrm>
        </p:spPr>
        <p:txBody>
          <a:bodyPr/>
          <a:lstStyle>
            <a:lvl1pPr marL="0" indent="0">
              <a:buNone/>
              <a:defRPr sz="5400" spc="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12" name="Textplatzhalter 41">
            <a:extLst>
              <a:ext uri="{FF2B5EF4-FFF2-40B4-BE49-F238E27FC236}">
                <a16:creationId xmlns:a16="http://schemas.microsoft.com/office/drawing/2014/main" id="{9FB078FC-DD70-4737-93B1-538674F3C2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7" y="1511300"/>
            <a:ext cx="1260638" cy="1619988"/>
          </a:xfrm>
        </p:spPr>
        <p:txBody>
          <a:bodyPr/>
          <a:lstStyle>
            <a:lvl1pPr marL="0" indent="0" algn="r">
              <a:buNone/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9482379-DE99-4C4B-83E6-8284561BB216}"/>
              </a:ext>
            </a:extLst>
          </p:cNvPr>
          <p:cNvSpPr/>
          <p:nvPr userDrawn="1"/>
        </p:nvSpPr>
        <p:spPr>
          <a:xfrm>
            <a:off x="1992951" y="1542554"/>
            <a:ext cx="76873" cy="7023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</p:spTree>
    <p:extLst>
      <p:ext uri="{BB962C8B-B14F-4D97-AF65-F5344CB8AC3E}">
        <p14:creationId xmlns:p14="http://schemas.microsoft.com/office/powerpoint/2010/main" val="23024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>
            <a:extLst>
              <a:ext uri="{FF2B5EF4-FFF2-40B4-BE49-F238E27FC236}">
                <a16:creationId xmlns:a16="http://schemas.microsoft.com/office/drawing/2014/main" id="{5669E158-C425-4AF7-BE8E-3F9FF14B266D}"/>
              </a:ext>
            </a:extLst>
          </p:cNvPr>
          <p:cNvSpPr/>
          <p:nvPr userDrawn="1"/>
        </p:nvSpPr>
        <p:spPr>
          <a:xfrm>
            <a:off x="9501058" y="540689"/>
            <a:ext cx="569469" cy="3339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4845669-458F-4644-92BF-3B99F95DD9CF}"/>
              </a:ext>
            </a:extLst>
          </p:cNvPr>
          <p:cNvSpPr/>
          <p:nvPr userDrawn="1"/>
        </p:nvSpPr>
        <p:spPr>
          <a:xfrm>
            <a:off x="10123188" y="803083"/>
            <a:ext cx="1548857" cy="163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54549EA-6764-436B-A395-BA6A89584427}"/>
              </a:ext>
            </a:extLst>
          </p:cNvPr>
          <p:cNvSpPr/>
          <p:nvPr userDrawn="1"/>
        </p:nvSpPr>
        <p:spPr>
          <a:xfrm>
            <a:off x="10119212" y="453268"/>
            <a:ext cx="1564763" cy="3339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2D0D2C3F-29A5-4632-B09D-D4A3116F3B41}"/>
              </a:ext>
            </a:extLst>
          </p:cNvPr>
          <p:cNvSpPr/>
          <p:nvPr userDrawn="1"/>
        </p:nvSpPr>
        <p:spPr>
          <a:xfrm>
            <a:off x="10924527" y="6305384"/>
            <a:ext cx="763424" cy="5526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F439CFE6-80A8-412B-9C74-792E02D127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121474" y="-1"/>
            <a:ext cx="10070528" cy="6858001"/>
          </a:xfrm>
          <a:custGeom>
            <a:avLst/>
            <a:gdLst>
              <a:gd name="connsiteX0" fmla="*/ 9416448 w 10069217"/>
              <a:gd name="connsiteY0" fmla="*/ 862794 h 6858001"/>
              <a:gd name="connsiteX1" fmla="*/ 9427256 w 10069217"/>
              <a:gd name="connsiteY1" fmla="*/ 866300 h 6858001"/>
              <a:gd name="connsiteX2" fmla="*/ 9433088 w 10069217"/>
              <a:gd name="connsiteY2" fmla="*/ 875621 h 6858001"/>
              <a:gd name="connsiteX3" fmla="*/ 9433944 w 10069217"/>
              <a:gd name="connsiteY3" fmla="*/ 882921 h 6858001"/>
              <a:gd name="connsiteX4" fmla="*/ 9433373 w 10069217"/>
              <a:gd name="connsiteY4" fmla="*/ 883498 h 6858001"/>
              <a:gd name="connsiteX5" fmla="*/ 9399646 w 10069217"/>
              <a:gd name="connsiteY5" fmla="*/ 883498 h 6858001"/>
              <a:gd name="connsiteX6" fmla="*/ 9399075 w 10069217"/>
              <a:gd name="connsiteY6" fmla="*/ 882921 h 6858001"/>
              <a:gd name="connsiteX7" fmla="*/ 9400380 w 10069217"/>
              <a:gd name="connsiteY7" fmla="*/ 874548 h 6858001"/>
              <a:gd name="connsiteX8" fmla="*/ 9405968 w 10069217"/>
              <a:gd name="connsiteY8" fmla="*/ 866011 h 6858001"/>
              <a:gd name="connsiteX9" fmla="*/ 9416448 w 10069217"/>
              <a:gd name="connsiteY9" fmla="*/ 862794 h 6858001"/>
              <a:gd name="connsiteX10" fmla="*/ 9297378 w 10069217"/>
              <a:gd name="connsiteY10" fmla="*/ 862794 h 6858001"/>
              <a:gd name="connsiteX11" fmla="*/ 9307696 w 10069217"/>
              <a:gd name="connsiteY11" fmla="*/ 866281 h 6858001"/>
              <a:gd name="connsiteX12" fmla="*/ 9313018 w 10069217"/>
              <a:gd name="connsiteY12" fmla="*/ 875262 h 6858001"/>
              <a:gd name="connsiteX13" fmla="*/ 9313837 w 10069217"/>
              <a:gd name="connsiteY13" fmla="*/ 880183 h 6858001"/>
              <a:gd name="connsiteX14" fmla="*/ 9314083 w 10069217"/>
              <a:gd name="connsiteY14" fmla="*/ 889000 h 6858001"/>
              <a:gd name="connsiteX15" fmla="*/ 9313837 w 10069217"/>
              <a:gd name="connsiteY15" fmla="*/ 897900 h 6858001"/>
              <a:gd name="connsiteX16" fmla="*/ 9313182 w 10069217"/>
              <a:gd name="connsiteY16" fmla="*/ 902944 h 6858001"/>
              <a:gd name="connsiteX17" fmla="*/ 9307941 w 10069217"/>
              <a:gd name="connsiteY17" fmla="*/ 911884 h 6858001"/>
              <a:gd name="connsiteX18" fmla="*/ 9297378 w 10069217"/>
              <a:gd name="connsiteY18" fmla="*/ 915370 h 6858001"/>
              <a:gd name="connsiteX19" fmla="*/ 9286815 w 10069217"/>
              <a:gd name="connsiteY19" fmla="*/ 911884 h 6858001"/>
              <a:gd name="connsiteX20" fmla="*/ 9280960 w 10069217"/>
              <a:gd name="connsiteY20" fmla="*/ 902944 h 6858001"/>
              <a:gd name="connsiteX21" fmla="*/ 9279486 w 10069217"/>
              <a:gd name="connsiteY21" fmla="*/ 889000 h 6858001"/>
              <a:gd name="connsiteX22" fmla="*/ 9281124 w 10069217"/>
              <a:gd name="connsiteY22" fmla="*/ 875262 h 6858001"/>
              <a:gd name="connsiteX23" fmla="*/ 9287020 w 10069217"/>
              <a:gd name="connsiteY23" fmla="*/ 866281 h 6858001"/>
              <a:gd name="connsiteX24" fmla="*/ 9297378 w 10069217"/>
              <a:gd name="connsiteY24" fmla="*/ 862794 h 6858001"/>
              <a:gd name="connsiteX25" fmla="*/ 9164426 w 10069217"/>
              <a:gd name="connsiteY25" fmla="*/ 862794 h 6858001"/>
              <a:gd name="connsiteX26" fmla="*/ 9175274 w 10069217"/>
              <a:gd name="connsiteY26" fmla="*/ 866300 h 6858001"/>
              <a:gd name="connsiteX27" fmla="*/ 9181065 w 10069217"/>
              <a:gd name="connsiteY27" fmla="*/ 875621 h 6858001"/>
              <a:gd name="connsiteX28" fmla="*/ 9181963 w 10069217"/>
              <a:gd name="connsiteY28" fmla="*/ 882921 h 6858001"/>
              <a:gd name="connsiteX29" fmla="*/ 9181392 w 10069217"/>
              <a:gd name="connsiteY29" fmla="*/ 883498 h 6858001"/>
              <a:gd name="connsiteX30" fmla="*/ 9147665 w 10069217"/>
              <a:gd name="connsiteY30" fmla="*/ 883498 h 6858001"/>
              <a:gd name="connsiteX31" fmla="*/ 9147094 w 10069217"/>
              <a:gd name="connsiteY31" fmla="*/ 882921 h 6858001"/>
              <a:gd name="connsiteX32" fmla="*/ 9148399 w 10069217"/>
              <a:gd name="connsiteY32" fmla="*/ 874548 h 6858001"/>
              <a:gd name="connsiteX33" fmla="*/ 9153986 w 10069217"/>
              <a:gd name="connsiteY33" fmla="*/ 866011 h 6858001"/>
              <a:gd name="connsiteX34" fmla="*/ 9164426 w 10069217"/>
              <a:gd name="connsiteY34" fmla="*/ 862794 h 6858001"/>
              <a:gd name="connsiteX35" fmla="*/ 8755828 w 10069217"/>
              <a:gd name="connsiteY35" fmla="*/ 862794 h 6858001"/>
              <a:gd name="connsiteX36" fmla="*/ 8766623 w 10069217"/>
              <a:gd name="connsiteY36" fmla="*/ 866300 h 6858001"/>
              <a:gd name="connsiteX37" fmla="*/ 8772448 w 10069217"/>
              <a:gd name="connsiteY37" fmla="*/ 875621 h 6858001"/>
              <a:gd name="connsiteX38" fmla="*/ 8773344 w 10069217"/>
              <a:gd name="connsiteY38" fmla="*/ 882921 h 6858001"/>
              <a:gd name="connsiteX39" fmla="*/ 8772733 w 10069217"/>
              <a:gd name="connsiteY39" fmla="*/ 883498 h 6858001"/>
              <a:gd name="connsiteX40" fmla="*/ 8739086 w 10069217"/>
              <a:gd name="connsiteY40" fmla="*/ 883498 h 6858001"/>
              <a:gd name="connsiteX41" fmla="*/ 8738475 w 10069217"/>
              <a:gd name="connsiteY41" fmla="*/ 882921 h 6858001"/>
              <a:gd name="connsiteX42" fmla="*/ 8739820 w 10069217"/>
              <a:gd name="connsiteY42" fmla="*/ 874548 h 6858001"/>
              <a:gd name="connsiteX43" fmla="*/ 8745400 w 10069217"/>
              <a:gd name="connsiteY43" fmla="*/ 866011 h 6858001"/>
              <a:gd name="connsiteX44" fmla="*/ 8755828 w 10069217"/>
              <a:gd name="connsiteY44" fmla="*/ 862794 h 6858001"/>
              <a:gd name="connsiteX45" fmla="*/ 8473765 w 10069217"/>
              <a:gd name="connsiteY45" fmla="*/ 862794 h 6858001"/>
              <a:gd name="connsiteX46" fmla="*/ 8484657 w 10069217"/>
              <a:gd name="connsiteY46" fmla="*/ 866300 h 6858001"/>
              <a:gd name="connsiteX47" fmla="*/ 8490534 w 10069217"/>
              <a:gd name="connsiteY47" fmla="*/ 875621 h 6858001"/>
              <a:gd name="connsiteX48" fmla="*/ 8491397 w 10069217"/>
              <a:gd name="connsiteY48" fmla="*/ 882921 h 6858001"/>
              <a:gd name="connsiteX49" fmla="*/ 8490822 w 10069217"/>
              <a:gd name="connsiteY49" fmla="*/ 883498 h 6858001"/>
              <a:gd name="connsiteX50" fmla="*/ 8456832 w 10069217"/>
              <a:gd name="connsiteY50" fmla="*/ 883498 h 6858001"/>
              <a:gd name="connsiteX51" fmla="*/ 8456256 w 10069217"/>
              <a:gd name="connsiteY51" fmla="*/ 882921 h 6858001"/>
              <a:gd name="connsiteX52" fmla="*/ 8457571 w 10069217"/>
              <a:gd name="connsiteY52" fmla="*/ 874548 h 6858001"/>
              <a:gd name="connsiteX53" fmla="*/ 8463243 w 10069217"/>
              <a:gd name="connsiteY53" fmla="*/ 866011 h 6858001"/>
              <a:gd name="connsiteX54" fmla="*/ 8473765 w 10069217"/>
              <a:gd name="connsiteY54" fmla="*/ 862794 h 6858001"/>
              <a:gd name="connsiteX55" fmla="*/ 8258948 w 10069217"/>
              <a:gd name="connsiteY55" fmla="*/ 862794 h 6858001"/>
              <a:gd name="connsiteX56" fmla="*/ 8269743 w 10069217"/>
              <a:gd name="connsiteY56" fmla="*/ 866300 h 6858001"/>
              <a:gd name="connsiteX57" fmla="*/ 8275567 w 10069217"/>
              <a:gd name="connsiteY57" fmla="*/ 875621 h 6858001"/>
              <a:gd name="connsiteX58" fmla="*/ 8276464 w 10069217"/>
              <a:gd name="connsiteY58" fmla="*/ 882921 h 6858001"/>
              <a:gd name="connsiteX59" fmla="*/ 8275853 w 10069217"/>
              <a:gd name="connsiteY59" fmla="*/ 883498 h 6858001"/>
              <a:gd name="connsiteX60" fmla="*/ 8242165 w 10069217"/>
              <a:gd name="connsiteY60" fmla="*/ 883498 h 6858001"/>
              <a:gd name="connsiteX61" fmla="*/ 8241595 w 10069217"/>
              <a:gd name="connsiteY61" fmla="*/ 882921 h 6858001"/>
              <a:gd name="connsiteX62" fmla="*/ 8242898 w 10069217"/>
              <a:gd name="connsiteY62" fmla="*/ 874548 h 6858001"/>
              <a:gd name="connsiteX63" fmla="*/ 8248520 w 10069217"/>
              <a:gd name="connsiteY63" fmla="*/ 866011 h 6858001"/>
              <a:gd name="connsiteX64" fmla="*/ 8258948 w 10069217"/>
              <a:gd name="connsiteY64" fmla="*/ 862794 h 6858001"/>
              <a:gd name="connsiteX65" fmla="*/ 9351238 w 10069217"/>
              <a:gd name="connsiteY65" fmla="*/ 851898 h 6858001"/>
              <a:gd name="connsiteX66" fmla="*/ 9349769 w 10069217"/>
              <a:gd name="connsiteY66" fmla="*/ 853369 h 6858001"/>
              <a:gd name="connsiteX67" fmla="*/ 9349769 w 10069217"/>
              <a:gd name="connsiteY67" fmla="*/ 925340 h 6858001"/>
              <a:gd name="connsiteX68" fmla="*/ 9351238 w 10069217"/>
              <a:gd name="connsiteY68" fmla="*/ 926812 h 6858001"/>
              <a:gd name="connsiteX69" fmla="*/ 9362424 w 10069217"/>
              <a:gd name="connsiteY69" fmla="*/ 926812 h 6858001"/>
              <a:gd name="connsiteX70" fmla="*/ 9363934 w 10069217"/>
              <a:gd name="connsiteY70" fmla="*/ 925340 h 6858001"/>
              <a:gd name="connsiteX71" fmla="*/ 9363934 w 10069217"/>
              <a:gd name="connsiteY71" fmla="*/ 853369 h 6858001"/>
              <a:gd name="connsiteX72" fmla="*/ 9362424 w 10069217"/>
              <a:gd name="connsiteY72" fmla="*/ 851898 h 6858001"/>
              <a:gd name="connsiteX73" fmla="*/ 9351238 w 10069217"/>
              <a:gd name="connsiteY73" fmla="*/ 851898 h 6858001"/>
              <a:gd name="connsiteX74" fmla="*/ 8978729 w 10069217"/>
              <a:gd name="connsiteY74" fmla="*/ 851898 h 6858001"/>
              <a:gd name="connsiteX75" fmla="*/ 8977381 w 10069217"/>
              <a:gd name="connsiteY75" fmla="*/ 852919 h 6858001"/>
              <a:gd name="connsiteX76" fmla="*/ 8977544 w 10069217"/>
              <a:gd name="connsiteY76" fmla="*/ 853491 h 6858001"/>
              <a:gd name="connsiteX77" fmla="*/ 9002138 w 10069217"/>
              <a:gd name="connsiteY77" fmla="*/ 926463 h 6858001"/>
              <a:gd name="connsiteX78" fmla="*/ 9002138 w 10069217"/>
              <a:gd name="connsiteY78" fmla="*/ 927362 h 6858001"/>
              <a:gd name="connsiteX79" fmla="*/ 8997889 w 10069217"/>
              <a:gd name="connsiteY79" fmla="*/ 938183 h 6858001"/>
              <a:gd name="connsiteX80" fmla="*/ 8992292 w 10069217"/>
              <a:gd name="connsiteY80" fmla="*/ 943124 h 6858001"/>
              <a:gd name="connsiteX81" fmla="*/ 8982978 w 10069217"/>
              <a:gd name="connsiteY81" fmla="*/ 944594 h 6858001"/>
              <a:gd name="connsiteX82" fmla="*/ 8982692 w 10069217"/>
              <a:gd name="connsiteY82" fmla="*/ 944594 h 6858001"/>
              <a:gd name="connsiteX83" fmla="*/ 8981221 w 10069217"/>
              <a:gd name="connsiteY83" fmla="*/ 946064 h 6858001"/>
              <a:gd name="connsiteX84" fmla="*/ 8981221 w 10069217"/>
              <a:gd name="connsiteY84" fmla="*/ 954762 h 6858001"/>
              <a:gd name="connsiteX85" fmla="*/ 8981221 w 10069217"/>
              <a:gd name="connsiteY85" fmla="*/ 956232 h 6858001"/>
              <a:gd name="connsiteX86" fmla="*/ 8982242 w 10069217"/>
              <a:gd name="connsiteY86" fmla="*/ 956232 h 6858001"/>
              <a:gd name="connsiteX87" fmla="*/ 8983264 w 10069217"/>
              <a:gd name="connsiteY87" fmla="*/ 956232 h 6858001"/>
              <a:gd name="connsiteX88" fmla="*/ 8998624 w 10069217"/>
              <a:gd name="connsiteY88" fmla="*/ 954191 h 6858001"/>
              <a:gd name="connsiteX89" fmla="*/ 9007449 w 10069217"/>
              <a:gd name="connsiteY89" fmla="*/ 947167 h 6858001"/>
              <a:gd name="connsiteX90" fmla="*/ 9014230 w 10069217"/>
              <a:gd name="connsiteY90" fmla="*/ 932058 h 6858001"/>
              <a:gd name="connsiteX91" fmla="*/ 9041112 w 10069217"/>
              <a:gd name="connsiteY91" fmla="*/ 853491 h 6858001"/>
              <a:gd name="connsiteX92" fmla="*/ 9039927 w 10069217"/>
              <a:gd name="connsiteY92" fmla="*/ 851898 h 6858001"/>
              <a:gd name="connsiteX93" fmla="*/ 9028243 w 10069217"/>
              <a:gd name="connsiteY93" fmla="*/ 851898 h 6858001"/>
              <a:gd name="connsiteX94" fmla="*/ 9026486 w 10069217"/>
              <a:gd name="connsiteY94" fmla="*/ 853041 h 6858001"/>
              <a:gd name="connsiteX95" fmla="*/ 9009982 w 10069217"/>
              <a:gd name="connsiteY95" fmla="*/ 908618 h 6858001"/>
              <a:gd name="connsiteX96" fmla="*/ 9009532 w 10069217"/>
              <a:gd name="connsiteY96" fmla="*/ 908945 h 6858001"/>
              <a:gd name="connsiteX97" fmla="*/ 9009083 w 10069217"/>
              <a:gd name="connsiteY97" fmla="*/ 908618 h 6858001"/>
              <a:gd name="connsiteX98" fmla="*/ 8992415 w 10069217"/>
              <a:gd name="connsiteY98" fmla="*/ 853041 h 6858001"/>
              <a:gd name="connsiteX99" fmla="*/ 8990658 w 10069217"/>
              <a:gd name="connsiteY99" fmla="*/ 851898 h 6858001"/>
              <a:gd name="connsiteX100" fmla="*/ 8978729 w 10069217"/>
              <a:gd name="connsiteY100" fmla="*/ 851898 h 6858001"/>
              <a:gd name="connsiteX101" fmla="*/ 8015913 w 10069217"/>
              <a:gd name="connsiteY101" fmla="*/ 851898 h 6858001"/>
              <a:gd name="connsiteX102" fmla="*/ 8014403 w 10069217"/>
              <a:gd name="connsiteY102" fmla="*/ 853368 h 6858001"/>
              <a:gd name="connsiteX103" fmla="*/ 8014403 w 10069217"/>
              <a:gd name="connsiteY103" fmla="*/ 903615 h 6858001"/>
              <a:gd name="connsiteX104" fmla="*/ 8018117 w 10069217"/>
              <a:gd name="connsiteY104" fmla="*/ 916840 h 6858001"/>
              <a:gd name="connsiteX105" fmla="*/ 8027910 w 10069217"/>
              <a:gd name="connsiteY105" fmla="*/ 925126 h 6858001"/>
              <a:gd name="connsiteX106" fmla="*/ 8041213 w 10069217"/>
              <a:gd name="connsiteY106" fmla="*/ 927901 h 6858001"/>
              <a:gd name="connsiteX107" fmla="*/ 8059330 w 10069217"/>
              <a:gd name="connsiteY107" fmla="*/ 919819 h 6858001"/>
              <a:gd name="connsiteX108" fmla="*/ 8059861 w 10069217"/>
              <a:gd name="connsiteY108" fmla="*/ 919574 h 6858001"/>
              <a:gd name="connsiteX109" fmla="*/ 8060065 w 10069217"/>
              <a:gd name="connsiteY109" fmla="*/ 919942 h 6858001"/>
              <a:gd name="connsiteX110" fmla="*/ 8060065 w 10069217"/>
              <a:gd name="connsiteY110" fmla="*/ 925411 h 6858001"/>
              <a:gd name="connsiteX111" fmla="*/ 8061575 w 10069217"/>
              <a:gd name="connsiteY111" fmla="*/ 926881 h 6858001"/>
              <a:gd name="connsiteX112" fmla="*/ 8072593 w 10069217"/>
              <a:gd name="connsiteY112" fmla="*/ 926881 h 6858001"/>
              <a:gd name="connsiteX113" fmla="*/ 8074061 w 10069217"/>
              <a:gd name="connsiteY113" fmla="*/ 925411 h 6858001"/>
              <a:gd name="connsiteX114" fmla="*/ 8074061 w 10069217"/>
              <a:gd name="connsiteY114" fmla="*/ 853368 h 6858001"/>
              <a:gd name="connsiteX115" fmla="*/ 8072593 w 10069217"/>
              <a:gd name="connsiteY115" fmla="*/ 851898 h 6858001"/>
              <a:gd name="connsiteX116" fmla="*/ 8061575 w 10069217"/>
              <a:gd name="connsiteY116" fmla="*/ 851898 h 6858001"/>
              <a:gd name="connsiteX117" fmla="*/ 8060065 w 10069217"/>
              <a:gd name="connsiteY117" fmla="*/ 853368 h 6858001"/>
              <a:gd name="connsiteX118" fmla="*/ 8060065 w 10069217"/>
              <a:gd name="connsiteY118" fmla="*/ 899165 h 6858001"/>
              <a:gd name="connsiteX119" fmla="*/ 8055658 w 10069217"/>
              <a:gd name="connsiteY119" fmla="*/ 911166 h 6858001"/>
              <a:gd name="connsiteX120" fmla="*/ 8043865 w 10069217"/>
              <a:gd name="connsiteY120" fmla="*/ 915697 h 6858001"/>
              <a:gd name="connsiteX121" fmla="*/ 8032480 w 10069217"/>
              <a:gd name="connsiteY121" fmla="*/ 911247 h 6858001"/>
              <a:gd name="connsiteX122" fmla="*/ 8028399 w 10069217"/>
              <a:gd name="connsiteY122" fmla="*/ 899165 h 6858001"/>
              <a:gd name="connsiteX123" fmla="*/ 8028399 w 10069217"/>
              <a:gd name="connsiteY123" fmla="*/ 853368 h 6858001"/>
              <a:gd name="connsiteX124" fmla="*/ 8026931 w 10069217"/>
              <a:gd name="connsiteY124" fmla="*/ 851898 h 6858001"/>
              <a:gd name="connsiteX125" fmla="*/ 8015913 w 10069217"/>
              <a:gd name="connsiteY125" fmla="*/ 851898 h 6858001"/>
              <a:gd name="connsiteX126" fmla="*/ 9247430 w 10069217"/>
              <a:gd name="connsiteY126" fmla="*/ 851081 h 6858001"/>
              <a:gd name="connsiteX127" fmla="*/ 9229351 w 10069217"/>
              <a:gd name="connsiteY127" fmla="*/ 861404 h 6858001"/>
              <a:gd name="connsiteX128" fmla="*/ 9228985 w 10069217"/>
              <a:gd name="connsiteY128" fmla="*/ 861649 h 6858001"/>
              <a:gd name="connsiteX129" fmla="*/ 9228740 w 10069217"/>
              <a:gd name="connsiteY129" fmla="*/ 861118 h 6858001"/>
              <a:gd name="connsiteX130" fmla="*/ 9228740 w 10069217"/>
              <a:gd name="connsiteY130" fmla="*/ 853325 h 6858001"/>
              <a:gd name="connsiteX131" fmla="*/ 9227274 w 10069217"/>
              <a:gd name="connsiteY131" fmla="*/ 851856 h 6858001"/>
              <a:gd name="connsiteX132" fmla="*/ 9216118 w 10069217"/>
              <a:gd name="connsiteY132" fmla="*/ 851856 h 6858001"/>
              <a:gd name="connsiteX133" fmla="*/ 9214652 w 10069217"/>
              <a:gd name="connsiteY133" fmla="*/ 853325 h 6858001"/>
              <a:gd name="connsiteX134" fmla="*/ 9214652 w 10069217"/>
              <a:gd name="connsiteY134" fmla="*/ 925343 h 6858001"/>
              <a:gd name="connsiteX135" fmla="*/ 9216118 w 10069217"/>
              <a:gd name="connsiteY135" fmla="*/ 926811 h 6858001"/>
              <a:gd name="connsiteX136" fmla="*/ 9227274 w 10069217"/>
              <a:gd name="connsiteY136" fmla="*/ 926811 h 6858001"/>
              <a:gd name="connsiteX137" fmla="*/ 9228740 w 10069217"/>
              <a:gd name="connsiteY137" fmla="*/ 925343 h 6858001"/>
              <a:gd name="connsiteX138" fmla="*/ 9228740 w 10069217"/>
              <a:gd name="connsiteY138" fmla="*/ 882336 h 6858001"/>
              <a:gd name="connsiteX139" fmla="*/ 9233219 w 10069217"/>
              <a:gd name="connsiteY139" fmla="*/ 870625 h 6858001"/>
              <a:gd name="connsiteX140" fmla="*/ 9244620 w 10069217"/>
              <a:gd name="connsiteY140" fmla="*/ 865852 h 6858001"/>
              <a:gd name="connsiteX141" fmla="*/ 9246697 w 10069217"/>
              <a:gd name="connsiteY141" fmla="*/ 865688 h 6858001"/>
              <a:gd name="connsiteX142" fmla="*/ 9252560 w 10069217"/>
              <a:gd name="connsiteY142" fmla="*/ 866708 h 6858001"/>
              <a:gd name="connsiteX143" fmla="*/ 9254311 w 10069217"/>
              <a:gd name="connsiteY143" fmla="*/ 865852 h 6858001"/>
              <a:gd name="connsiteX144" fmla="*/ 9256672 w 10069217"/>
              <a:gd name="connsiteY144" fmla="*/ 854794 h 6858001"/>
              <a:gd name="connsiteX145" fmla="*/ 9255940 w 10069217"/>
              <a:gd name="connsiteY145" fmla="*/ 852998 h 6858001"/>
              <a:gd name="connsiteX146" fmla="*/ 9247430 w 10069217"/>
              <a:gd name="connsiteY146" fmla="*/ 851081 h 6858001"/>
              <a:gd name="connsiteX147" fmla="*/ 8942260 w 10069217"/>
              <a:gd name="connsiteY147" fmla="*/ 851081 h 6858001"/>
              <a:gd name="connsiteX148" fmla="*/ 8921702 w 10069217"/>
              <a:gd name="connsiteY148" fmla="*/ 856930 h 6858001"/>
              <a:gd name="connsiteX149" fmla="*/ 8913936 w 10069217"/>
              <a:gd name="connsiteY149" fmla="*/ 872679 h 6858001"/>
              <a:gd name="connsiteX150" fmla="*/ 8917860 w 10069217"/>
              <a:gd name="connsiteY150" fmla="*/ 884255 h 6858001"/>
              <a:gd name="connsiteX151" fmla="*/ 8927424 w 10069217"/>
              <a:gd name="connsiteY151" fmla="*/ 891209 h 6858001"/>
              <a:gd name="connsiteX152" fmla="*/ 8941524 w 10069217"/>
              <a:gd name="connsiteY152" fmla="*/ 895995 h 6858001"/>
              <a:gd name="connsiteX153" fmla="*/ 8953949 w 10069217"/>
              <a:gd name="connsiteY153" fmla="*/ 900495 h 6858001"/>
              <a:gd name="connsiteX154" fmla="*/ 8957750 w 10069217"/>
              <a:gd name="connsiteY154" fmla="*/ 906917 h 6858001"/>
              <a:gd name="connsiteX155" fmla="*/ 8953622 w 10069217"/>
              <a:gd name="connsiteY155" fmla="*/ 914239 h 6858001"/>
              <a:gd name="connsiteX156" fmla="*/ 8942873 w 10069217"/>
              <a:gd name="connsiteY156" fmla="*/ 917102 h 6858001"/>
              <a:gd name="connsiteX157" fmla="*/ 8931429 w 10069217"/>
              <a:gd name="connsiteY157" fmla="*/ 913993 h 6858001"/>
              <a:gd name="connsiteX158" fmla="*/ 8926933 w 10069217"/>
              <a:gd name="connsiteY158" fmla="*/ 906753 h 6858001"/>
              <a:gd name="connsiteX159" fmla="*/ 8926933 w 10069217"/>
              <a:gd name="connsiteY159" fmla="*/ 906017 h 6858001"/>
              <a:gd name="connsiteX160" fmla="*/ 8925462 w 10069217"/>
              <a:gd name="connsiteY160" fmla="*/ 904544 h 6858001"/>
              <a:gd name="connsiteX161" fmla="*/ 8914835 w 10069217"/>
              <a:gd name="connsiteY161" fmla="*/ 904544 h 6858001"/>
              <a:gd name="connsiteX162" fmla="*/ 8913364 w 10069217"/>
              <a:gd name="connsiteY162" fmla="*/ 906017 h 6858001"/>
              <a:gd name="connsiteX163" fmla="*/ 8913364 w 10069217"/>
              <a:gd name="connsiteY163" fmla="*/ 907653 h 6858001"/>
              <a:gd name="connsiteX164" fmla="*/ 8917042 w 10069217"/>
              <a:gd name="connsiteY164" fmla="*/ 917920 h 6858001"/>
              <a:gd name="connsiteX165" fmla="*/ 8927424 w 10069217"/>
              <a:gd name="connsiteY165" fmla="*/ 925242 h 6858001"/>
              <a:gd name="connsiteX166" fmla="*/ 8942996 w 10069217"/>
              <a:gd name="connsiteY166" fmla="*/ 927901 h 6858001"/>
              <a:gd name="connsiteX167" fmla="*/ 8964044 w 10069217"/>
              <a:gd name="connsiteY167" fmla="*/ 921970 h 6858001"/>
              <a:gd name="connsiteX168" fmla="*/ 8971933 w 10069217"/>
              <a:gd name="connsiteY168" fmla="*/ 906017 h 6858001"/>
              <a:gd name="connsiteX169" fmla="*/ 8967927 w 10069217"/>
              <a:gd name="connsiteY169" fmla="*/ 894277 h 6858001"/>
              <a:gd name="connsiteX170" fmla="*/ 8958282 w 10069217"/>
              <a:gd name="connsiteY170" fmla="*/ 887487 h 6858001"/>
              <a:gd name="connsiteX171" fmla="*/ 8944058 w 10069217"/>
              <a:gd name="connsiteY171" fmla="*/ 882864 h 6858001"/>
              <a:gd name="connsiteX172" fmla="*/ 8931429 w 10069217"/>
              <a:gd name="connsiteY172" fmla="*/ 878119 h 6858001"/>
              <a:gd name="connsiteX173" fmla="*/ 8927505 w 10069217"/>
              <a:gd name="connsiteY173" fmla="*/ 871615 h 6858001"/>
              <a:gd name="connsiteX174" fmla="*/ 8931552 w 10069217"/>
              <a:gd name="connsiteY174" fmla="*/ 864825 h 6858001"/>
              <a:gd name="connsiteX175" fmla="*/ 8942137 w 10069217"/>
              <a:gd name="connsiteY175" fmla="*/ 862330 h 6858001"/>
              <a:gd name="connsiteX176" fmla="*/ 8953541 w 10069217"/>
              <a:gd name="connsiteY176" fmla="*/ 865193 h 6858001"/>
              <a:gd name="connsiteX177" fmla="*/ 8957750 w 10069217"/>
              <a:gd name="connsiteY177" fmla="*/ 872352 h 6858001"/>
              <a:gd name="connsiteX178" fmla="*/ 8957750 w 10069217"/>
              <a:gd name="connsiteY178" fmla="*/ 872801 h 6858001"/>
              <a:gd name="connsiteX179" fmla="*/ 8959222 w 10069217"/>
              <a:gd name="connsiteY179" fmla="*/ 874274 h 6858001"/>
              <a:gd name="connsiteX180" fmla="*/ 8969562 w 10069217"/>
              <a:gd name="connsiteY180" fmla="*/ 874274 h 6858001"/>
              <a:gd name="connsiteX181" fmla="*/ 8971034 w 10069217"/>
              <a:gd name="connsiteY181" fmla="*/ 872801 h 6858001"/>
              <a:gd name="connsiteX182" fmla="*/ 8971034 w 10069217"/>
              <a:gd name="connsiteY182" fmla="*/ 872352 h 6858001"/>
              <a:gd name="connsiteX183" fmla="*/ 8967518 w 10069217"/>
              <a:gd name="connsiteY183" fmla="*/ 861430 h 6858001"/>
              <a:gd name="connsiteX184" fmla="*/ 8957382 w 10069217"/>
              <a:gd name="connsiteY184" fmla="*/ 853821 h 6858001"/>
              <a:gd name="connsiteX185" fmla="*/ 8942260 w 10069217"/>
              <a:gd name="connsiteY185" fmla="*/ 851081 h 6858001"/>
              <a:gd name="connsiteX186" fmla="*/ 8341870 w 10069217"/>
              <a:gd name="connsiteY186" fmla="*/ 851081 h 6858001"/>
              <a:gd name="connsiteX187" fmla="*/ 8323674 w 10069217"/>
              <a:gd name="connsiteY187" fmla="*/ 861404 h 6858001"/>
              <a:gd name="connsiteX188" fmla="*/ 8323306 w 10069217"/>
              <a:gd name="connsiteY188" fmla="*/ 861649 h 6858001"/>
              <a:gd name="connsiteX189" fmla="*/ 8323101 w 10069217"/>
              <a:gd name="connsiteY189" fmla="*/ 861118 h 6858001"/>
              <a:gd name="connsiteX190" fmla="*/ 8323101 w 10069217"/>
              <a:gd name="connsiteY190" fmla="*/ 853325 h 6858001"/>
              <a:gd name="connsiteX191" fmla="*/ 8321626 w 10069217"/>
              <a:gd name="connsiteY191" fmla="*/ 851856 h 6858001"/>
              <a:gd name="connsiteX192" fmla="*/ 8310356 w 10069217"/>
              <a:gd name="connsiteY192" fmla="*/ 851856 h 6858001"/>
              <a:gd name="connsiteX193" fmla="*/ 8308881 w 10069217"/>
              <a:gd name="connsiteY193" fmla="*/ 853325 h 6858001"/>
              <a:gd name="connsiteX194" fmla="*/ 8308881 w 10069217"/>
              <a:gd name="connsiteY194" fmla="*/ 925343 h 6858001"/>
              <a:gd name="connsiteX195" fmla="*/ 8310356 w 10069217"/>
              <a:gd name="connsiteY195" fmla="*/ 926811 h 6858001"/>
              <a:gd name="connsiteX196" fmla="*/ 8321626 w 10069217"/>
              <a:gd name="connsiteY196" fmla="*/ 926811 h 6858001"/>
              <a:gd name="connsiteX197" fmla="*/ 8323101 w 10069217"/>
              <a:gd name="connsiteY197" fmla="*/ 925343 h 6858001"/>
              <a:gd name="connsiteX198" fmla="*/ 8323101 w 10069217"/>
              <a:gd name="connsiteY198" fmla="*/ 882336 h 6858001"/>
              <a:gd name="connsiteX199" fmla="*/ 8327609 w 10069217"/>
              <a:gd name="connsiteY199" fmla="*/ 870625 h 6858001"/>
              <a:gd name="connsiteX200" fmla="*/ 8339083 w 10069217"/>
              <a:gd name="connsiteY200" fmla="*/ 865852 h 6858001"/>
              <a:gd name="connsiteX201" fmla="*/ 8341132 w 10069217"/>
              <a:gd name="connsiteY201" fmla="*/ 865688 h 6858001"/>
              <a:gd name="connsiteX202" fmla="*/ 8347074 w 10069217"/>
              <a:gd name="connsiteY202" fmla="*/ 866708 h 6858001"/>
              <a:gd name="connsiteX203" fmla="*/ 8348836 w 10069217"/>
              <a:gd name="connsiteY203" fmla="*/ 865852 h 6858001"/>
              <a:gd name="connsiteX204" fmla="*/ 8351213 w 10069217"/>
              <a:gd name="connsiteY204" fmla="*/ 854794 h 6858001"/>
              <a:gd name="connsiteX205" fmla="*/ 8350476 w 10069217"/>
              <a:gd name="connsiteY205" fmla="*/ 852998 h 6858001"/>
              <a:gd name="connsiteX206" fmla="*/ 8341870 w 10069217"/>
              <a:gd name="connsiteY206" fmla="*/ 851081 h 6858001"/>
              <a:gd name="connsiteX207" fmla="*/ 9500095 w 10069217"/>
              <a:gd name="connsiteY207" fmla="*/ 850808 h 6858001"/>
              <a:gd name="connsiteX208" fmla="*/ 9481365 w 10069217"/>
              <a:gd name="connsiteY208" fmla="*/ 858927 h 6858001"/>
              <a:gd name="connsiteX209" fmla="*/ 9480997 w 10069217"/>
              <a:gd name="connsiteY209" fmla="*/ 859049 h 6858001"/>
              <a:gd name="connsiteX210" fmla="*/ 9480793 w 10069217"/>
              <a:gd name="connsiteY210" fmla="*/ 858641 h 6858001"/>
              <a:gd name="connsiteX211" fmla="*/ 9480793 w 10069217"/>
              <a:gd name="connsiteY211" fmla="*/ 853338 h 6858001"/>
              <a:gd name="connsiteX212" fmla="*/ 9479324 w 10069217"/>
              <a:gd name="connsiteY212" fmla="*/ 851869 h 6858001"/>
              <a:gd name="connsiteX213" fmla="*/ 9468144 w 10069217"/>
              <a:gd name="connsiteY213" fmla="*/ 851869 h 6858001"/>
              <a:gd name="connsiteX214" fmla="*/ 9466634 w 10069217"/>
              <a:gd name="connsiteY214" fmla="*/ 853338 h 6858001"/>
              <a:gd name="connsiteX215" fmla="*/ 9466634 w 10069217"/>
              <a:gd name="connsiteY215" fmla="*/ 925343 h 6858001"/>
              <a:gd name="connsiteX216" fmla="*/ 9468144 w 10069217"/>
              <a:gd name="connsiteY216" fmla="*/ 926812 h 6858001"/>
              <a:gd name="connsiteX217" fmla="*/ 9479324 w 10069217"/>
              <a:gd name="connsiteY217" fmla="*/ 926812 h 6858001"/>
              <a:gd name="connsiteX218" fmla="*/ 9480793 w 10069217"/>
              <a:gd name="connsiteY218" fmla="*/ 925343 h 6858001"/>
              <a:gd name="connsiteX219" fmla="*/ 9480793 w 10069217"/>
              <a:gd name="connsiteY219" fmla="*/ 879406 h 6858001"/>
              <a:gd name="connsiteX220" fmla="*/ 9485200 w 10069217"/>
              <a:gd name="connsiteY220" fmla="*/ 867616 h 6858001"/>
              <a:gd name="connsiteX221" fmla="*/ 9496544 w 10069217"/>
              <a:gd name="connsiteY221" fmla="*/ 863047 h 6858001"/>
              <a:gd name="connsiteX222" fmla="*/ 9507889 w 10069217"/>
              <a:gd name="connsiteY222" fmla="*/ 867616 h 6858001"/>
              <a:gd name="connsiteX223" fmla="*/ 9512173 w 10069217"/>
              <a:gd name="connsiteY223" fmla="*/ 879529 h 6858001"/>
              <a:gd name="connsiteX224" fmla="*/ 9512173 w 10069217"/>
              <a:gd name="connsiteY224" fmla="*/ 925343 h 6858001"/>
              <a:gd name="connsiteX225" fmla="*/ 9513642 w 10069217"/>
              <a:gd name="connsiteY225" fmla="*/ 926812 h 6858001"/>
              <a:gd name="connsiteX226" fmla="*/ 9524823 w 10069217"/>
              <a:gd name="connsiteY226" fmla="*/ 926812 h 6858001"/>
              <a:gd name="connsiteX227" fmla="*/ 9526292 w 10069217"/>
              <a:gd name="connsiteY227" fmla="*/ 925343 h 6858001"/>
              <a:gd name="connsiteX228" fmla="*/ 9526292 w 10069217"/>
              <a:gd name="connsiteY228" fmla="*/ 876755 h 6858001"/>
              <a:gd name="connsiteX229" fmla="*/ 9519233 w 10069217"/>
              <a:gd name="connsiteY229" fmla="*/ 857825 h 6858001"/>
              <a:gd name="connsiteX230" fmla="*/ 9500095 w 10069217"/>
              <a:gd name="connsiteY230" fmla="*/ 850808 h 6858001"/>
              <a:gd name="connsiteX231" fmla="*/ 9416408 w 10069217"/>
              <a:gd name="connsiteY231" fmla="*/ 850808 h 6858001"/>
              <a:gd name="connsiteX232" fmla="*/ 9397134 w 10069217"/>
              <a:gd name="connsiteY232" fmla="*/ 856678 h 6858001"/>
              <a:gd name="connsiteX233" fmla="*/ 9386540 w 10069217"/>
              <a:gd name="connsiteY233" fmla="*/ 872738 h 6858001"/>
              <a:gd name="connsiteX234" fmla="*/ 9384910 w 10069217"/>
              <a:gd name="connsiteY234" fmla="*/ 889043 h 6858001"/>
              <a:gd name="connsiteX235" fmla="*/ 9388455 w 10069217"/>
              <a:gd name="connsiteY235" fmla="*/ 910076 h 6858001"/>
              <a:gd name="connsiteX236" fmla="*/ 9399457 w 10069217"/>
              <a:gd name="connsiteY236" fmla="*/ 923486 h 6858001"/>
              <a:gd name="connsiteX237" fmla="*/ 9417549 w 10069217"/>
              <a:gd name="connsiteY237" fmla="*/ 928174 h 6858001"/>
              <a:gd name="connsiteX238" fmla="*/ 9434704 w 10069217"/>
              <a:gd name="connsiteY238" fmla="*/ 924342 h 6858001"/>
              <a:gd name="connsiteX239" fmla="*/ 9446398 w 10069217"/>
              <a:gd name="connsiteY239" fmla="*/ 913907 h 6858001"/>
              <a:gd name="connsiteX240" fmla="*/ 9445950 w 10069217"/>
              <a:gd name="connsiteY240" fmla="*/ 911991 h 6858001"/>
              <a:gd name="connsiteX241" fmla="*/ 9437556 w 10069217"/>
              <a:gd name="connsiteY241" fmla="*/ 906407 h 6858001"/>
              <a:gd name="connsiteX242" fmla="*/ 9435641 w 10069217"/>
              <a:gd name="connsiteY242" fmla="*/ 906855 h 6858001"/>
              <a:gd name="connsiteX243" fmla="*/ 9418893 w 10069217"/>
              <a:gd name="connsiteY243" fmla="*/ 915823 h 6858001"/>
              <a:gd name="connsiteX244" fmla="*/ 9406465 w 10069217"/>
              <a:gd name="connsiteY244" fmla="*/ 912521 h 6858001"/>
              <a:gd name="connsiteX245" fmla="*/ 9399905 w 10069217"/>
              <a:gd name="connsiteY245" fmla="*/ 903309 h 6858001"/>
              <a:gd name="connsiteX246" fmla="*/ 9399049 w 10069217"/>
              <a:gd name="connsiteY246" fmla="*/ 895687 h 6858001"/>
              <a:gd name="connsiteX247" fmla="*/ 9399620 w 10069217"/>
              <a:gd name="connsiteY247" fmla="*/ 895075 h 6858001"/>
              <a:gd name="connsiteX248" fmla="*/ 9446561 w 10069217"/>
              <a:gd name="connsiteY248" fmla="*/ 895075 h 6858001"/>
              <a:gd name="connsiteX249" fmla="*/ 9448028 w 10069217"/>
              <a:gd name="connsiteY249" fmla="*/ 893608 h 6858001"/>
              <a:gd name="connsiteX250" fmla="*/ 9447580 w 10069217"/>
              <a:gd name="connsiteY250" fmla="*/ 880075 h 6858001"/>
              <a:gd name="connsiteX251" fmla="*/ 9438615 w 10069217"/>
              <a:gd name="connsiteY251" fmla="*/ 858227 h 6858001"/>
              <a:gd name="connsiteX252" fmla="*/ 9416408 w 10069217"/>
              <a:gd name="connsiteY252" fmla="*/ 850808 h 6858001"/>
              <a:gd name="connsiteX253" fmla="*/ 9294082 w 10069217"/>
              <a:gd name="connsiteY253" fmla="*/ 850808 h 6858001"/>
              <a:gd name="connsiteX254" fmla="*/ 9277217 w 10069217"/>
              <a:gd name="connsiteY254" fmla="*/ 856153 h 6858001"/>
              <a:gd name="connsiteX255" fmla="*/ 9267253 w 10069217"/>
              <a:gd name="connsiteY255" fmla="*/ 870392 h 6858001"/>
              <a:gd name="connsiteX256" fmla="*/ 9265048 w 10069217"/>
              <a:gd name="connsiteY256" fmla="*/ 889241 h 6858001"/>
              <a:gd name="connsiteX257" fmla="*/ 9266968 w 10069217"/>
              <a:gd name="connsiteY257" fmla="*/ 907192 h 6858001"/>
              <a:gd name="connsiteX258" fmla="*/ 9277626 w 10069217"/>
              <a:gd name="connsiteY258" fmla="*/ 921921 h 6858001"/>
              <a:gd name="connsiteX259" fmla="*/ 9294981 w 10069217"/>
              <a:gd name="connsiteY259" fmla="*/ 926939 h 6858001"/>
              <a:gd name="connsiteX260" fmla="*/ 9313112 w 10069217"/>
              <a:gd name="connsiteY260" fmla="*/ 919717 h 6858001"/>
              <a:gd name="connsiteX261" fmla="*/ 9313602 w 10069217"/>
              <a:gd name="connsiteY261" fmla="*/ 919554 h 6858001"/>
              <a:gd name="connsiteX262" fmla="*/ 9313847 w 10069217"/>
              <a:gd name="connsiteY262" fmla="*/ 920003 h 6858001"/>
              <a:gd name="connsiteX263" fmla="*/ 9313847 w 10069217"/>
              <a:gd name="connsiteY263" fmla="*/ 922655 h 6858001"/>
              <a:gd name="connsiteX264" fmla="*/ 9308252 w 10069217"/>
              <a:gd name="connsiteY264" fmla="*/ 938362 h 6858001"/>
              <a:gd name="connsiteX265" fmla="*/ 9290121 w 10069217"/>
              <a:gd name="connsiteY265" fmla="*/ 942973 h 6858001"/>
              <a:gd name="connsiteX266" fmla="*/ 9284078 w 10069217"/>
              <a:gd name="connsiteY266" fmla="*/ 942850 h 6858001"/>
              <a:gd name="connsiteX267" fmla="*/ 9282893 w 10069217"/>
              <a:gd name="connsiteY267" fmla="*/ 943136 h 6858001"/>
              <a:gd name="connsiteX268" fmla="*/ 9282444 w 10069217"/>
              <a:gd name="connsiteY268" fmla="*/ 944156 h 6858001"/>
              <a:gd name="connsiteX269" fmla="*/ 9281995 w 10069217"/>
              <a:gd name="connsiteY269" fmla="*/ 954315 h 6858001"/>
              <a:gd name="connsiteX270" fmla="*/ 9283465 w 10069217"/>
              <a:gd name="connsiteY270" fmla="*/ 955947 h 6858001"/>
              <a:gd name="connsiteX271" fmla="*/ 9290856 w 10069217"/>
              <a:gd name="connsiteY271" fmla="*/ 956232 h 6858001"/>
              <a:gd name="connsiteX272" fmla="*/ 9317889 w 10069217"/>
              <a:gd name="connsiteY272" fmla="*/ 948603 h 6858001"/>
              <a:gd name="connsiteX273" fmla="*/ 9327976 w 10069217"/>
              <a:gd name="connsiteY273" fmla="*/ 923104 h 6858001"/>
              <a:gd name="connsiteX274" fmla="*/ 9327976 w 10069217"/>
              <a:gd name="connsiteY274" fmla="*/ 853460 h 6858001"/>
              <a:gd name="connsiteX275" fmla="*/ 9326506 w 10069217"/>
              <a:gd name="connsiteY275" fmla="*/ 851991 h 6858001"/>
              <a:gd name="connsiteX276" fmla="*/ 9315317 w 10069217"/>
              <a:gd name="connsiteY276" fmla="*/ 851991 h 6858001"/>
              <a:gd name="connsiteX277" fmla="*/ 9313847 w 10069217"/>
              <a:gd name="connsiteY277" fmla="*/ 853460 h 6858001"/>
              <a:gd name="connsiteX278" fmla="*/ 9313847 w 10069217"/>
              <a:gd name="connsiteY278" fmla="*/ 858030 h 6858001"/>
              <a:gd name="connsiteX279" fmla="*/ 9313602 w 10069217"/>
              <a:gd name="connsiteY279" fmla="*/ 858397 h 6858001"/>
              <a:gd name="connsiteX280" fmla="*/ 9313112 w 10069217"/>
              <a:gd name="connsiteY280" fmla="*/ 858152 h 6858001"/>
              <a:gd name="connsiteX281" fmla="*/ 9294082 w 10069217"/>
              <a:gd name="connsiteY281" fmla="*/ 850808 h 6858001"/>
              <a:gd name="connsiteX282" fmla="*/ 9164521 w 10069217"/>
              <a:gd name="connsiteY282" fmla="*/ 850808 h 6858001"/>
              <a:gd name="connsiteX283" fmla="*/ 9145205 w 10069217"/>
              <a:gd name="connsiteY283" fmla="*/ 856678 h 6858001"/>
              <a:gd name="connsiteX284" fmla="*/ 9134565 w 10069217"/>
              <a:gd name="connsiteY284" fmla="*/ 872738 h 6858001"/>
              <a:gd name="connsiteX285" fmla="*/ 9132928 w 10069217"/>
              <a:gd name="connsiteY285" fmla="*/ 889043 h 6858001"/>
              <a:gd name="connsiteX286" fmla="*/ 9136489 w 10069217"/>
              <a:gd name="connsiteY286" fmla="*/ 910076 h 6858001"/>
              <a:gd name="connsiteX287" fmla="*/ 9147538 w 10069217"/>
              <a:gd name="connsiteY287" fmla="*/ 923486 h 6858001"/>
              <a:gd name="connsiteX288" fmla="*/ 9165708 w 10069217"/>
              <a:gd name="connsiteY288" fmla="*/ 928174 h 6858001"/>
              <a:gd name="connsiteX289" fmla="*/ 9182937 w 10069217"/>
              <a:gd name="connsiteY289" fmla="*/ 924342 h 6858001"/>
              <a:gd name="connsiteX290" fmla="*/ 9194682 w 10069217"/>
              <a:gd name="connsiteY290" fmla="*/ 913907 h 6858001"/>
              <a:gd name="connsiteX291" fmla="*/ 9194232 w 10069217"/>
              <a:gd name="connsiteY291" fmla="*/ 911991 h 6858001"/>
              <a:gd name="connsiteX292" fmla="*/ 9185801 w 10069217"/>
              <a:gd name="connsiteY292" fmla="*/ 906407 h 6858001"/>
              <a:gd name="connsiteX293" fmla="*/ 9183878 w 10069217"/>
              <a:gd name="connsiteY293" fmla="*/ 906855 h 6858001"/>
              <a:gd name="connsiteX294" fmla="*/ 9167058 w 10069217"/>
              <a:gd name="connsiteY294" fmla="*/ 915823 h 6858001"/>
              <a:gd name="connsiteX295" fmla="*/ 9154577 w 10069217"/>
              <a:gd name="connsiteY295" fmla="*/ 912521 h 6858001"/>
              <a:gd name="connsiteX296" fmla="*/ 9147988 w 10069217"/>
              <a:gd name="connsiteY296" fmla="*/ 903309 h 6858001"/>
              <a:gd name="connsiteX297" fmla="*/ 9147129 w 10069217"/>
              <a:gd name="connsiteY297" fmla="*/ 895687 h 6858001"/>
              <a:gd name="connsiteX298" fmla="*/ 9147702 w 10069217"/>
              <a:gd name="connsiteY298" fmla="*/ 895075 h 6858001"/>
              <a:gd name="connsiteX299" fmla="*/ 9194804 w 10069217"/>
              <a:gd name="connsiteY299" fmla="*/ 895075 h 6858001"/>
              <a:gd name="connsiteX300" fmla="*/ 9196319 w 10069217"/>
              <a:gd name="connsiteY300" fmla="*/ 893608 h 6858001"/>
              <a:gd name="connsiteX301" fmla="*/ 9195869 w 10069217"/>
              <a:gd name="connsiteY301" fmla="*/ 880075 h 6858001"/>
              <a:gd name="connsiteX302" fmla="*/ 9186865 w 10069217"/>
              <a:gd name="connsiteY302" fmla="*/ 858227 h 6858001"/>
              <a:gd name="connsiteX303" fmla="*/ 9164521 w 10069217"/>
              <a:gd name="connsiteY303" fmla="*/ 850808 h 6858001"/>
              <a:gd name="connsiteX304" fmla="*/ 9088711 w 10069217"/>
              <a:gd name="connsiteY304" fmla="*/ 850808 h 6858001"/>
              <a:gd name="connsiteX305" fmla="*/ 9070022 w 10069217"/>
              <a:gd name="connsiteY305" fmla="*/ 858927 h 6858001"/>
              <a:gd name="connsiteX306" fmla="*/ 9069654 w 10069217"/>
              <a:gd name="connsiteY306" fmla="*/ 859049 h 6858001"/>
              <a:gd name="connsiteX307" fmla="*/ 9069410 w 10069217"/>
              <a:gd name="connsiteY307" fmla="*/ 858641 h 6858001"/>
              <a:gd name="connsiteX308" fmla="*/ 9069410 w 10069217"/>
              <a:gd name="connsiteY308" fmla="*/ 853338 h 6858001"/>
              <a:gd name="connsiteX309" fmla="*/ 9067941 w 10069217"/>
              <a:gd name="connsiteY309" fmla="*/ 851869 h 6858001"/>
              <a:gd name="connsiteX310" fmla="*/ 9056760 w 10069217"/>
              <a:gd name="connsiteY310" fmla="*/ 851869 h 6858001"/>
              <a:gd name="connsiteX311" fmla="*/ 9055291 w 10069217"/>
              <a:gd name="connsiteY311" fmla="*/ 853338 h 6858001"/>
              <a:gd name="connsiteX312" fmla="*/ 9055291 w 10069217"/>
              <a:gd name="connsiteY312" fmla="*/ 925343 h 6858001"/>
              <a:gd name="connsiteX313" fmla="*/ 9056760 w 10069217"/>
              <a:gd name="connsiteY313" fmla="*/ 926812 h 6858001"/>
              <a:gd name="connsiteX314" fmla="*/ 9067941 w 10069217"/>
              <a:gd name="connsiteY314" fmla="*/ 926812 h 6858001"/>
              <a:gd name="connsiteX315" fmla="*/ 9069410 w 10069217"/>
              <a:gd name="connsiteY315" fmla="*/ 925343 h 6858001"/>
              <a:gd name="connsiteX316" fmla="*/ 9069410 w 10069217"/>
              <a:gd name="connsiteY316" fmla="*/ 879406 h 6858001"/>
              <a:gd name="connsiteX317" fmla="*/ 9073817 w 10069217"/>
              <a:gd name="connsiteY317" fmla="*/ 867616 h 6858001"/>
              <a:gd name="connsiteX318" fmla="*/ 9085161 w 10069217"/>
              <a:gd name="connsiteY318" fmla="*/ 863047 h 6858001"/>
              <a:gd name="connsiteX319" fmla="*/ 9096505 w 10069217"/>
              <a:gd name="connsiteY319" fmla="*/ 867616 h 6858001"/>
              <a:gd name="connsiteX320" fmla="*/ 9100789 w 10069217"/>
              <a:gd name="connsiteY320" fmla="*/ 879529 h 6858001"/>
              <a:gd name="connsiteX321" fmla="*/ 9100789 w 10069217"/>
              <a:gd name="connsiteY321" fmla="*/ 925343 h 6858001"/>
              <a:gd name="connsiteX322" fmla="*/ 9102258 w 10069217"/>
              <a:gd name="connsiteY322" fmla="*/ 926812 h 6858001"/>
              <a:gd name="connsiteX323" fmla="*/ 9113439 w 10069217"/>
              <a:gd name="connsiteY323" fmla="*/ 926812 h 6858001"/>
              <a:gd name="connsiteX324" fmla="*/ 9114949 w 10069217"/>
              <a:gd name="connsiteY324" fmla="*/ 925343 h 6858001"/>
              <a:gd name="connsiteX325" fmla="*/ 9114949 w 10069217"/>
              <a:gd name="connsiteY325" fmla="*/ 876755 h 6858001"/>
              <a:gd name="connsiteX326" fmla="*/ 9107849 w 10069217"/>
              <a:gd name="connsiteY326" fmla="*/ 857825 h 6858001"/>
              <a:gd name="connsiteX327" fmla="*/ 9088711 w 10069217"/>
              <a:gd name="connsiteY327" fmla="*/ 850808 h 6858001"/>
              <a:gd name="connsiteX328" fmla="*/ 8839222 w 10069217"/>
              <a:gd name="connsiteY328" fmla="*/ 850808 h 6858001"/>
              <a:gd name="connsiteX329" fmla="*/ 8820492 w 10069217"/>
              <a:gd name="connsiteY329" fmla="*/ 858927 h 6858001"/>
              <a:gd name="connsiteX330" fmla="*/ 8820124 w 10069217"/>
              <a:gd name="connsiteY330" fmla="*/ 859049 h 6858001"/>
              <a:gd name="connsiteX331" fmla="*/ 8819920 w 10069217"/>
              <a:gd name="connsiteY331" fmla="*/ 858641 h 6858001"/>
              <a:gd name="connsiteX332" fmla="*/ 8819920 w 10069217"/>
              <a:gd name="connsiteY332" fmla="*/ 853338 h 6858001"/>
              <a:gd name="connsiteX333" fmla="*/ 8818452 w 10069217"/>
              <a:gd name="connsiteY333" fmla="*/ 851869 h 6858001"/>
              <a:gd name="connsiteX334" fmla="*/ 8807230 w 10069217"/>
              <a:gd name="connsiteY334" fmla="*/ 851869 h 6858001"/>
              <a:gd name="connsiteX335" fmla="*/ 8805761 w 10069217"/>
              <a:gd name="connsiteY335" fmla="*/ 853338 h 6858001"/>
              <a:gd name="connsiteX336" fmla="*/ 8805761 w 10069217"/>
              <a:gd name="connsiteY336" fmla="*/ 925343 h 6858001"/>
              <a:gd name="connsiteX337" fmla="*/ 8807230 w 10069217"/>
              <a:gd name="connsiteY337" fmla="*/ 926812 h 6858001"/>
              <a:gd name="connsiteX338" fmla="*/ 8818452 w 10069217"/>
              <a:gd name="connsiteY338" fmla="*/ 926812 h 6858001"/>
              <a:gd name="connsiteX339" fmla="*/ 8819920 w 10069217"/>
              <a:gd name="connsiteY339" fmla="*/ 925343 h 6858001"/>
              <a:gd name="connsiteX340" fmla="*/ 8819920 w 10069217"/>
              <a:gd name="connsiteY340" fmla="*/ 879406 h 6858001"/>
              <a:gd name="connsiteX341" fmla="*/ 8824328 w 10069217"/>
              <a:gd name="connsiteY341" fmla="*/ 867616 h 6858001"/>
              <a:gd name="connsiteX342" fmla="*/ 8835672 w 10069217"/>
              <a:gd name="connsiteY342" fmla="*/ 863047 h 6858001"/>
              <a:gd name="connsiteX343" fmla="*/ 8847016 w 10069217"/>
              <a:gd name="connsiteY343" fmla="*/ 867616 h 6858001"/>
              <a:gd name="connsiteX344" fmla="*/ 8851300 w 10069217"/>
              <a:gd name="connsiteY344" fmla="*/ 879529 h 6858001"/>
              <a:gd name="connsiteX345" fmla="*/ 8851300 w 10069217"/>
              <a:gd name="connsiteY345" fmla="*/ 925343 h 6858001"/>
              <a:gd name="connsiteX346" fmla="*/ 8852769 w 10069217"/>
              <a:gd name="connsiteY346" fmla="*/ 926812 h 6858001"/>
              <a:gd name="connsiteX347" fmla="*/ 8863950 w 10069217"/>
              <a:gd name="connsiteY347" fmla="*/ 926812 h 6858001"/>
              <a:gd name="connsiteX348" fmla="*/ 8865419 w 10069217"/>
              <a:gd name="connsiteY348" fmla="*/ 925343 h 6858001"/>
              <a:gd name="connsiteX349" fmla="*/ 8865419 w 10069217"/>
              <a:gd name="connsiteY349" fmla="*/ 876755 h 6858001"/>
              <a:gd name="connsiteX350" fmla="*/ 8858360 w 10069217"/>
              <a:gd name="connsiteY350" fmla="*/ 857825 h 6858001"/>
              <a:gd name="connsiteX351" fmla="*/ 8839222 w 10069217"/>
              <a:gd name="connsiteY351" fmla="*/ 850808 h 6858001"/>
              <a:gd name="connsiteX352" fmla="*/ 8755787 w 10069217"/>
              <a:gd name="connsiteY352" fmla="*/ 850808 h 6858001"/>
              <a:gd name="connsiteX353" fmla="*/ 8736501 w 10069217"/>
              <a:gd name="connsiteY353" fmla="*/ 856678 h 6858001"/>
              <a:gd name="connsiteX354" fmla="*/ 8725900 w 10069217"/>
              <a:gd name="connsiteY354" fmla="*/ 872738 h 6858001"/>
              <a:gd name="connsiteX355" fmla="*/ 8724310 w 10069217"/>
              <a:gd name="connsiteY355" fmla="*/ 889043 h 6858001"/>
              <a:gd name="connsiteX356" fmla="*/ 8727817 w 10069217"/>
              <a:gd name="connsiteY356" fmla="*/ 910076 h 6858001"/>
              <a:gd name="connsiteX357" fmla="*/ 8738866 w 10069217"/>
              <a:gd name="connsiteY357" fmla="*/ 923486 h 6858001"/>
              <a:gd name="connsiteX358" fmla="*/ 8756970 w 10069217"/>
              <a:gd name="connsiteY358" fmla="*/ 928174 h 6858001"/>
              <a:gd name="connsiteX359" fmla="*/ 8774095 w 10069217"/>
              <a:gd name="connsiteY359" fmla="*/ 924342 h 6858001"/>
              <a:gd name="connsiteX360" fmla="*/ 8785838 w 10069217"/>
              <a:gd name="connsiteY360" fmla="*/ 913907 h 6858001"/>
              <a:gd name="connsiteX361" fmla="*/ 8785389 w 10069217"/>
              <a:gd name="connsiteY361" fmla="*/ 911991 h 6858001"/>
              <a:gd name="connsiteX362" fmla="*/ 8776990 w 10069217"/>
              <a:gd name="connsiteY362" fmla="*/ 906407 h 6858001"/>
              <a:gd name="connsiteX363" fmla="*/ 8775073 w 10069217"/>
              <a:gd name="connsiteY363" fmla="*/ 906855 h 6858001"/>
              <a:gd name="connsiteX364" fmla="*/ 8758275 w 10069217"/>
              <a:gd name="connsiteY364" fmla="*/ 915823 h 6858001"/>
              <a:gd name="connsiteX365" fmla="*/ 8745838 w 10069217"/>
              <a:gd name="connsiteY365" fmla="*/ 912521 h 6858001"/>
              <a:gd name="connsiteX366" fmla="*/ 8739315 w 10069217"/>
              <a:gd name="connsiteY366" fmla="*/ 903309 h 6858001"/>
              <a:gd name="connsiteX367" fmla="*/ 8738418 w 10069217"/>
              <a:gd name="connsiteY367" fmla="*/ 895687 h 6858001"/>
              <a:gd name="connsiteX368" fmla="*/ 8739029 w 10069217"/>
              <a:gd name="connsiteY368" fmla="*/ 895075 h 6858001"/>
              <a:gd name="connsiteX369" fmla="*/ 8785960 w 10069217"/>
              <a:gd name="connsiteY369" fmla="*/ 895075 h 6858001"/>
              <a:gd name="connsiteX370" fmla="*/ 8787428 w 10069217"/>
              <a:gd name="connsiteY370" fmla="*/ 893608 h 6858001"/>
              <a:gd name="connsiteX371" fmla="*/ 8786979 w 10069217"/>
              <a:gd name="connsiteY371" fmla="*/ 880075 h 6858001"/>
              <a:gd name="connsiteX372" fmla="*/ 8778009 w 10069217"/>
              <a:gd name="connsiteY372" fmla="*/ 858227 h 6858001"/>
              <a:gd name="connsiteX373" fmla="*/ 8755787 w 10069217"/>
              <a:gd name="connsiteY373" fmla="*/ 850808 h 6858001"/>
              <a:gd name="connsiteX374" fmla="*/ 8638214 w 10069217"/>
              <a:gd name="connsiteY374" fmla="*/ 850808 h 6858001"/>
              <a:gd name="connsiteX375" fmla="*/ 8619351 w 10069217"/>
              <a:gd name="connsiteY375" fmla="*/ 858641 h 6858001"/>
              <a:gd name="connsiteX376" fmla="*/ 8618820 w 10069217"/>
              <a:gd name="connsiteY376" fmla="*/ 858764 h 6858001"/>
              <a:gd name="connsiteX377" fmla="*/ 8618616 w 10069217"/>
              <a:gd name="connsiteY377" fmla="*/ 858315 h 6858001"/>
              <a:gd name="connsiteX378" fmla="*/ 8618616 w 10069217"/>
              <a:gd name="connsiteY378" fmla="*/ 853338 h 6858001"/>
              <a:gd name="connsiteX379" fmla="*/ 8617146 w 10069217"/>
              <a:gd name="connsiteY379" fmla="*/ 851869 h 6858001"/>
              <a:gd name="connsiteX380" fmla="*/ 8605959 w 10069217"/>
              <a:gd name="connsiteY380" fmla="*/ 851869 h 6858001"/>
              <a:gd name="connsiteX381" fmla="*/ 8604448 w 10069217"/>
              <a:gd name="connsiteY381" fmla="*/ 853338 h 6858001"/>
              <a:gd name="connsiteX382" fmla="*/ 8604448 w 10069217"/>
              <a:gd name="connsiteY382" fmla="*/ 925343 h 6858001"/>
              <a:gd name="connsiteX383" fmla="*/ 8605959 w 10069217"/>
              <a:gd name="connsiteY383" fmla="*/ 926812 h 6858001"/>
              <a:gd name="connsiteX384" fmla="*/ 8617146 w 10069217"/>
              <a:gd name="connsiteY384" fmla="*/ 926812 h 6858001"/>
              <a:gd name="connsiteX385" fmla="*/ 8618616 w 10069217"/>
              <a:gd name="connsiteY385" fmla="*/ 925343 h 6858001"/>
              <a:gd name="connsiteX386" fmla="*/ 8618616 w 10069217"/>
              <a:gd name="connsiteY386" fmla="*/ 878795 h 6858001"/>
              <a:gd name="connsiteX387" fmla="*/ 8622658 w 10069217"/>
              <a:gd name="connsiteY387" fmla="*/ 867331 h 6858001"/>
              <a:gd name="connsiteX388" fmla="*/ 8633519 w 10069217"/>
              <a:gd name="connsiteY388" fmla="*/ 863047 h 6858001"/>
              <a:gd name="connsiteX389" fmla="*/ 8644339 w 10069217"/>
              <a:gd name="connsiteY389" fmla="*/ 867372 h 6858001"/>
              <a:gd name="connsiteX390" fmla="*/ 8648381 w 10069217"/>
              <a:gd name="connsiteY390" fmla="*/ 879080 h 6858001"/>
              <a:gd name="connsiteX391" fmla="*/ 8648381 w 10069217"/>
              <a:gd name="connsiteY391" fmla="*/ 925343 h 6858001"/>
              <a:gd name="connsiteX392" fmla="*/ 8649851 w 10069217"/>
              <a:gd name="connsiteY392" fmla="*/ 926812 h 6858001"/>
              <a:gd name="connsiteX393" fmla="*/ 8660915 w 10069217"/>
              <a:gd name="connsiteY393" fmla="*/ 926812 h 6858001"/>
              <a:gd name="connsiteX394" fmla="*/ 8662385 w 10069217"/>
              <a:gd name="connsiteY394" fmla="*/ 925343 h 6858001"/>
              <a:gd name="connsiteX395" fmla="*/ 8662385 w 10069217"/>
              <a:gd name="connsiteY395" fmla="*/ 878795 h 6858001"/>
              <a:gd name="connsiteX396" fmla="*/ 8666672 w 10069217"/>
              <a:gd name="connsiteY396" fmla="*/ 867331 h 6858001"/>
              <a:gd name="connsiteX397" fmla="*/ 8677696 w 10069217"/>
              <a:gd name="connsiteY397" fmla="*/ 863047 h 6858001"/>
              <a:gd name="connsiteX398" fmla="*/ 8688557 w 10069217"/>
              <a:gd name="connsiteY398" fmla="*/ 867372 h 6858001"/>
              <a:gd name="connsiteX399" fmla="*/ 8692599 w 10069217"/>
              <a:gd name="connsiteY399" fmla="*/ 879080 h 6858001"/>
              <a:gd name="connsiteX400" fmla="*/ 8692599 w 10069217"/>
              <a:gd name="connsiteY400" fmla="*/ 925343 h 6858001"/>
              <a:gd name="connsiteX401" fmla="*/ 8694069 w 10069217"/>
              <a:gd name="connsiteY401" fmla="*/ 926812 h 6858001"/>
              <a:gd name="connsiteX402" fmla="*/ 8705133 w 10069217"/>
              <a:gd name="connsiteY402" fmla="*/ 926812 h 6858001"/>
              <a:gd name="connsiteX403" fmla="*/ 8706603 w 10069217"/>
              <a:gd name="connsiteY403" fmla="*/ 925343 h 6858001"/>
              <a:gd name="connsiteX404" fmla="*/ 8706603 w 10069217"/>
              <a:gd name="connsiteY404" fmla="*/ 876143 h 6858001"/>
              <a:gd name="connsiteX405" fmla="*/ 8700111 w 10069217"/>
              <a:gd name="connsiteY405" fmla="*/ 857540 h 6858001"/>
              <a:gd name="connsiteX406" fmla="*/ 8682432 w 10069217"/>
              <a:gd name="connsiteY406" fmla="*/ 850808 h 6858001"/>
              <a:gd name="connsiteX407" fmla="*/ 8669530 w 10069217"/>
              <a:gd name="connsiteY407" fmla="*/ 853623 h 6858001"/>
              <a:gd name="connsiteX408" fmla="*/ 8660180 w 10069217"/>
              <a:gd name="connsiteY408" fmla="*/ 862150 h 6858001"/>
              <a:gd name="connsiteX409" fmla="*/ 8659282 w 10069217"/>
              <a:gd name="connsiteY409" fmla="*/ 862150 h 6858001"/>
              <a:gd name="connsiteX410" fmla="*/ 8651035 w 10069217"/>
              <a:gd name="connsiteY410" fmla="*/ 853705 h 6858001"/>
              <a:gd name="connsiteX411" fmla="*/ 8638214 w 10069217"/>
              <a:gd name="connsiteY411" fmla="*/ 850808 h 6858001"/>
              <a:gd name="connsiteX412" fmla="*/ 8473724 w 10069217"/>
              <a:gd name="connsiteY412" fmla="*/ 850808 h 6858001"/>
              <a:gd name="connsiteX413" fmla="*/ 8454368 w 10069217"/>
              <a:gd name="connsiteY413" fmla="*/ 856678 h 6858001"/>
              <a:gd name="connsiteX414" fmla="*/ 8443728 w 10069217"/>
              <a:gd name="connsiteY414" fmla="*/ 872738 h 6858001"/>
              <a:gd name="connsiteX415" fmla="*/ 8442091 w 10069217"/>
              <a:gd name="connsiteY415" fmla="*/ 889043 h 6858001"/>
              <a:gd name="connsiteX416" fmla="*/ 8445651 w 10069217"/>
              <a:gd name="connsiteY416" fmla="*/ 910076 h 6858001"/>
              <a:gd name="connsiteX417" fmla="*/ 8456741 w 10069217"/>
              <a:gd name="connsiteY417" fmla="*/ 923486 h 6858001"/>
              <a:gd name="connsiteX418" fmla="*/ 8474911 w 10069217"/>
              <a:gd name="connsiteY418" fmla="*/ 928174 h 6858001"/>
              <a:gd name="connsiteX419" fmla="*/ 8492099 w 10069217"/>
              <a:gd name="connsiteY419" fmla="*/ 924342 h 6858001"/>
              <a:gd name="connsiteX420" fmla="*/ 8503844 w 10069217"/>
              <a:gd name="connsiteY420" fmla="*/ 913907 h 6858001"/>
              <a:gd name="connsiteX421" fmla="*/ 8503394 w 10069217"/>
              <a:gd name="connsiteY421" fmla="*/ 911991 h 6858001"/>
              <a:gd name="connsiteX422" fmla="*/ 8495005 w 10069217"/>
              <a:gd name="connsiteY422" fmla="*/ 906407 h 6858001"/>
              <a:gd name="connsiteX423" fmla="*/ 8493081 w 10069217"/>
              <a:gd name="connsiteY423" fmla="*/ 906855 h 6858001"/>
              <a:gd name="connsiteX424" fmla="*/ 8476221 w 10069217"/>
              <a:gd name="connsiteY424" fmla="*/ 915823 h 6858001"/>
              <a:gd name="connsiteX425" fmla="*/ 8463739 w 10069217"/>
              <a:gd name="connsiteY425" fmla="*/ 912521 h 6858001"/>
              <a:gd name="connsiteX426" fmla="*/ 8457191 w 10069217"/>
              <a:gd name="connsiteY426" fmla="*/ 903309 h 6858001"/>
              <a:gd name="connsiteX427" fmla="*/ 8456291 w 10069217"/>
              <a:gd name="connsiteY427" fmla="*/ 895687 h 6858001"/>
              <a:gd name="connsiteX428" fmla="*/ 8456864 w 10069217"/>
              <a:gd name="connsiteY428" fmla="*/ 895075 h 6858001"/>
              <a:gd name="connsiteX429" fmla="*/ 8504008 w 10069217"/>
              <a:gd name="connsiteY429" fmla="*/ 895075 h 6858001"/>
              <a:gd name="connsiteX430" fmla="*/ 8505481 w 10069217"/>
              <a:gd name="connsiteY430" fmla="*/ 893608 h 6858001"/>
              <a:gd name="connsiteX431" fmla="*/ 8505031 w 10069217"/>
              <a:gd name="connsiteY431" fmla="*/ 880075 h 6858001"/>
              <a:gd name="connsiteX432" fmla="*/ 8496028 w 10069217"/>
              <a:gd name="connsiteY432" fmla="*/ 858227 h 6858001"/>
              <a:gd name="connsiteX433" fmla="*/ 8473724 w 10069217"/>
              <a:gd name="connsiteY433" fmla="*/ 850808 h 6858001"/>
              <a:gd name="connsiteX434" fmla="*/ 8397914 w 10069217"/>
              <a:gd name="connsiteY434" fmla="*/ 850808 h 6858001"/>
              <a:gd name="connsiteX435" fmla="*/ 8379184 w 10069217"/>
              <a:gd name="connsiteY435" fmla="*/ 858927 h 6858001"/>
              <a:gd name="connsiteX436" fmla="*/ 8378858 w 10069217"/>
              <a:gd name="connsiteY436" fmla="*/ 859049 h 6858001"/>
              <a:gd name="connsiteX437" fmla="*/ 8378613 w 10069217"/>
              <a:gd name="connsiteY437" fmla="*/ 858641 h 6858001"/>
              <a:gd name="connsiteX438" fmla="*/ 8378613 w 10069217"/>
              <a:gd name="connsiteY438" fmla="*/ 853338 h 6858001"/>
              <a:gd name="connsiteX439" fmla="*/ 8377144 w 10069217"/>
              <a:gd name="connsiteY439" fmla="*/ 851869 h 6858001"/>
              <a:gd name="connsiteX440" fmla="*/ 8365963 w 10069217"/>
              <a:gd name="connsiteY440" fmla="*/ 851869 h 6858001"/>
              <a:gd name="connsiteX441" fmla="*/ 8364453 w 10069217"/>
              <a:gd name="connsiteY441" fmla="*/ 853338 h 6858001"/>
              <a:gd name="connsiteX442" fmla="*/ 8364453 w 10069217"/>
              <a:gd name="connsiteY442" fmla="*/ 925343 h 6858001"/>
              <a:gd name="connsiteX443" fmla="*/ 8365963 w 10069217"/>
              <a:gd name="connsiteY443" fmla="*/ 926812 h 6858001"/>
              <a:gd name="connsiteX444" fmla="*/ 8377144 w 10069217"/>
              <a:gd name="connsiteY444" fmla="*/ 926812 h 6858001"/>
              <a:gd name="connsiteX445" fmla="*/ 8378613 w 10069217"/>
              <a:gd name="connsiteY445" fmla="*/ 925343 h 6858001"/>
              <a:gd name="connsiteX446" fmla="*/ 8378613 w 10069217"/>
              <a:gd name="connsiteY446" fmla="*/ 879406 h 6858001"/>
              <a:gd name="connsiteX447" fmla="*/ 8383020 w 10069217"/>
              <a:gd name="connsiteY447" fmla="*/ 867616 h 6858001"/>
              <a:gd name="connsiteX448" fmla="*/ 8394364 w 10069217"/>
              <a:gd name="connsiteY448" fmla="*/ 863047 h 6858001"/>
              <a:gd name="connsiteX449" fmla="*/ 8405708 w 10069217"/>
              <a:gd name="connsiteY449" fmla="*/ 867616 h 6858001"/>
              <a:gd name="connsiteX450" fmla="*/ 8409993 w 10069217"/>
              <a:gd name="connsiteY450" fmla="*/ 879529 h 6858001"/>
              <a:gd name="connsiteX451" fmla="*/ 8409993 w 10069217"/>
              <a:gd name="connsiteY451" fmla="*/ 925343 h 6858001"/>
              <a:gd name="connsiteX452" fmla="*/ 8411462 w 10069217"/>
              <a:gd name="connsiteY452" fmla="*/ 926812 h 6858001"/>
              <a:gd name="connsiteX453" fmla="*/ 8422642 w 10069217"/>
              <a:gd name="connsiteY453" fmla="*/ 926812 h 6858001"/>
              <a:gd name="connsiteX454" fmla="*/ 8424112 w 10069217"/>
              <a:gd name="connsiteY454" fmla="*/ 925343 h 6858001"/>
              <a:gd name="connsiteX455" fmla="*/ 8424112 w 10069217"/>
              <a:gd name="connsiteY455" fmla="*/ 876755 h 6858001"/>
              <a:gd name="connsiteX456" fmla="*/ 8417052 w 10069217"/>
              <a:gd name="connsiteY456" fmla="*/ 857825 h 6858001"/>
              <a:gd name="connsiteX457" fmla="*/ 8397914 w 10069217"/>
              <a:gd name="connsiteY457" fmla="*/ 850808 h 6858001"/>
              <a:gd name="connsiteX458" fmla="*/ 8258907 w 10069217"/>
              <a:gd name="connsiteY458" fmla="*/ 850808 h 6858001"/>
              <a:gd name="connsiteX459" fmla="*/ 8239621 w 10069217"/>
              <a:gd name="connsiteY459" fmla="*/ 856678 h 6858001"/>
              <a:gd name="connsiteX460" fmla="*/ 8229020 w 10069217"/>
              <a:gd name="connsiteY460" fmla="*/ 872738 h 6858001"/>
              <a:gd name="connsiteX461" fmla="*/ 8227430 w 10069217"/>
              <a:gd name="connsiteY461" fmla="*/ 889043 h 6858001"/>
              <a:gd name="connsiteX462" fmla="*/ 8230936 w 10069217"/>
              <a:gd name="connsiteY462" fmla="*/ 910076 h 6858001"/>
              <a:gd name="connsiteX463" fmla="*/ 8241986 w 10069217"/>
              <a:gd name="connsiteY463" fmla="*/ 923486 h 6858001"/>
              <a:gd name="connsiteX464" fmla="*/ 8260089 w 10069217"/>
              <a:gd name="connsiteY464" fmla="*/ 928174 h 6858001"/>
              <a:gd name="connsiteX465" fmla="*/ 8277214 w 10069217"/>
              <a:gd name="connsiteY465" fmla="*/ 924342 h 6858001"/>
              <a:gd name="connsiteX466" fmla="*/ 8288917 w 10069217"/>
              <a:gd name="connsiteY466" fmla="*/ 913907 h 6858001"/>
              <a:gd name="connsiteX467" fmla="*/ 8288468 w 10069217"/>
              <a:gd name="connsiteY467" fmla="*/ 911991 h 6858001"/>
              <a:gd name="connsiteX468" fmla="*/ 8280110 w 10069217"/>
              <a:gd name="connsiteY468" fmla="*/ 906407 h 6858001"/>
              <a:gd name="connsiteX469" fmla="*/ 8278193 w 10069217"/>
              <a:gd name="connsiteY469" fmla="*/ 906855 h 6858001"/>
              <a:gd name="connsiteX470" fmla="*/ 8261394 w 10069217"/>
              <a:gd name="connsiteY470" fmla="*/ 915823 h 6858001"/>
              <a:gd name="connsiteX471" fmla="*/ 8248958 w 10069217"/>
              <a:gd name="connsiteY471" fmla="*/ 912521 h 6858001"/>
              <a:gd name="connsiteX472" fmla="*/ 8242434 w 10069217"/>
              <a:gd name="connsiteY472" fmla="*/ 903309 h 6858001"/>
              <a:gd name="connsiteX473" fmla="*/ 8241537 w 10069217"/>
              <a:gd name="connsiteY473" fmla="*/ 895687 h 6858001"/>
              <a:gd name="connsiteX474" fmla="*/ 8242108 w 10069217"/>
              <a:gd name="connsiteY474" fmla="*/ 895075 h 6858001"/>
              <a:gd name="connsiteX475" fmla="*/ 8289080 w 10069217"/>
              <a:gd name="connsiteY475" fmla="*/ 895075 h 6858001"/>
              <a:gd name="connsiteX476" fmla="*/ 8290548 w 10069217"/>
              <a:gd name="connsiteY476" fmla="*/ 893608 h 6858001"/>
              <a:gd name="connsiteX477" fmla="*/ 8290099 w 10069217"/>
              <a:gd name="connsiteY477" fmla="*/ 880075 h 6858001"/>
              <a:gd name="connsiteX478" fmla="*/ 8281129 w 10069217"/>
              <a:gd name="connsiteY478" fmla="*/ 858227 h 6858001"/>
              <a:gd name="connsiteX479" fmla="*/ 8258907 w 10069217"/>
              <a:gd name="connsiteY479" fmla="*/ 850808 h 6858001"/>
              <a:gd name="connsiteX480" fmla="*/ 8128770 w 10069217"/>
              <a:gd name="connsiteY480" fmla="*/ 850808 h 6858001"/>
              <a:gd name="connsiteX481" fmla="*/ 8110040 w 10069217"/>
              <a:gd name="connsiteY481" fmla="*/ 858927 h 6858001"/>
              <a:gd name="connsiteX482" fmla="*/ 8109673 w 10069217"/>
              <a:gd name="connsiteY482" fmla="*/ 859049 h 6858001"/>
              <a:gd name="connsiteX483" fmla="*/ 8109469 w 10069217"/>
              <a:gd name="connsiteY483" fmla="*/ 858641 h 6858001"/>
              <a:gd name="connsiteX484" fmla="*/ 8109469 w 10069217"/>
              <a:gd name="connsiteY484" fmla="*/ 853338 h 6858001"/>
              <a:gd name="connsiteX485" fmla="*/ 8108000 w 10069217"/>
              <a:gd name="connsiteY485" fmla="*/ 851869 h 6858001"/>
              <a:gd name="connsiteX486" fmla="*/ 8096778 w 10069217"/>
              <a:gd name="connsiteY486" fmla="*/ 851869 h 6858001"/>
              <a:gd name="connsiteX487" fmla="*/ 8095309 w 10069217"/>
              <a:gd name="connsiteY487" fmla="*/ 853338 h 6858001"/>
              <a:gd name="connsiteX488" fmla="*/ 8095309 w 10069217"/>
              <a:gd name="connsiteY488" fmla="*/ 925343 h 6858001"/>
              <a:gd name="connsiteX489" fmla="*/ 8096778 w 10069217"/>
              <a:gd name="connsiteY489" fmla="*/ 926812 h 6858001"/>
              <a:gd name="connsiteX490" fmla="*/ 8108000 w 10069217"/>
              <a:gd name="connsiteY490" fmla="*/ 926812 h 6858001"/>
              <a:gd name="connsiteX491" fmla="*/ 8109469 w 10069217"/>
              <a:gd name="connsiteY491" fmla="*/ 925343 h 6858001"/>
              <a:gd name="connsiteX492" fmla="*/ 8109469 w 10069217"/>
              <a:gd name="connsiteY492" fmla="*/ 879406 h 6858001"/>
              <a:gd name="connsiteX493" fmla="*/ 8113876 w 10069217"/>
              <a:gd name="connsiteY493" fmla="*/ 867616 h 6858001"/>
              <a:gd name="connsiteX494" fmla="*/ 8125220 w 10069217"/>
              <a:gd name="connsiteY494" fmla="*/ 863047 h 6858001"/>
              <a:gd name="connsiteX495" fmla="*/ 8136564 w 10069217"/>
              <a:gd name="connsiteY495" fmla="*/ 867616 h 6858001"/>
              <a:gd name="connsiteX496" fmla="*/ 8140849 w 10069217"/>
              <a:gd name="connsiteY496" fmla="*/ 879529 h 6858001"/>
              <a:gd name="connsiteX497" fmla="*/ 8140849 w 10069217"/>
              <a:gd name="connsiteY497" fmla="*/ 925343 h 6858001"/>
              <a:gd name="connsiteX498" fmla="*/ 8142318 w 10069217"/>
              <a:gd name="connsiteY498" fmla="*/ 926812 h 6858001"/>
              <a:gd name="connsiteX499" fmla="*/ 8153499 w 10069217"/>
              <a:gd name="connsiteY499" fmla="*/ 926812 h 6858001"/>
              <a:gd name="connsiteX500" fmla="*/ 8154968 w 10069217"/>
              <a:gd name="connsiteY500" fmla="*/ 925343 h 6858001"/>
              <a:gd name="connsiteX501" fmla="*/ 8154968 w 10069217"/>
              <a:gd name="connsiteY501" fmla="*/ 876755 h 6858001"/>
              <a:gd name="connsiteX502" fmla="*/ 8147908 w 10069217"/>
              <a:gd name="connsiteY502" fmla="*/ 857825 h 6858001"/>
              <a:gd name="connsiteX503" fmla="*/ 8128770 w 10069217"/>
              <a:gd name="connsiteY503" fmla="*/ 850808 h 6858001"/>
              <a:gd name="connsiteX504" fmla="*/ 8182799 w 10069217"/>
              <a:gd name="connsiteY504" fmla="*/ 832284 h 6858001"/>
              <a:gd name="connsiteX505" fmla="*/ 8181325 w 10069217"/>
              <a:gd name="connsiteY505" fmla="*/ 833755 h 6858001"/>
              <a:gd name="connsiteX506" fmla="*/ 8181325 w 10069217"/>
              <a:gd name="connsiteY506" fmla="*/ 851154 h 6858001"/>
              <a:gd name="connsiteX507" fmla="*/ 8180751 w 10069217"/>
              <a:gd name="connsiteY507" fmla="*/ 851726 h 6858001"/>
              <a:gd name="connsiteX508" fmla="*/ 8171739 w 10069217"/>
              <a:gd name="connsiteY508" fmla="*/ 851726 h 6858001"/>
              <a:gd name="connsiteX509" fmla="*/ 8170223 w 10069217"/>
              <a:gd name="connsiteY509" fmla="*/ 853238 h 6858001"/>
              <a:gd name="connsiteX510" fmla="*/ 8170223 w 10069217"/>
              <a:gd name="connsiteY510" fmla="*/ 861937 h 6858001"/>
              <a:gd name="connsiteX511" fmla="*/ 8171739 w 10069217"/>
              <a:gd name="connsiteY511" fmla="*/ 863408 h 6858001"/>
              <a:gd name="connsiteX512" fmla="*/ 8180751 w 10069217"/>
              <a:gd name="connsiteY512" fmla="*/ 863408 h 6858001"/>
              <a:gd name="connsiteX513" fmla="*/ 8181325 w 10069217"/>
              <a:gd name="connsiteY513" fmla="*/ 863980 h 6858001"/>
              <a:gd name="connsiteX514" fmla="*/ 8181325 w 10069217"/>
              <a:gd name="connsiteY514" fmla="*/ 908051 h 6858001"/>
              <a:gd name="connsiteX515" fmla="*/ 8187019 w 10069217"/>
              <a:gd name="connsiteY515" fmla="*/ 923040 h 6858001"/>
              <a:gd name="connsiteX516" fmla="*/ 8203979 w 10069217"/>
              <a:gd name="connsiteY516" fmla="*/ 927084 h 6858001"/>
              <a:gd name="connsiteX517" fmla="*/ 8210780 w 10069217"/>
              <a:gd name="connsiteY517" fmla="*/ 926798 h 6858001"/>
              <a:gd name="connsiteX518" fmla="*/ 8212254 w 10069217"/>
              <a:gd name="connsiteY518" fmla="*/ 925328 h 6858001"/>
              <a:gd name="connsiteX519" fmla="*/ 8212254 w 10069217"/>
              <a:gd name="connsiteY519" fmla="*/ 916179 h 6858001"/>
              <a:gd name="connsiteX520" fmla="*/ 8210780 w 10069217"/>
              <a:gd name="connsiteY520" fmla="*/ 914708 h 6858001"/>
              <a:gd name="connsiteX521" fmla="*/ 8206478 w 10069217"/>
              <a:gd name="connsiteY521" fmla="*/ 914708 h 6858001"/>
              <a:gd name="connsiteX522" fmla="*/ 8197752 w 10069217"/>
              <a:gd name="connsiteY522" fmla="*/ 911972 h 6858001"/>
              <a:gd name="connsiteX523" fmla="*/ 8194925 w 10069217"/>
              <a:gd name="connsiteY523" fmla="*/ 903068 h 6858001"/>
              <a:gd name="connsiteX524" fmla="*/ 8194925 w 10069217"/>
              <a:gd name="connsiteY524" fmla="*/ 863980 h 6858001"/>
              <a:gd name="connsiteX525" fmla="*/ 8195540 w 10069217"/>
              <a:gd name="connsiteY525" fmla="*/ 863408 h 6858001"/>
              <a:gd name="connsiteX526" fmla="*/ 8211517 w 10069217"/>
              <a:gd name="connsiteY526" fmla="*/ 863408 h 6858001"/>
              <a:gd name="connsiteX527" fmla="*/ 8212992 w 10069217"/>
              <a:gd name="connsiteY527" fmla="*/ 861937 h 6858001"/>
              <a:gd name="connsiteX528" fmla="*/ 8212992 w 10069217"/>
              <a:gd name="connsiteY528" fmla="*/ 853238 h 6858001"/>
              <a:gd name="connsiteX529" fmla="*/ 8211517 w 10069217"/>
              <a:gd name="connsiteY529" fmla="*/ 851726 h 6858001"/>
              <a:gd name="connsiteX530" fmla="*/ 8195540 w 10069217"/>
              <a:gd name="connsiteY530" fmla="*/ 851726 h 6858001"/>
              <a:gd name="connsiteX531" fmla="*/ 8194925 w 10069217"/>
              <a:gd name="connsiteY531" fmla="*/ 851154 h 6858001"/>
              <a:gd name="connsiteX532" fmla="*/ 8194925 w 10069217"/>
              <a:gd name="connsiteY532" fmla="*/ 833755 h 6858001"/>
              <a:gd name="connsiteX533" fmla="*/ 8193451 w 10069217"/>
              <a:gd name="connsiteY533" fmla="*/ 832284 h 6858001"/>
              <a:gd name="connsiteX534" fmla="*/ 8182799 w 10069217"/>
              <a:gd name="connsiteY534" fmla="*/ 832284 h 6858001"/>
              <a:gd name="connsiteX535" fmla="*/ 8525556 w 10069217"/>
              <a:gd name="connsiteY535" fmla="*/ 823839 h 6858001"/>
              <a:gd name="connsiteX536" fmla="*/ 8524087 w 10069217"/>
              <a:gd name="connsiteY536" fmla="*/ 825306 h 6858001"/>
              <a:gd name="connsiteX537" fmla="*/ 8524087 w 10069217"/>
              <a:gd name="connsiteY537" fmla="*/ 925344 h 6858001"/>
              <a:gd name="connsiteX538" fmla="*/ 8525556 w 10069217"/>
              <a:gd name="connsiteY538" fmla="*/ 926811 h 6858001"/>
              <a:gd name="connsiteX539" fmla="*/ 8536737 w 10069217"/>
              <a:gd name="connsiteY539" fmla="*/ 926811 h 6858001"/>
              <a:gd name="connsiteX540" fmla="*/ 8538206 w 10069217"/>
              <a:gd name="connsiteY540" fmla="*/ 925344 h 6858001"/>
              <a:gd name="connsiteX541" fmla="*/ 8538206 w 10069217"/>
              <a:gd name="connsiteY541" fmla="*/ 879461 h 6858001"/>
              <a:gd name="connsiteX542" fmla="*/ 8542653 w 10069217"/>
              <a:gd name="connsiteY542" fmla="*/ 867685 h 6858001"/>
              <a:gd name="connsiteX543" fmla="*/ 8553998 w 10069217"/>
              <a:gd name="connsiteY543" fmla="*/ 863121 h 6858001"/>
              <a:gd name="connsiteX544" fmla="*/ 8565342 w 10069217"/>
              <a:gd name="connsiteY544" fmla="*/ 867685 h 6858001"/>
              <a:gd name="connsiteX545" fmla="*/ 8569586 w 10069217"/>
              <a:gd name="connsiteY545" fmla="*/ 879584 h 6858001"/>
              <a:gd name="connsiteX546" fmla="*/ 8569586 w 10069217"/>
              <a:gd name="connsiteY546" fmla="*/ 925344 h 6858001"/>
              <a:gd name="connsiteX547" fmla="*/ 8571055 w 10069217"/>
              <a:gd name="connsiteY547" fmla="*/ 926811 h 6858001"/>
              <a:gd name="connsiteX548" fmla="*/ 8582276 w 10069217"/>
              <a:gd name="connsiteY548" fmla="*/ 926811 h 6858001"/>
              <a:gd name="connsiteX549" fmla="*/ 8583745 w 10069217"/>
              <a:gd name="connsiteY549" fmla="*/ 925344 h 6858001"/>
              <a:gd name="connsiteX550" fmla="*/ 8583745 w 10069217"/>
              <a:gd name="connsiteY550" fmla="*/ 876813 h 6858001"/>
              <a:gd name="connsiteX551" fmla="*/ 8576686 w 10069217"/>
              <a:gd name="connsiteY551" fmla="*/ 857905 h 6858001"/>
              <a:gd name="connsiteX552" fmla="*/ 8557507 w 10069217"/>
              <a:gd name="connsiteY552" fmla="*/ 850897 h 6858001"/>
              <a:gd name="connsiteX553" fmla="*/ 8538818 w 10069217"/>
              <a:gd name="connsiteY553" fmla="*/ 859006 h 6858001"/>
              <a:gd name="connsiteX554" fmla="*/ 8538450 w 10069217"/>
              <a:gd name="connsiteY554" fmla="*/ 859128 h 6858001"/>
              <a:gd name="connsiteX555" fmla="*/ 8538206 w 10069217"/>
              <a:gd name="connsiteY555" fmla="*/ 858720 h 6858001"/>
              <a:gd name="connsiteX556" fmla="*/ 8538206 w 10069217"/>
              <a:gd name="connsiteY556" fmla="*/ 825306 h 6858001"/>
              <a:gd name="connsiteX557" fmla="*/ 8536737 w 10069217"/>
              <a:gd name="connsiteY557" fmla="*/ 823839 h 6858001"/>
              <a:gd name="connsiteX558" fmla="*/ 8525556 w 10069217"/>
              <a:gd name="connsiteY558" fmla="*/ 823839 h 6858001"/>
              <a:gd name="connsiteX559" fmla="*/ 9357124 w 10069217"/>
              <a:gd name="connsiteY559" fmla="*/ 821115 h 6858001"/>
              <a:gd name="connsiteX560" fmla="*/ 9350272 w 10069217"/>
              <a:gd name="connsiteY560" fmla="*/ 823798 h 6858001"/>
              <a:gd name="connsiteX561" fmla="*/ 9347589 w 10069217"/>
              <a:gd name="connsiteY561" fmla="*/ 830650 h 6858001"/>
              <a:gd name="connsiteX562" fmla="*/ 9350272 w 10069217"/>
              <a:gd name="connsiteY562" fmla="*/ 837501 h 6858001"/>
              <a:gd name="connsiteX563" fmla="*/ 9357124 w 10069217"/>
              <a:gd name="connsiteY563" fmla="*/ 840184 h 6858001"/>
              <a:gd name="connsiteX564" fmla="*/ 9364017 w 10069217"/>
              <a:gd name="connsiteY564" fmla="*/ 837501 h 6858001"/>
              <a:gd name="connsiteX565" fmla="*/ 9366658 w 10069217"/>
              <a:gd name="connsiteY565" fmla="*/ 830650 h 6858001"/>
              <a:gd name="connsiteX566" fmla="*/ 9364017 w 10069217"/>
              <a:gd name="connsiteY566" fmla="*/ 823798 h 6858001"/>
              <a:gd name="connsiteX567" fmla="*/ 9357124 w 10069217"/>
              <a:gd name="connsiteY567" fmla="*/ 821115 h 6858001"/>
              <a:gd name="connsiteX568" fmla="*/ 7508968 w 10069217"/>
              <a:gd name="connsiteY568" fmla="*/ 615717 h 6858001"/>
              <a:gd name="connsiteX569" fmla="*/ 7546732 w 10069217"/>
              <a:gd name="connsiteY569" fmla="*/ 615717 h 6858001"/>
              <a:gd name="connsiteX570" fmla="*/ 7551574 w 10069217"/>
              <a:gd name="connsiteY570" fmla="*/ 620168 h 6858001"/>
              <a:gd name="connsiteX571" fmla="*/ 7551574 w 10069217"/>
              <a:gd name="connsiteY571" fmla="*/ 716582 h 6858001"/>
              <a:gd name="connsiteX572" fmla="*/ 7544779 w 10069217"/>
              <a:gd name="connsiteY572" fmla="*/ 723238 h 6858001"/>
              <a:gd name="connsiteX573" fmla="*/ 7523821 w 10069217"/>
              <a:gd name="connsiteY573" fmla="*/ 722993 h 6858001"/>
              <a:gd name="connsiteX574" fmla="*/ 7508968 w 10069217"/>
              <a:gd name="connsiteY574" fmla="*/ 722993 h 6858001"/>
              <a:gd name="connsiteX575" fmla="*/ 7490900 w 10069217"/>
              <a:gd name="connsiteY575" fmla="*/ 717725 h 6858001"/>
              <a:gd name="connsiteX576" fmla="*/ 7485651 w 10069217"/>
              <a:gd name="connsiteY576" fmla="*/ 699594 h 6858001"/>
              <a:gd name="connsiteX577" fmla="*/ 7485651 w 10069217"/>
              <a:gd name="connsiteY577" fmla="*/ 639524 h 6858001"/>
              <a:gd name="connsiteX578" fmla="*/ 7490900 w 10069217"/>
              <a:gd name="connsiteY578" fmla="*/ 621148 h 6858001"/>
              <a:gd name="connsiteX579" fmla="*/ 7508968 w 10069217"/>
              <a:gd name="connsiteY579" fmla="*/ 615717 h 6858001"/>
              <a:gd name="connsiteX580" fmla="*/ 8444498 w 10069217"/>
              <a:gd name="connsiteY580" fmla="*/ 598282 h 6858001"/>
              <a:gd name="connsiteX581" fmla="*/ 8472645 w 10069217"/>
              <a:gd name="connsiteY581" fmla="*/ 598282 h 6858001"/>
              <a:gd name="connsiteX582" fmla="*/ 8506380 w 10069217"/>
              <a:gd name="connsiteY582" fmla="*/ 632833 h 6858001"/>
              <a:gd name="connsiteX583" fmla="*/ 8506380 w 10069217"/>
              <a:gd name="connsiteY583" fmla="*/ 717331 h 6858001"/>
              <a:gd name="connsiteX584" fmla="*/ 8472645 w 10069217"/>
              <a:gd name="connsiteY584" fmla="*/ 751922 h 6858001"/>
              <a:gd name="connsiteX585" fmla="*/ 8444498 w 10069217"/>
              <a:gd name="connsiteY585" fmla="*/ 751922 h 6858001"/>
              <a:gd name="connsiteX586" fmla="*/ 8410763 w 10069217"/>
              <a:gd name="connsiteY586" fmla="*/ 717331 h 6858001"/>
              <a:gd name="connsiteX587" fmla="*/ 8410763 w 10069217"/>
              <a:gd name="connsiteY587" fmla="*/ 632833 h 6858001"/>
              <a:gd name="connsiteX588" fmla="*/ 8444498 w 10069217"/>
              <a:gd name="connsiteY588" fmla="*/ 598282 h 6858001"/>
              <a:gd name="connsiteX589" fmla="*/ 9042654 w 10069217"/>
              <a:gd name="connsiteY589" fmla="*/ 598010 h 6858001"/>
              <a:gd name="connsiteX590" fmla="*/ 9098962 w 10069217"/>
              <a:gd name="connsiteY590" fmla="*/ 598010 h 6858001"/>
              <a:gd name="connsiteX591" fmla="*/ 9102963 w 10069217"/>
              <a:gd name="connsiteY591" fmla="*/ 601650 h 6858001"/>
              <a:gd name="connsiteX592" fmla="*/ 9102963 w 10069217"/>
              <a:gd name="connsiteY592" fmla="*/ 714866 h 6858001"/>
              <a:gd name="connsiteX593" fmla="*/ 9093327 w 10069217"/>
              <a:gd name="connsiteY593" fmla="*/ 742270 h 6858001"/>
              <a:gd name="connsiteX594" fmla="*/ 9065561 w 10069217"/>
              <a:gd name="connsiteY594" fmla="*/ 751923 h 6858001"/>
              <a:gd name="connsiteX595" fmla="*/ 9042654 w 10069217"/>
              <a:gd name="connsiteY595" fmla="*/ 751923 h 6858001"/>
              <a:gd name="connsiteX596" fmla="*/ 9009253 w 10069217"/>
              <a:gd name="connsiteY596" fmla="*/ 716870 h 6858001"/>
              <a:gd name="connsiteX597" fmla="*/ 9009253 w 10069217"/>
              <a:gd name="connsiteY597" fmla="*/ 633062 h 6858001"/>
              <a:gd name="connsiteX598" fmla="*/ 9042654 w 10069217"/>
              <a:gd name="connsiteY598" fmla="*/ 598010 h 6858001"/>
              <a:gd name="connsiteX599" fmla="*/ 9496025 w 10069217"/>
              <a:gd name="connsiteY599" fmla="*/ 572403 h 6858001"/>
              <a:gd name="connsiteX600" fmla="*/ 9486390 w 10069217"/>
              <a:gd name="connsiteY600" fmla="*/ 577630 h 6858001"/>
              <a:gd name="connsiteX601" fmla="*/ 9429271 w 10069217"/>
              <a:gd name="connsiteY601" fmla="*/ 667717 h 6858001"/>
              <a:gd name="connsiteX602" fmla="*/ 9429271 w 10069217"/>
              <a:gd name="connsiteY602" fmla="*/ 676171 h 6858001"/>
              <a:gd name="connsiteX603" fmla="*/ 9491208 w 10069217"/>
              <a:gd name="connsiteY603" fmla="*/ 771894 h 6858001"/>
              <a:gd name="connsiteX604" fmla="*/ 9502476 w 10069217"/>
              <a:gd name="connsiteY604" fmla="*/ 777529 h 6858001"/>
              <a:gd name="connsiteX605" fmla="*/ 9521339 w 10069217"/>
              <a:gd name="connsiteY605" fmla="*/ 777529 h 6858001"/>
              <a:gd name="connsiteX606" fmla="*/ 9525789 w 10069217"/>
              <a:gd name="connsiteY606" fmla="*/ 775733 h 6858001"/>
              <a:gd name="connsiteX607" fmla="*/ 9525381 w 10069217"/>
              <a:gd name="connsiteY607" fmla="*/ 771118 h 6858001"/>
              <a:gd name="connsiteX608" fmla="*/ 9460219 w 10069217"/>
              <a:gd name="connsiteY608" fmla="*/ 672169 h 6858001"/>
              <a:gd name="connsiteX609" fmla="*/ 9460219 w 10069217"/>
              <a:gd name="connsiteY609" fmla="*/ 670535 h 6858001"/>
              <a:gd name="connsiteX610" fmla="*/ 9519338 w 10069217"/>
              <a:gd name="connsiteY610" fmla="*/ 578855 h 6858001"/>
              <a:gd name="connsiteX611" fmla="*/ 9520359 w 10069217"/>
              <a:gd name="connsiteY611" fmla="*/ 574200 h 6858001"/>
              <a:gd name="connsiteX612" fmla="*/ 9516113 w 10069217"/>
              <a:gd name="connsiteY612" fmla="*/ 572403 h 6858001"/>
              <a:gd name="connsiteX613" fmla="*/ 9496025 w 10069217"/>
              <a:gd name="connsiteY613" fmla="*/ 572403 h 6858001"/>
              <a:gd name="connsiteX614" fmla="*/ 9317686 w 10069217"/>
              <a:gd name="connsiteY614" fmla="*/ 572403 h 6858001"/>
              <a:gd name="connsiteX615" fmla="*/ 9312448 w 10069217"/>
              <a:gd name="connsiteY615" fmla="*/ 578038 h 6858001"/>
              <a:gd name="connsiteX616" fmla="*/ 9312448 w 10069217"/>
              <a:gd name="connsiteY616" fmla="*/ 771935 h 6858001"/>
              <a:gd name="connsiteX617" fmla="*/ 9318095 w 10069217"/>
              <a:gd name="connsiteY617" fmla="*/ 777529 h 6858001"/>
              <a:gd name="connsiteX618" fmla="*/ 9336263 w 10069217"/>
              <a:gd name="connsiteY618" fmla="*/ 777529 h 6858001"/>
              <a:gd name="connsiteX619" fmla="*/ 9341869 w 10069217"/>
              <a:gd name="connsiteY619" fmla="*/ 771935 h 6858001"/>
              <a:gd name="connsiteX620" fmla="*/ 9341869 w 10069217"/>
              <a:gd name="connsiteY620" fmla="*/ 578038 h 6858001"/>
              <a:gd name="connsiteX621" fmla="*/ 9336263 w 10069217"/>
              <a:gd name="connsiteY621" fmla="*/ 572403 h 6858001"/>
              <a:gd name="connsiteX622" fmla="*/ 9317686 w 10069217"/>
              <a:gd name="connsiteY622" fmla="*/ 572403 h 6858001"/>
              <a:gd name="connsiteX623" fmla="*/ 9039415 w 10069217"/>
              <a:gd name="connsiteY623" fmla="*/ 572403 h 6858001"/>
              <a:gd name="connsiteX624" fmla="*/ 8995770 w 10069217"/>
              <a:gd name="connsiteY624" fmla="*/ 588085 h 6858001"/>
              <a:gd name="connsiteX625" fmla="*/ 8979833 w 10069217"/>
              <a:gd name="connsiteY625" fmla="*/ 631944 h 6858001"/>
              <a:gd name="connsiteX626" fmla="*/ 8979833 w 10069217"/>
              <a:gd name="connsiteY626" fmla="*/ 718029 h 6858001"/>
              <a:gd name="connsiteX627" fmla="*/ 8995770 w 10069217"/>
              <a:gd name="connsiteY627" fmla="*/ 761848 h 6858001"/>
              <a:gd name="connsiteX628" fmla="*/ 9039415 w 10069217"/>
              <a:gd name="connsiteY628" fmla="*/ 777529 h 6858001"/>
              <a:gd name="connsiteX629" fmla="*/ 9060338 w 10069217"/>
              <a:gd name="connsiteY629" fmla="*/ 777529 h 6858001"/>
              <a:gd name="connsiteX630" fmla="*/ 9101408 w 10069217"/>
              <a:gd name="connsiteY630" fmla="*/ 756212 h 6858001"/>
              <a:gd name="connsiteX631" fmla="*/ 9103001 w 10069217"/>
              <a:gd name="connsiteY631" fmla="*/ 756212 h 6858001"/>
              <a:gd name="connsiteX632" fmla="*/ 9103001 w 10069217"/>
              <a:gd name="connsiteY632" fmla="*/ 771935 h 6858001"/>
              <a:gd name="connsiteX633" fmla="*/ 9108641 w 10069217"/>
              <a:gd name="connsiteY633" fmla="*/ 777529 h 6858001"/>
              <a:gd name="connsiteX634" fmla="*/ 9126785 w 10069217"/>
              <a:gd name="connsiteY634" fmla="*/ 777529 h 6858001"/>
              <a:gd name="connsiteX635" fmla="*/ 9132384 w 10069217"/>
              <a:gd name="connsiteY635" fmla="*/ 771935 h 6858001"/>
              <a:gd name="connsiteX636" fmla="*/ 9132384 w 10069217"/>
              <a:gd name="connsiteY636" fmla="*/ 578038 h 6858001"/>
              <a:gd name="connsiteX637" fmla="*/ 9126785 w 10069217"/>
              <a:gd name="connsiteY637" fmla="*/ 572403 h 6858001"/>
              <a:gd name="connsiteX638" fmla="*/ 9039415 w 10069217"/>
              <a:gd name="connsiteY638" fmla="*/ 572403 h 6858001"/>
              <a:gd name="connsiteX639" fmla="*/ 8693982 w 10069217"/>
              <a:gd name="connsiteY639" fmla="*/ 572403 h 6858001"/>
              <a:gd name="connsiteX640" fmla="*/ 8688351 w 10069217"/>
              <a:gd name="connsiteY640" fmla="*/ 578038 h 6858001"/>
              <a:gd name="connsiteX641" fmla="*/ 8688351 w 10069217"/>
              <a:gd name="connsiteY641" fmla="*/ 771894 h 6858001"/>
              <a:gd name="connsiteX642" fmla="*/ 8693982 w 10069217"/>
              <a:gd name="connsiteY642" fmla="*/ 777529 h 6858001"/>
              <a:gd name="connsiteX643" fmla="*/ 8712056 w 10069217"/>
              <a:gd name="connsiteY643" fmla="*/ 777529 h 6858001"/>
              <a:gd name="connsiteX644" fmla="*/ 8717686 w 10069217"/>
              <a:gd name="connsiteY644" fmla="*/ 771894 h 6858001"/>
              <a:gd name="connsiteX645" fmla="*/ 8717686 w 10069217"/>
              <a:gd name="connsiteY645" fmla="*/ 635170 h 6858001"/>
              <a:gd name="connsiteX646" fmla="*/ 8727315 w 10069217"/>
              <a:gd name="connsiteY646" fmla="*/ 607809 h 6858001"/>
              <a:gd name="connsiteX647" fmla="*/ 8755059 w 10069217"/>
              <a:gd name="connsiteY647" fmla="*/ 598171 h 6858001"/>
              <a:gd name="connsiteX648" fmla="*/ 8769910 w 10069217"/>
              <a:gd name="connsiteY648" fmla="*/ 598171 h 6858001"/>
              <a:gd name="connsiteX649" fmla="*/ 8803692 w 10069217"/>
              <a:gd name="connsiteY649" fmla="*/ 633128 h 6858001"/>
              <a:gd name="connsiteX650" fmla="*/ 8803692 w 10069217"/>
              <a:gd name="connsiteY650" fmla="*/ 771894 h 6858001"/>
              <a:gd name="connsiteX651" fmla="*/ 8809322 w 10069217"/>
              <a:gd name="connsiteY651" fmla="*/ 777529 h 6858001"/>
              <a:gd name="connsiteX652" fmla="*/ 8827396 w 10069217"/>
              <a:gd name="connsiteY652" fmla="*/ 777529 h 6858001"/>
              <a:gd name="connsiteX653" fmla="*/ 8833027 w 10069217"/>
              <a:gd name="connsiteY653" fmla="*/ 771894 h 6858001"/>
              <a:gd name="connsiteX654" fmla="*/ 8833027 w 10069217"/>
              <a:gd name="connsiteY654" fmla="*/ 636354 h 6858001"/>
              <a:gd name="connsiteX655" fmla="*/ 8842859 w 10069217"/>
              <a:gd name="connsiteY655" fmla="*/ 608422 h 6858001"/>
              <a:gd name="connsiteX656" fmla="*/ 8870807 w 10069217"/>
              <a:gd name="connsiteY656" fmla="*/ 598171 h 6858001"/>
              <a:gd name="connsiteX657" fmla="*/ 8884067 w 10069217"/>
              <a:gd name="connsiteY657" fmla="*/ 598171 h 6858001"/>
              <a:gd name="connsiteX658" fmla="*/ 8917808 w 10069217"/>
              <a:gd name="connsiteY658" fmla="*/ 633128 h 6858001"/>
              <a:gd name="connsiteX659" fmla="*/ 8917808 w 10069217"/>
              <a:gd name="connsiteY659" fmla="*/ 771894 h 6858001"/>
              <a:gd name="connsiteX660" fmla="*/ 8923439 w 10069217"/>
              <a:gd name="connsiteY660" fmla="*/ 777529 h 6858001"/>
              <a:gd name="connsiteX661" fmla="*/ 8941513 w 10069217"/>
              <a:gd name="connsiteY661" fmla="*/ 777529 h 6858001"/>
              <a:gd name="connsiteX662" fmla="*/ 8947143 w 10069217"/>
              <a:gd name="connsiteY662" fmla="*/ 771894 h 6858001"/>
              <a:gd name="connsiteX663" fmla="*/ 8947143 w 10069217"/>
              <a:gd name="connsiteY663" fmla="*/ 631944 h 6858001"/>
              <a:gd name="connsiteX664" fmla="*/ 8931884 w 10069217"/>
              <a:gd name="connsiteY664" fmla="*/ 588085 h 6858001"/>
              <a:gd name="connsiteX665" fmla="*/ 8889289 w 10069217"/>
              <a:gd name="connsiteY665" fmla="*/ 572403 h 6858001"/>
              <a:gd name="connsiteX666" fmla="*/ 8875213 w 10069217"/>
              <a:gd name="connsiteY666" fmla="*/ 572403 h 6858001"/>
              <a:gd name="connsiteX667" fmla="*/ 8846082 w 10069217"/>
              <a:gd name="connsiteY667" fmla="*/ 579427 h 6858001"/>
              <a:gd name="connsiteX668" fmla="*/ 8825805 w 10069217"/>
              <a:gd name="connsiteY668" fmla="*/ 599764 h 6858001"/>
              <a:gd name="connsiteX669" fmla="*/ 8776764 w 10069217"/>
              <a:gd name="connsiteY669" fmla="*/ 572403 h 6858001"/>
              <a:gd name="connsiteX670" fmla="*/ 8761872 w 10069217"/>
              <a:gd name="connsiteY670" fmla="*/ 572403 h 6858001"/>
              <a:gd name="connsiteX671" fmla="*/ 8719278 w 10069217"/>
              <a:gd name="connsiteY671" fmla="*/ 593720 h 6858001"/>
              <a:gd name="connsiteX672" fmla="*/ 8717686 w 10069217"/>
              <a:gd name="connsiteY672" fmla="*/ 593720 h 6858001"/>
              <a:gd name="connsiteX673" fmla="*/ 8717686 w 10069217"/>
              <a:gd name="connsiteY673" fmla="*/ 578038 h 6858001"/>
              <a:gd name="connsiteX674" fmla="*/ 8712056 w 10069217"/>
              <a:gd name="connsiteY674" fmla="*/ 572403 h 6858001"/>
              <a:gd name="connsiteX675" fmla="*/ 8693982 w 10069217"/>
              <a:gd name="connsiteY675" fmla="*/ 572403 h 6858001"/>
              <a:gd name="connsiteX676" fmla="*/ 8572978 w 10069217"/>
              <a:gd name="connsiteY676" fmla="*/ 572403 h 6858001"/>
              <a:gd name="connsiteX677" fmla="*/ 8567400 w 10069217"/>
              <a:gd name="connsiteY677" fmla="*/ 578038 h 6858001"/>
              <a:gd name="connsiteX678" fmla="*/ 8567400 w 10069217"/>
              <a:gd name="connsiteY678" fmla="*/ 771894 h 6858001"/>
              <a:gd name="connsiteX679" fmla="*/ 8572978 w 10069217"/>
              <a:gd name="connsiteY679" fmla="*/ 777529 h 6858001"/>
              <a:gd name="connsiteX680" fmla="*/ 8591055 w 10069217"/>
              <a:gd name="connsiteY680" fmla="*/ 777529 h 6858001"/>
              <a:gd name="connsiteX681" fmla="*/ 8596633 w 10069217"/>
              <a:gd name="connsiteY681" fmla="*/ 771894 h 6858001"/>
              <a:gd name="connsiteX682" fmla="*/ 8596633 w 10069217"/>
              <a:gd name="connsiteY682" fmla="*/ 638764 h 6858001"/>
              <a:gd name="connsiteX683" fmla="*/ 8606282 w 10069217"/>
              <a:gd name="connsiteY683" fmla="*/ 609034 h 6858001"/>
              <a:gd name="connsiteX684" fmla="*/ 8633967 w 10069217"/>
              <a:gd name="connsiteY684" fmla="*/ 598171 h 6858001"/>
              <a:gd name="connsiteX685" fmla="*/ 8655626 w 10069217"/>
              <a:gd name="connsiteY685" fmla="*/ 598171 h 6858001"/>
              <a:gd name="connsiteX686" fmla="*/ 8659616 w 10069217"/>
              <a:gd name="connsiteY686" fmla="*/ 597150 h 6858001"/>
              <a:gd name="connsiteX687" fmla="*/ 8660838 w 10069217"/>
              <a:gd name="connsiteY687" fmla="*/ 592903 h 6858001"/>
              <a:gd name="connsiteX688" fmla="*/ 8660838 w 10069217"/>
              <a:gd name="connsiteY688" fmla="*/ 578038 h 6858001"/>
              <a:gd name="connsiteX689" fmla="*/ 8655626 w 10069217"/>
              <a:gd name="connsiteY689" fmla="*/ 572403 h 6858001"/>
              <a:gd name="connsiteX690" fmla="*/ 8639952 w 10069217"/>
              <a:gd name="connsiteY690" fmla="*/ 572403 h 6858001"/>
              <a:gd name="connsiteX691" fmla="*/ 8613488 w 10069217"/>
              <a:gd name="connsiteY691" fmla="*/ 578855 h 6858001"/>
              <a:gd name="connsiteX692" fmla="*/ 8598261 w 10069217"/>
              <a:gd name="connsiteY692" fmla="*/ 594128 h 6858001"/>
              <a:gd name="connsiteX693" fmla="*/ 8596633 w 10069217"/>
              <a:gd name="connsiteY693" fmla="*/ 594128 h 6858001"/>
              <a:gd name="connsiteX694" fmla="*/ 8596633 w 10069217"/>
              <a:gd name="connsiteY694" fmla="*/ 578038 h 6858001"/>
              <a:gd name="connsiteX695" fmla="*/ 8591055 w 10069217"/>
              <a:gd name="connsiteY695" fmla="*/ 572403 h 6858001"/>
              <a:gd name="connsiteX696" fmla="*/ 8572978 w 10069217"/>
              <a:gd name="connsiteY696" fmla="*/ 572403 h 6858001"/>
              <a:gd name="connsiteX697" fmla="*/ 8441286 w 10069217"/>
              <a:gd name="connsiteY697" fmla="*/ 572403 h 6858001"/>
              <a:gd name="connsiteX698" fmla="*/ 8397746 w 10069217"/>
              <a:gd name="connsiteY698" fmla="*/ 588085 h 6858001"/>
              <a:gd name="connsiteX699" fmla="*/ 8381887 w 10069217"/>
              <a:gd name="connsiteY699" fmla="*/ 631944 h 6858001"/>
              <a:gd name="connsiteX700" fmla="*/ 8381887 w 10069217"/>
              <a:gd name="connsiteY700" fmla="*/ 718029 h 6858001"/>
              <a:gd name="connsiteX701" fmla="*/ 8397746 w 10069217"/>
              <a:gd name="connsiteY701" fmla="*/ 761848 h 6858001"/>
              <a:gd name="connsiteX702" fmla="*/ 8441286 w 10069217"/>
              <a:gd name="connsiteY702" fmla="*/ 777529 h 6858001"/>
              <a:gd name="connsiteX703" fmla="*/ 8475816 w 10069217"/>
              <a:gd name="connsiteY703" fmla="*/ 777529 h 6858001"/>
              <a:gd name="connsiteX704" fmla="*/ 8519397 w 10069217"/>
              <a:gd name="connsiteY704" fmla="*/ 761848 h 6858001"/>
              <a:gd name="connsiteX705" fmla="*/ 8535256 w 10069217"/>
              <a:gd name="connsiteY705" fmla="*/ 718029 h 6858001"/>
              <a:gd name="connsiteX706" fmla="*/ 8535256 w 10069217"/>
              <a:gd name="connsiteY706" fmla="*/ 631944 h 6858001"/>
              <a:gd name="connsiteX707" fmla="*/ 8519397 w 10069217"/>
              <a:gd name="connsiteY707" fmla="*/ 588085 h 6858001"/>
              <a:gd name="connsiteX708" fmla="*/ 8475816 w 10069217"/>
              <a:gd name="connsiteY708" fmla="*/ 572403 h 6858001"/>
              <a:gd name="connsiteX709" fmla="*/ 8441286 w 10069217"/>
              <a:gd name="connsiteY709" fmla="*/ 572403 h 6858001"/>
              <a:gd name="connsiteX710" fmla="*/ 8088680 w 10069217"/>
              <a:gd name="connsiteY710" fmla="*/ 572403 h 6858001"/>
              <a:gd name="connsiteX711" fmla="*/ 8083051 w 10069217"/>
              <a:gd name="connsiteY711" fmla="*/ 578038 h 6858001"/>
              <a:gd name="connsiteX712" fmla="*/ 8083051 w 10069217"/>
              <a:gd name="connsiteY712" fmla="*/ 771894 h 6858001"/>
              <a:gd name="connsiteX713" fmla="*/ 8088680 w 10069217"/>
              <a:gd name="connsiteY713" fmla="*/ 777529 h 6858001"/>
              <a:gd name="connsiteX714" fmla="*/ 8106751 w 10069217"/>
              <a:gd name="connsiteY714" fmla="*/ 777529 h 6858001"/>
              <a:gd name="connsiteX715" fmla="*/ 8112381 w 10069217"/>
              <a:gd name="connsiteY715" fmla="*/ 771894 h 6858001"/>
              <a:gd name="connsiteX716" fmla="*/ 8112381 w 10069217"/>
              <a:gd name="connsiteY716" fmla="*/ 635170 h 6858001"/>
              <a:gd name="connsiteX717" fmla="*/ 8122008 w 10069217"/>
              <a:gd name="connsiteY717" fmla="*/ 607809 h 6858001"/>
              <a:gd name="connsiteX718" fmla="*/ 8149747 w 10069217"/>
              <a:gd name="connsiteY718" fmla="*/ 598171 h 6858001"/>
              <a:gd name="connsiteX719" fmla="*/ 8172264 w 10069217"/>
              <a:gd name="connsiteY719" fmla="*/ 598171 h 6858001"/>
              <a:gd name="connsiteX720" fmla="*/ 8206000 w 10069217"/>
              <a:gd name="connsiteY720" fmla="*/ 633128 h 6858001"/>
              <a:gd name="connsiteX721" fmla="*/ 8206000 w 10069217"/>
              <a:gd name="connsiteY721" fmla="*/ 771894 h 6858001"/>
              <a:gd name="connsiteX722" fmla="*/ 8211629 w 10069217"/>
              <a:gd name="connsiteY722" fmla="*/ 777529 h 6858001"/>
              <a:gd name="connsiteX723" fmla="*/ 8229700 w 10069217"/>
              <a:gd name="connsiteY723" fmla="*/ 777529 h 6858001"/>
              <a:gd name="connsiteX724" fmla="*/ 8235329 w 10069217"/>
              <a:gd name="connsiteY724" fmla="*/ 771894 h 6858001"/>
              <a:gd name="connsiteX725" fmla="*/ 8235329 w 10069217"/>
              <a:gd name="connsiteY725" fmla="*/ 631944 h 6858001"/>
              <a:gd name="connsiteX726" fmla="*/ 8220073 w 10069217"/>
              <a:gd name="connsiteY726" fmla="*/ 588085 h 6858001"/>
              <a:gd name="connsiteX727" fmla="*/ 8177486 w 10069217"/>
              <a:gd name="connsiteY727" fmla="*/ 572403 h 6858001"/>
              <a:gd name="connsiteX728" fmla="*/ 8154968 w 10069217"/>
              <a:gd name="connsiteY728" fmla="*/ 572403 h 6858001"/>
              <a:gd name="connsiteX729" fmla="*/ 8113972 w 10069217"/>
              <a:gd name="connsiteY729" fmla="*/ 593720 h 6858001"/>
              <a:gd name="connsiteX730" fmla="*/ 8112381 w 10069217"/>
              <a:gd name="connsiteY730" fmla="*/ 593720 h 6858001"/>
              <a:gd name="connsiteX731" fmla="*/ 8112381 w 10069217"/>
              <a:gd name="connsiteY731" fmla="*/ 578038 h 6858001"/>
              <a:gd name="connsiteX732" fmla="*/ 8106751 w 10069217"/>
              <a:gd name="connsiteY732" fmla="*/ 572403 h 6858001"/>
              <a:gd name="connsiteX733" fmla="*/ 8088680 w 10069217"/>
              <a:gd name="connsiteY733" fmla="*/ 572403 h 6858001"/>
              <a:gd name="connsiteX734" fmla="*/ 8021003 w 10069217"/>
              <a:gd name="connsiteY734" fmla="*/ 572403 h 6858001"/>
              <a:gd name="connsiteX735" fmla="*/ 8015765 w 10069217"/>
              <a:gd name="connsiteY735" fmla="*/ 578038 h 6858001"/>
              <a:gd name="connsiteX736" fmla="*/ 8015765 w 10069217"/>
              <a:gd name="connsiteY736" fmla="*/ 771935 h 6858001"/>
              <a:gd name="connsiteX737" fmla="*/ 8021412 w 10069217"/>
              <a:gd name="connsiteY737" fmla="*/ 777529 h 6858001"/>
              <a:gd name="connsiteX738" fmla="*/ 8039539 w 10069217"/>
              <a:gd name="connsiteY738" fmla="*/ 777529 h 6858001"/>
              <a:gd name="connsiteX739" fmla="*/ 8045186 w 10069217"/>
              <a:gd name="connsiteY739" fmla="*/ 771935 h 6858001"/>
              <a:gd name="connsiteX740" fmla="*/ 8045186 w 10069217"/>
              <a:gd name="connsiteY740" fmla="*/ 578038 h 6858001"/>
              <a:gd name="connsiteX741" fmla="*/ 8039539 w 10069217"/>
              <a:gd name="connsiteY741" fmla="*/ 572403 h 6858001"/>
              <a:gd name="connsiteX742" fmla="*/ 8021003 w 10069217"/>
              <a:gd name="connsiteY742" fmla="*/ 572403 h 6858001"/>
              <a:gd name="connsiteX743" fmla="*/ 7744449 w 10069217"/>
              <a:gd name="connsiteY743" fmla="*/ 571313 h 6858001"/>
              <a:gd name="connsiteX744" fmla="*/ 7738407 w 10069217"/>
              <a:gd name="connsiteY744" fmla="*/ 579767 h 6858001"/>
              <a:gd name="connsiteX745" fmla="*/ 7788825 w 10069217"/>
              <a:gd name="connsiteY745" fmla="*/ 768123 h 6858001"/>
              <a:gd name="connsiteX746" fmla="*/ 7799684 w 10069217"/>
              <a:gd name="connsiteY746" fmla="*/ 776985 h 6858001"/>
              <a:gd name="connsiteX747" fmla="*/ 7850878 w 10069217"/>
              <a:gd name="connsiteY747" fmla="*/ 776985 h 6858001"/>
              <a:gd name="connsiteX748" fmla="*/ 7861778 w 10069217"/>
              <a:gd name="connsiteY748" fmla="*/ 768123 h 6858001"/>
              <a:gd name="connsiteX749" fmla="*/ 7912563 w 10069217"/>
              <a:gd name="connsiteY749" fmla="*/ 579767 h 6858001"/>
              <a:gd name="connsiteX750" fmla="*/ 7906521 w 10069217"/>
              <a:gd name="connsiteY750" fmla="*/ 571313 h 6858001"/>
              <a:gd name="connsiteX751" fmla="*/ 7871045 w 10069217"/>
              <a:gd name="connsiteY751" fmla="*/ 571313 h 6858001"/>
              <a:gd name="connsiteX752" fmla="*/ 7860961 w 10069217"/>
              <a:gd name="connsiteY752" fmla="*/ 579767 h 6858001"/>
              <a:gd name="connsiteX753" fmla="*/ 7827118 w 10069217"/>
              <a:gd name="connsiteY753" fmla="*/ 731407 h 6858001"/>
              <a:gd name="connsiteX754" fmla="*/ 7824260 w 10069217"/>
              <a:gd name="connsiteY754" fmla="*/ 731407 h 6858001"/>
              <a:gd name="connsiteX755" fmla="*/ 7789601 w 10069217"/>
              <a:gd name="connsiteY755" fmla="*/ 579767 h 6858001"/>
              <a:gd name="connsiteX756" fmla="*/ 7779925 w 10069217"/>
              <a:gd name="connsiteY756" fmla="*/ 571313 h 6858001"/>
              <a:gd name="connsiteX757" fmla="*/ 7744449 w 10069217"/>
              <a:gd name="connsiteY757" fmla="*/ 571313 h 6858001"/>
              <a:gd name="connsiteX758" fmla="*/ 7680644 w 10069217"/>
              <a:gd name="connsiteY758" fmla="*/ 571313 h 6858001"/>
              <a:gd name="connsiteX759" fmla="*/ 7666966 w 10069217"/>
              <a:gd name="connsiteY759" fmla="*/ 579359 h 6858001"/>
              <a:gd name="connsiteX760" fmla="*/ 7618586 w 10069217"/>
              <a:gd name="connsiteY760" fmla="*/ 665287 h 6858001"/>
              <a:gd name="connsiteX761" fmla="*/ 7618586 w 10069217"/>
              <a:gd name="connsiteY761" fmla="*/ 678601 h 6858001"/>
              <a:gd name="connsiteX762" fmla="*/ 7669784 w 10069217"/>
              <a:gd name="connsiteY762" fmla="*/ 768490 h 6858001"/>
              <a:gd name="connsiteX763" fmla="*/ 7676030 w 10069217"/>
              <a:gd name="connsiteY763" fmla="*/ 775351 h 6858001"/>
              <a:gd name="connsiteX764" fmla="*/ 7685910 w 10069217"/>
              <a:gd name="connsiteY764" fmla="*/ 776985 h 6858001"/>
              <a:gd name="connsiteX765" fmla="*/ 7720573 w 10069217"/>
              <a:gd name="connsiteY765" fmla="*/ 776985 h 6858001"/>
              <a:gd name="connsiteX766" fmla="*/ 7727840 w 10069217"/>
              <a:gd name="connsiteY766" fmla="*/ 773963 h 6858001"/>
              <a:gd name="connsiteX767" fmla="*/ 7727432 w 10069217"/>
              <a:gd name="connsiteY767" fmla="*/ 766897 h 6858001"/>
              <a:gd name="connsiteX768" fmla="*/ 7671376 w 10069217"/>
              <a:gd name="connsiteY768" fmla="*/ 671331 h 6858001"/>
              <a:gd name="connsiteX769" fmla="*/ 7671376 w 10069217"/>
              <a:gd name="connsiteY769" fmla="*/ 669698 h 6858001"/>
              <a:gd name="connsiteX770" fmla="*/ 7725023 w 10069217"/>
              <a:gd name="connsiteY770" fmla="*/ 581401 h 6858001"/>
              <a:gd name="connsiteX771" fmla="*/ 7726207 w 10069217"/>
              <a:gd name="connsiteY771" fmla="*/ 574131 h 6858001"/>
              <a:gd name="connsiteX772" fmla="*/ 7719756 w 10069217"/>
              <a:gd name="connsiteY772" fmla="*/ 571313 h 6858001"/>
              <a:gd name="connsiteX773" fmla="*/ 7680644 w 10069217"/>
              <a:gd name="connsiteY773" fmla="*/ 571313 h 6858001"/>
              <a:gd name="connsiteX774" fmla="*/ 7500888 w 10069217"/>
              <a:gd name="connsiteY774" fmla="*/ 571313 h 6858001"/>
              <a:gd name="connsiteX775" fmla="*/ 7451733 w 10069217"/>
              <a:gd name="connsiteY775" fmla="*/ 588267 h 6858001"/>
              <a:gd name="connsiteX776" fmla="*/ 7434437 w 10069217"/>
              <a:gd name="connsiteY776" fmla="*/ 637044 h 6858001"/>
              <a:gd name="connsiteX777" fmla="*/ 7434437 w 10069217"/>
              <a:gd name="connsiteY777" fmla="*/ 701998 h 6858001"/>
              <a:gd name="connsiteX778" fmla="*/ 7450305 w 10069217"/>
              <a:gd name="connsiteY778" fmla="*/ 750816 h 6858001"/>
              <a:gd name="connsiteX779" fmla="*/ 7497257 w 10069217"/>
              <a:gd name="connsiteY779" fmla="*/ 767769 h 6858001"/>
              <a:gd name="connsiteX780" fmla="*/ 7510556 w 10069217"/>
              <a:gd name="connsiteY780" fmla="*/ 767933 h 6858001"/>
              <a:gd name="connsiteX781" fmla="*/ 7534297 w 10069217"/>
              <a:gd name="connsiteY781" fmla="*/ 767933 h 6858001"/>
              <a:gd name="connsiteX782" fmla="*/ 7550002 w 10069217"/>
              <a:gd name="connsiteY782" fmla="*/ 767892 h 6858001"/>
              <a:gd name="connsiteX783" fmla="*/ 7551634 w 10069217"/>
              <a:gd name="connsiteY783" fmla="*/ 767892 h 6858001"/>
              <a:gd name="connsiteX784" fmla="*/ 7551634 w 10069217"/>
              <a:gd name="connsiteY784" fmla="*/ 776225 h 6858001"/>
              <a:gd name="connsiteX785" fmla="*/ 7546209 w 10069217"/>
              <a:gd name="connsiteY785" fmla="*/ 794200 h 6858001"/>
              <a:gd name="connsiteX786" fmla="*/ 7527852 w 10069217"/>
              <a:gd name="connsiteY786" fmla="*/ 799634 h 6858001"/>
              <a:gd name="connsiteX787" fmla="*/ 7458994 w 10069217"/>
              <a:gd name="connsiteY787" fmla="*/ 799634 h 6858001"/>
              <a:gd name="connsiteX788" fmla="*/ 7450509 w 10069217"/>
              <a:gd name="connsiteY788" fmla="*/ 808090 h 6858001"/>
              <a:gd name="connsiteX789" fmla="*/ 7450509 w 10069217"/>
              <a:gd name="connsiteY789" fmla="*/ 835910 h 6858001"/>
              <a:gd name="connsiteX790" fmla="*/ 7452345 w 10069217"/>
              <a:gd name="connsiteY790" fmla="*/ 842160 h 6858001"/>
              <a:gd name="connsiteX791" fmla="*/ 7458994 w 10069217"/>
              <a:gd name="connsiteY791" fmla="*/ 843998 h 6858001"/>
              <a:gd name="connsiteX792" fmla="*/ 7536337 w 10069217"/>
              <a:gd name="connsiteY792" fmla="*/ 843998 h 6858001"/>
              <a:gd name="connsiteX793" fmla="*/ 7585247 w 10069217"/>
              <a:gd name="connsiteY793" fmla="*/ 827045 h 6858001"/>
              <a:gd name="connsiteX794" fmla="*/ 7602788 w 10069217"/>
              <a:gd name="connsiteY794" fmla="*/ 778636 h 6858001"/>
              <a:gd name="connsiteX795" fmla="*/ 7602788 w 10069217"/>
              <a:gd name="connsiteY795" fmla="*/ 579770 h 6858001"/>
              <a:gd name="connsiteX796" fmla="*/ 7593895 w 10069217"/>
              <a:gd name="connsiteY796" fmla="*/ 571313 h 6858001"/>
              <a:gd name="connsiteX797" fmla="*/ 7500888 w 10069217"/>
              <a:gd name="connsiteY797" fmla="*/ 571313 h 6858001"/>
              <a:gd name="connsiteX798" fmla="*/ 9198957 w 10069217"/>
              <a:gd name="connsiteY798" fmla="*/ 528544 h 6858001"/>
              <a:gd name="connsiteX799" fmla="*/ 9193360 w 10069217"/>
              <a:gd name="connsiteY799" fmla="*/ 534180 h 6858001"/>
              <a:gd name="connsiteX800" fmla="*/ 9193360 w 10069217"/>
              <a:gd name="connsiteY800" fmla="*/ 568769 h 6858001"/>
              <a:gd name="connsiteX801" fmla="*/ 9189315 w 10069217"/>
              <a:gd name="connsiteY801" fmla="*/ 572404 h 6858001"/>
              <a:gd name="connsiteX802" fmla="*/ 9167170 w 10069217"/>
              <a:gd name="connsiteY802" fmla="*/ 572404 h 6858001"/>
              <a:gd name="connsiteX803" fmla="*/ 9161532 w 10069217"/>
              <a:gd name="connsiteY803" fmla="*/ 578039 h 6858001"/>
              <a:gd name="connsiteX804" fmla="*/ 9161532 w 10069217"/>
              <a:gd name="connsiteY804" fmla="*/ 592904 h 6858001"/>
              <a:gd name="connsiteX805" fmla="*/ 9167170 w 10069217"/>
              <a:gd name="connsiteY805" fmla="*/ 598131 h 6858001"/>
              <a:gd name="connsiteX806" fmla="*/ 9189315 w 10069217"/>
              <a:gd name="connsiteY806" fmla="*/ 598131 h 6858001"/>
              <a:gd name="connsiteX807" fmla="*/ 9193360 w 10069217"/>
              <a:gd name="connsiteY807" fmla="*/ 601766 h 6858001"/>
              <a:gd name="connsiteX808" fmla="*/ 9193360 w 10069217"/>
              <a:gd name="connsiteY808" fmla="*/ 718805 h 6858001"/>
              <a:gd name="connsiteX809" fmla="*/ 9209866 w 10069217"/>
              <a:gd name="connsiteY809" fmla="*/ 762052 h 6858001"/>
              <a:gd name="connsiteX810" fmla="*/ 9254114 w 10069217"/>
              <a:gd name="connsiteY810" fmla="*/ 777529 h 6858001"/>
              <a:gd name="connsiteX811" fmla="*/ 9273440 w 10069217"/>
              <a:gd name="connsiteY811" fmla="*/ 777529 h 6858001"/>
              <a:gd name="connsiteX812" fmla="*/ 9279486 w 10069217"/>
              <a:gd name="connsiteY812" fmla="*/ 772302 h 6858001"/>
              <a:gd name="connsiteX813" fmla="*/ 9279486 w 10069217"/>
              <a:gd name="connsiteY813" fmla="*/ 757437 h 6858001"/>
              <a:gd name="connsiteX814" fmla="*/ 9273440 w 10069217"/>
              <a:gd name="connsiteY814" fmla="*/ 751802 h 6858001"/>
              <a:gd name="connsiteX815" fmla="*/ 9257750 w 10069217"/>
              <a:gd name="connsiteY815" fmla="*/ 751802 h 6858001"/>
              <a:gd name="connsiteX816" fmla="*/ 9222327 w 10069217"/>
              <a:gd name="connsiteY816" fmla="*/ 717621 h 6858001"/>
              <a:gd name="connsiteX817" fmla="*/ 9222327 w 10069217"/>
              <a:gd name="connsiteY817" fmla="*/ 601766 h 6858001"/>
              <a:gd name="connsiteX818" fmla="*/ 9226740 w 10069217"/>
              <a:gd name="connsiteY818" fmla="*/ 598131 h 6858001"/>
              <a:gd name="connsiteX819" fmla="*/ 9269395 w 10069217"/>
              <a:gd name="connsiteY819" fmla="*/ 598131 h 6858001"/>
              <a:gd name="connsiteX820" fmla="*/ 9275442 w 10069217"/>
              <a:gd name="connsiteY820" fmla="*/ 592904 h 6858001"/>
              <a:gd name="connsiteX821" fmla="*/ 9275442 w 10069217"/>
              <a:gd name="connsiteY821" fmla="*/ 578039 h 6858001"/>
              <a:gd name="connsiteX822" fmla="*/ 9269395 w 10069217"/>
              <a:gd name="connsiteY822" fmla="*/ 572404 h 6858001"/>
              <a:gd name="connsiteX823" fmla="*/ 9226740 w 10069217"/>
              <a:gd name="connsiteY823" fmla="*/ 572404 h 6858001"/>
              <a:gd name="connsiteX824" fmla="*/ 9222327 w 10069217"/>
              <a:gd name="connsiteY824" fmla="*/ 568769 h 6858001"/>
              <a:gd name="connsiteX825" fmla="*/ 9222327 w 10069217"/>
              <a:gd name="connsiteY825" fmla="*/ 534180 h 6858001"/>
              <a:gd name="connsiteX826" fmla="*/ 9217098 w 10069217"/>
              <a:gd name="connsiteY826" fmla="*/ 528544 h 6858001"/>
              <a:gd name="connsiteX827" fmla="*/ 9198957 w 10069217"/>
              <a:gd name="connsiteY827" fmla="*/ 528544 h 6858001"/>
              <a:gd name="connsiteX828" fmla="*/ 9317686 w 10069217"/>
              <a:gd name="connsiteY828" fmla="*/ 495038 h 6858001"/>
              <a:gd name="connsiteX829" fmla="*/ 9312448 w 10069217"/>
              <a:gd name="connsiteY829" fmla="*/ 500699 h 6858001"/>
              <a:gd name="connsiteX830" fmla="*/ 9312448 w 10069217"/>
              <a:gd name="connsiteY830" fmla="*/ 538684 h 6858001"/>
              <a:gd name="connsiteX831" fmla="*/ 9317686 w 10069217"/>
              <a:gd name="connsiteY831" fmla="*/ 544345 h 6858001"/>
              <a:gd name="connsiteX832" fmla="*/ 9336263 w 10069217"/>
              <a:gd name="connsiteY832" fmla="*/ 544345 h 6858001"/>
              <a:gd name="connsiteX833" fmla="*/ 9341869 w 10069217"/>
              <a:gd name="connsiteY833" fmla="*/ 538684 h 6858001"/>
              <a:gd name="connsiteX834" fmla="*/ 9341869 w 10069217"/>
              <a:gd name="connsiteY834" fmla="*/ 500699 h 6858001"/>
              <a:gd name="connsiteX835" fmla="*/ 9336263 w 10069217"/>
              <a:gd name="connsiteY835" fmla="*/ 495038 h 6858001"/>
              <a:gd name="connsiteX836" fmla="*/ 9317686 w 10069217"/>
              <a:gd name="connsiteY836" fmla="*/ 495038 h 6858001"/>
              <a:gd name="connsiteX837" fmla="*/ 8021003 w 10069217"/>
              <a:gd name="connsiteY837" fmla="*/ 495038 h 6858001"/>
              <a:gd name="connsiteX838" fmla="*/ 8015765 w 10069217"/>
              <a:gd name="connsiteY838" fmla="*/ 500699 h 6858001"/>
              <a:gd name="connsiteX839" fmla="*/ 8015765 w 10069217"/>
              <a:gd name="connsiteY839" fmla="*/ 538684 h 6858001"/>
              <a:gd name="connsiteX840" fmla="*/ 8021003 w 10069217"/>
              <a:gd name="connsiteY840" fmla="*/ 544345 h 6858001"/>
              <a:gd name="connsiteX841" fmla="*/ 8039539 w 10069217"/>
              <a:gd name="connsiteY841" fmla="*/ 544345 h 6858001"/>
              <a:gd name="connsiteX842" fmla="*/ 8045186 w 10069217"/>
              <a:gd name="connsiteY842" fmla="*/ 538684 h 6858001"/>
              <a:gd name="connsiteX843" fmla="*/ 8045186 w 10069217"/>
              <a:gd name="connsiteY843" fmla="*/ 500699 h 6858001"/>
              <a:gd name="connsiteX844" fmla="*/ 8039539 w 10069217"/>
              <a:gd name="connsiteY844" fmla="*/ 495038 h 6858001"/>
              <a:gd name="connsiteX845" fmla="*/ 8021003 w 10069217"/>
              <a:gd name="connsiteY845" fmla="*/ 495038 h 6858001"/>
              <a:gd name="connsiteX846" fmla="*/ 9385381 w 10069217"/>
              <a:gd name="connsiteY846" fmla="*/ 494765 h 6858001"/>
              <a:gd name="connsiteX847" fmla="*/ 9379734 w 10069217"/>
              <a:gd name="connsiteY847" fmla="*/ 500401 h 6858001"/>
              <a:gd name="connsiteX848" fmla="*/ 9379734 w 10069217"/>
              <a:gd name="connsiteY848" fmla="*/ 771893 h 6858001"/>
              <a:gd name="connsiteX849" fmla="*/ 9385381 w 10069217"/>
              <a:gd name="connsiteY849" fmla="*/ 777529 h 6858001"/>
              <a:gd name="connsiteX850" fmla="*/ 9403549 w 10069217"/>
              <a:gd name="connsiteY850" fmla="*/ 777529 h 6858001"/>
              <a:gd name="connsiteX851" fmla="*/ 9409155 w 10069217"/>
              <a:gd name="connsiteY851" fmla="*/ 771893 h 6858001"/>
              <a:gd name="connsiteX852" fmla="*/ 9409155 w 10069217"/>
              <a:gd name="connsiteY852" fmla="*/ 500401 h 6858001"/>
              <a:gd name="connsiteX853" fmla="*/ 9403549 w 10069217"/>
              <a:gd name="connsiteY853" fmla="*/ 494765 h 6858001"/>
              <a:gd name="connsiteX854" fmla="*/ 9385381 w 10069217"/>
              <a:gd name="connsiteY854" fmla="*/ 494765 h 6858001"/>
              <a:gd name="connsiteX855" fmla="*/ 8345670 w 10069217"/>
              <a:gd name="connsiteY855" fmla="*/ 494765 h 6858001"/>
              <a:gd name="connsiteX856" fmla="*/ 8304604 w 10069217"/>
              <a:gd name="connsiteY856" fmla="*/ 510039 h 6858001"/>
              <a:gd name="connsiteX857" fmla="*/ 8290547 w 10069217"/>
              <a:gd name="connsiteY857" fmla="*/ 553899 h 6858001"/>
              <a:gd name="connsiteX858" fmla="*/ 8290547 w 10069217"/>
              <a:gd name="connsiteY858" fmla="*/ 568764 h 6858001"/>
              <a:gd name="connsiteX859" fmla="*/ 8286502 w 10069217"/>
              <a:gd name="connsiteY859" fmla="*/ 572399 h 6858001"/>
              <a:gd name="connsiteX860" fmla="*/ 8262761 w 10069217"/>
              <a:gd name="connsiteY860" fmla="*/ 572399 h 6858001"/>
              <a:gd name="connsiteX861" fmla="*/ 8257122 w 10069217"/>
              <a:gd name="connsiteY861" fmla="*/ 577626 h 6858001"/>
              <a:gd name="connsiteX862" fmla="*/ 8257122 w 10069217"/>
              <a:gd name="connsiteY862" fmla="*/ 592532 h 6858001"/>
              <a:gd name="connsiteX863" fmla="*/ 8262761 w 10069217"/>
              <a:gd name="connsiteY863" fmla="*/ 598127 h 6858001"/>
              <a:gd name="connsiteX864" fmla="*/ 8286502 w 10069217"/>
              <a:gd name="connsiteY864" fmla="*/ 598127 h 6858001"/>
              <a:gd name="connsiteX865" fmla="*/ 8290547 w 10069217"/>
              <a:gd name="connsiteY865" fmla="*/ 601761 h 6858001"/>
              <a:gd name="connsiteX866" fmla="*/ 8290547 w 10069217"/>
              <a:gd name="connsiteY866" fmla="*/ 771893 h 6858001"/>
              <a:gd name="connsiteX867" fmla="*/ 8296186 w 10069217"/>
              <a:gd name="connsiteY867" fmla="*/ 777529 h 6858001"/>
              <a:gd name="connsiteX868" fmla="*/ 8313880 w 10069217"/>
              <a:gd name="connsiteY868" fmla="*/ 777529 h 6858001"/>
              <a:gd name="connsiteX869" fmla="*/ 8319927 w 10069217"/>
              <a:gd name="connsiteY869" fmla="*/ 771893 h 6858001"/>
              <a:gd name="connsiteX870" fmla="*/ 8319927 w 10069217"/>
              <a:gd name="connsiteY870" fmla="*/ 601761 h 6858001"/>
              <a:gd name="connsiteX871" fmla="*/ 8323523 w 10069217"/>
              <a:gd name="connsiteY871" fmla="*/ 598127 h 6858001"/>
              <a:gd name="connsiteX872" fmla="*/ 8358950 w 10069217"/>
              <a:gd name="connsiteY872" fmla="*/ 598127 h 6858001"/>
              <a:gd name="connsiteX873" fmla="*/ 8364998 w 10069217"/>
              <a:gd name="connsiteY873" fmla="*/ 592532 h 6858001"/>
              <a:gd name="connsiteX874" fmla="*/ 8364998 w 10069217"/>
              <a:gd name="connsiteY874" fmla="*/ 577626 h 6858001"/>
              <a:gd name="connsiteX875" fmla="*/ 8358950 w 10069217"/>
              <a:gd name="connsiteY875" fmla="*/ 572399 h 6858001"/>
              <a:gd name="connsiteX876" fmla="*/ 8323523 w 10069217"/>
              <a:gd name="connsiteY876" fmla="*/ 572399 h 6858001"/>
              <a:gd name="connsiteX877" fmla="*/ 8319927 w 10069217"/>
              <a:gd name="connsiteY877" fmla="*/ 568764 h 6858001"/>
              <a:gd name="connsiteX878" fmla="*/ 8319927 w 10069217"/>
              <a:gd name="connsiteY878" fmla="*/ 555124 h 6858001"/>
              <a:gd name="connsiteX879" fmla="*/ 8326342 w 10069217"/>
              <a:gd name="connsiteY879" fmla="*/ 528743 h 6858001"/>
              <a:gd name="connsiteX880" fmla="*/ 8349307 w 10069217"/>
              <a:gd name="connsiteY880" fmla="*/ 520493 h 6858001"/>
              <a:gd name="connsiteX881" fmla="*/ 8359359 w 10069217"/>
              <a:gd name="connsiteY881" fmla="*/ 520493 h 6858001"/>
              <a:gd name="connsiteX882" fmla="*/ 8364998 w 10069217"/>
              <a:gd name="connsiteY882" fmla="*/ 514899 h 6858001"/>
              <a:gd name="connsiteX883" fmla="*/ 8364998 w 10069217"/>
              <a:gd name="connsiteY883" fmla="*/ 499993 h 6858001"/>
              <a:gd name="connsiteX884" fmla="*/ 8359359 w 10069217"/>
              <a:gd name="connsiteY884" fmla="*/ 494765 h 6858001"/>
              <a:gd name="connsiteX885" fmla="*/ 8345670 w 10069217"/>
              <a:gd name="connsiteY885" fmla="*/ 494765 h 6858001"/>
              <a:gd name="connsiteX886" fmla="*/ 0 w 10069217"/>
              <a:gd name="connsiteY886" fmla="*/ 0 h 6858001"/>
              <a:gd name="connsiteX887" fmla="*/ 10069217 w 10069217"/>
              <a:gd name="connsiteY887" fmla="*/ 0 h 6858001"/>
              <a:gd name="connsiteX888" fmla="*/ 10069217 w 10069217"/>
              <a:gd name="connsiteY888" fmla="*/ 6858001 h 6858001"/>
              <a:gd name="connsiteX889" fmla="*/ 9232922 w 10069217"/>
              <a:gd name="connsiteY889" fmla="*/ 6858001 h 6858001"/>
              <a:gd name="connsiteX890" fmla="*/ 9253731 w 10069217"/>
              <a:gd name="connsiteY890" fmla="*/ 6823699 h 6858001"/>
              <a:gd name="connsiteX891" fmla="*/ 9513442 w 10069217"/>
              <a:gd name="connsiteY891" fmla="*/ 6395584 h 6858001"/>
              <a:gd name="connsiteX892" fmla="*/ 9522128 w 10069217"/>
              <a:gd name="connsiteY892" fmla="*/ 6343544 h 6858001"/>
              <a:gd name="connsiteX893" fmla="*/ 9475889 w 10069217"/>
              <a:gd name="connsiteY893" fmla="*/ 6323214 h 6858001"/>
              <a:gd name="connsiteX894" fmla="*/ 9195262 w 10069217"/>
              <a:gd name="connsiteY894" fmla="*/ 6323214 h 6858001"/>
              <a:gd name="connsiteX895" fmla="*/ 9096908 w 10069217"/>
              <a:gd name="connsiteY895" fmla="*/ 6381136 h 6858001"/>
              <a:gd name="connsiteX896" fmla="*/ 8864328 w 10069217"/>
              <a:gd name="connsiteY896" fmla="*/ 6794350 h 6858001"/>
              <a:gd name="connsiteX897" fmla="*/ 8828501 w 10069217"/>
              <a:gd name="connsiteY897" fmla="*/ 6858001 h 6858001"/>
              <a:gd name="connsiteX898" fmla="*/ 1505515 w 10069217"/>
              <a:gd name="connsiteY898" fmla="*/ 6858001 h 6858001"/>
              <a:gd name="connsiteX899" fmla="*/ 1537397 w 10069217"/>
              <a:gd name="connsiteY899" fmla="*/ 6739773 h 6858001"/>
              <a:gd name="connsiteX900" fmla="*/ 3354815 w 10069217"/>
              <a:gd name="connsiteY900" fmla="*/ 501 h 6858001"/>
              <a:gd name="connsiteX901" fmla="*/ 3354950 w 10069217"/>
              <a:gd name="connsiteY901" fmla="*/ 3 h 6858001"/>
              <a:gd name="connsiteX902" fmla="*/ 0 w 10069217"/>
              <a:gd name="connsiteY902" fmla="*/ 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</a:cxnLst>
            <a:rect l="l" t="t" r="r" b="b"/>
            <a:pathLst>
              <a:path w="10069217" h="6858001">
                <a:moveTo>
                  <a:pt x="9416448" y="862794"/>
                </a:moveTo>
                <a:cubicBezTo>
                  <a:pt x="9420731" y="862794"/>
                  <a:pt x="9424360" y="863990"/>
                  <a:pt x="9427256" y="866300"/>
                </a:cubicBezTo>
                <a:cubicBezTo>
                  <a:pt x="9430151" y="868651"/>
                  <a:pt x="9432068" y="871744"/>
                  <a:pt x="9433088" y="875621"/>
                </a:cubicBezTo>
                <a:cubicBezTo>
                  <a:pt x="9433455" y="877188"/>
                  <a:pt x="9433740" y="879621"/>
                  <a:pt x="9433944" y="882921"/>
                </a:cubicBezTo>
                <a:cubicBezTo>
                  <a:pt x="9433944" y="883292"/>
                  <a:pt x="9433740" y="883498"/>
                  <a:pt x="9433373" y="883498"/>
                </a:cubicBezTo>
                <a:cubicBezTo>
                  <a:pt x="9433373" y="883498"/>
                  <a:pt x="9433373" y="883498"/>
                  <a:pt x="9399646" y="883498"/>
                </a:cubicBezTo>
                <a:cubicBezTo>
                  <a:pt x="9399238" y="883498"/>
                  <a:pt x="9399075" y="883292"/>
                  <a:pt x="9399075" y="882921"/>
                </a:cubicBezTo>
                <a:cubicBezTo>
                  <a:pt x="9399238" y="879539"/>
                  <a:pt x="9399687" y="876734"/>
                  <a:pt x="9400380" y="874548"/>
                </a:cubicBezTo>
                <a:cubicBezTo>
                  <a:pt x="9401359" y="871002"/>
                  <a:pt x="9403235" y="868156"/>
                  <a:pt x="9405968" y="866011"/>
                </a:cubicBezTo>
                <a:cubicBezTo>
                  <a:pt x="9408740" y="863867"/>
                  <a:pt x="9412207" y="862794"/>
                  <a:pt x="9416448" y="862794"/>
                </a:cubicBezTo>
                <a:close/>
                <a:moveTo>
                  <a:pt x="9297378" y="862794"/>
                </a:moveTo>
                <a:cubicBezTo>
                  <a:pt x="9301513" y="862794"/>
                  <a:pt x="9304952" y="863984"/>
                  <a:pt x="9307696" y="866281"/>
                </a:cubicBezTo>
                <a:cubicBezTo>
                  <a:pt x="9310480" y="868618"/>
                  <a:pt x="9312240" y="871612"/>
                  <a:pt x="9313018" y="875262"/>
                </a:cubicBezTo>
                <a:cubicBezTo>
                  <a:pt x="9313428" y="876820"/>
                  <a:pt x="9313714" y="878461"/>
                  <a:pt x="9313837" y="880183"/>
                </a:cubicBezTo>
                <a:cubicBezTo>
                  <a:pt x="9314001" y="881947"/>
                  <a:pt x="9314083" y="884858"/>
                  <a:pt x="9314083" y="889000"/>
                </a:cubicBezTo>
                <a:cubicBezTo>
                  <a:pt x="9314083" y="893142"/>
                  <a:pt x="9314001" y="896095"/>
                  <a:pt x="9313837" y="897900"/>
                </a:cubicBezTo>
                <a:cubicBezTo>
                  <a:pt x="9313714" y="899663"/>
                  <a:pt x="9313469" y="901345"/>
                  <a:pt x="9313182" y="902944"/>
                </a:cubicBezTo>
                <a:cubicBezTo>
                  <a:pt x="9312404" y="906594"/>
                  <a:pt x="9310644" y="909547"/>
                  <a:pt x="9307941" y="911884"/>
                </a:cubicBezTo>
                <a:cubicBezTo>
                  <a:pt x="9305239" y="914222"/>
                  <a:pt x="9301718" y="915370"/>
                  <a:pt x="9297378" y="915370"/>
                </a:cubicBezTo>
                <a:cubicBezTo>
                  <a:pt x="9293243" y="915370"/>
                  <a:pt x="9289722" y="914222"/>
                  <a:pt x="9286815" y="911884"/>
                </a:cubicBezTo>
                <a:cubicBezTo>
                  <a:pt x="9283908" y="909547"/>
                  <a:pt x="9281943" y="906594"/>
                  <a:pt x="9280960" y="902944"/>
                </a:cubicBezTo>
                <a:cubicBezTo>
                  <a:pt x="9279978" y="900442"/>
                  <a:pt x="9279486" y="895808"/>
                  <a:pt x="9279486" y="889000"/>
                </a:cubicBezTo>
                <a:cubicBezTo>
                  <a:pt x="9279486" y="882808"/>
                  <a:pt x="9280019" y="878215"/>
                  <a:pt x="9281124" y="875262"/>
                </a:cubicBezTo>
                <a:cubicBezTo>
                  <a:pt x="9282311" y="871612"/>
                  <a:pt x="9284277" y="868618"/>
                  <a:pt x="9287020" y="866281"/>
                </a:cubicBezTo>
                <a:cubicBezTo>
                  <a:pt x="9289763" y="863984"/>
                  <a:pt x="9293243" y="862794"/>
                  <a:pt x="9297378" y="862794"/>
                </a:cubicBezTo>
                <a:close/>
                <a:moveTo>
                  <a:pt x="9164426" y="862794"/>
                </a:moveTo>
                <a:cubicBezTo>
                  <a:pt x="9168749" y="862794"/>
                  <a:pt x="9172379" y="863990"/>
                  <a:pt x="9175274" y="866300"/>
                </a:cubicBezTo>
                <a:cubicBezTo>
                  <a:pt x="9178170" y="868651"/>
                  <a:pt x="9180086" y="871744"/>
                  <a:pt x="9181065" y="875621"/>
                </a:cubicBezTo>
                <a:cubicBezTo>
                  <a:pt x="9181473" y="877188"/>
                  <a:pt x="9181759" y="879621"/>
                  <a:pt x="9181963" y="882921"/>
                </a:cubicBezTo>
                <a:cubicBezTo>
                  <a:pt x="9181963" y="883292"/>
                  <a:pt x="9181759" y="883498"/>
                  <a:pt x="9181392" y="883498"/>
                </a:cubicBezTo>
                <a:cubicBezTo>
                  <a:pt x="9181392" y="883498"/>
                  <a:pt x="9181392" y="883498"/>
                  <a:pt x="9147665" y="883498"/>
                </a:cubicBezTo>
                <a:cubicBezTo>
                  <a:pt x="9147257" y="883498"/>
                  <a:pt x="9147094" y="883292"/>
                  <a:pt x="9147094" y="882921"/>
                </a:cubicBezTo>
                <a:cubicBezTo>
                  <a:pt x="9147257" y="879539"/>
                  <a:pt x="9147706" y="876734"/>
                  <a:pt x="9148399" y="874548"/>
                </a:cubicBezTo>
                <a:cubicBezTo>
                  <a:pt x="9149378" y="871002"/>
                  <a:pt x="9151254" y="868156"/>
                  <a:pt x="9153986" y="866011"/>
                </a:cubicBezTo>
                <a:cubicBezTo>
                  <a:pt x="9156759" y="863867"/>
                  <a:pt x="9160226" y="862794"/>
                  <a:pt x="9164426" y="862794"/>
                </a:cubicBezTo>
                <a:close/>
                <a:moveTo>
                  <a:pt x="8755828" y="862794"/>
                </a:moveTo>
                <a:cubicBezTo>
                  <a:pt x="8760146" y="862794"/>
                  <a:pt x="8763731" y="863990"/>
                  <a:pt x="8766623" y="866300"/>
                </a:cubicBezTo>
                <a:cubicBezTo>
                  <a:pt x="8769515" y="868651"/>
                  <a:pt x="8771470" y="871744"/>
                  <a:pt x="8772448" y="875621"/>
                </a:cubicBezTo>
                <a:cubicBezTo>
                  <a:pt x="8772855" y="877188"/>
                  <a:pt x="8773140" y="879621"/>
                  <a:pt x="8773344" y="882921"/>
                </a:cubicBezTo>
                <a:cubicBezTo>
                  <a:pt x="8773344" y="883292"/>
                  <a:pt x="8773140" y="883498"/>
                  <a:pt x="8772733" y="883498"/>
                </a:cubicBezTo>
                <a:cubicBezTo>
                  <a:pt x="8772733" y="883498"/>
                  <a:pt x="8772733" y="883498"/>
                  <a:pt x="8739086" y="883498"/>
                </a:cubicBezTo>
                <a:cubicBezTo>
                  <a:pt x="8738679" y="883498"/>
                  <a:pt x="8738475" y="883292"/>
                  <a:pt x="8738475" y="882921"/>
                </a:cubicBezTo>
                <a:cubicBezTo>
                  <a:pt x="8738679" y="879539"/>
                  <a:pt x="8739127" y="876734"/>
                  <a:pt x="8739820" y="874548"/>
                </a:cubicBezTo>
                <a:cubicBezTo>
                  <a:pt x="8740797" y="871002"/>
                  <a:pt x="8742630" y="868156"/>
                  <a:pt x="8745400" y="866011"/>
                </a:cubicBezTo>
                <a:cubicBezTo>
                  <a:pt x="8748130" y="863867"/>
                  <a:pt x="8751633" y="862794"/>
                  <a:pt x="8755828" y="862794"/>
                </a:cubicBezTo>
                <a:close/>
                <a:moveTo>
                  <a:pt x="8473765" y="862794"/>
                </a:moveTo>
                <a:cubicBezTo>
                  <a:pt x="8478122" y="862794"/>
                  <a:pt x="8481739" y="863990"/>
                  <a:pt x="8484657" y="866300"/>
                </a:cubicBezTo>
                <a:cubicBezTo>
                  <a:pt x="8487575" y="868651"/>
                  <a:pt x="8489548" y="871744"/>
                  <a:pt x="8490534" y="875621"/>
                </a:cubicBezTo>
                <a:cubicBezTo>
                  <a:pt x="8490904" y="877188"/>
                  <a:pt x="8491233" y="879621"/>
                  <a:pt x="8491397" y="882921"/>
                </a:cubicBezTo>
                <a:cubicBezTo>
                  <a:pt x="8491397" y="883292"/>
                  <a:pt x="8491233" y="883498"/>
                  <a:pt x="8490822" y="883498"/>
                </a:cubicBezTo>
                <a:cubicBezTo>
                  <a:pt x="8490822" y="883498"/>
                  <a:pt x="8490822" y="883498"/>
                  <a:pt x="8456832" y="883498"/>
                </a:cubicBezTo>
                <a:cubicBezTo>
                  <a:pt x="8456462" y="883498"/>
                  <a:pt x="8456256" y="883292"/>
                  <a:pt x="8456256" y="882921"/>
                </a:cubicBezTo>
                <a:cubicBezTo>
                  <a:pt x="8456462" y="879539"/>
                  <a:pt x="8456914" y="876734"/>
                  <a:pt x="8457571" y="874548"/>
                </a:cubicBezTo>
                <a:cubicBezTo>
                  <a:pt x="8458599" y="871002"/>
                  <a:pt x="8460448" y="868156"/>
                  <a:pt x="8463243" y="866011"/>
                </a:cubicBezTo>
                <a:cubicBezTo>
                  <a:pt x="8465997" y="863867"/>
                  <a:pt x="8469491" y="862794"/>
                  <a:pt x="8473765" y="862794"/>
                </a:cubicBezTo>
                <a:close/>
                <a:moveTo>
                  <a:pt x="8258948" y="862794"/>
                </a:moveTo>
                <a:cubicBezTo>
                  <a:pt x="8263266" y="862794"/>
                  <a:pt x="8266850" y="863990"/>
                  <a:pt x="8269743" y="866300"/>
                </a:cubicBezTo>
                <a:cubicBezTo>
                  <a:pt x="8272635" y="868651"/>
                  <a:pt x="8274590" y="871744"/>
                  <a:pt x="8275567" y="875621"/>
                </a:cubicBezTo>
                <a:cubicBezTo>
                  <a:pt x="8275934" y="877188"/>
                  <a:pt x="8276260" y="879621"/>
                  <a:pt x="8276464" y="882921"/>
                </a:cubicBezTo>
                <a:cubicBezTo>
                  <a:pt x="8276464" y="883292"/>
                  <a:pt x="8276260" y="883498"/>
                  <a:pt x="8275853" y="883498"/>
                </a:cubicBezTo>
                <a:cubicBezTo>
                  <a:pt x="8275853" y="883498"/>
                  <a:pt x="8275853" y="883498"/>
                  <a:pt x="8242165" y="883498"/>
                </a:cubicBezTo>
                <a:cubicBezTo>
                  <a:pt x="8241799" y="883498"/>
                  <a:pt x="8241595" y="883292"/>
                  <a:pt x="8241595" y="882921"/>
                </a:cubicBezTo>
                <a:cubicBezTo>
                  <a:pt x="8241799" y="879539"/>
                  <a:pt x="8242247" y="876734"/>
                  <a:pt x="8242898" y="874548"/>
                </a:cubicBezTo>
                <a:cubicBezTo>
                  <a:pt x="8243917" y="871002"/>
                  <a:pt x="8245750" y="868156"/>
                  <a:pt x="8248520" y="866011"/>
                </a:cubicBezTo>
                <a:cubicBezTo>
                  <a:pt x="8251249" y="863867"/>
                  <a:pt x="8254752" y="862794"/>
                  <a:pt x="8258948" y="862794"/>
                </a:cubicBezTo>
                <a:close/>
                <a:moveTo>
                  <a:pt x="9351238" y="851898"/>
                </a:moveTo>
                <a:cubicBezTo>
                  <a:pt x="9350259" y="851898"/>
                  <a:pt x="9349769" y="852388"/>
                  <a:pt x="9349769" y="853369"/>
                </a:cubicBezTo>
                <a:cubicBezTo>
                  <a:pt x="9349769" y="853369"/>
                  <a:pt x="9349769" y="853369"/>
                  <a:pt x="9349769" y="925340"/>
                </a:cubicBezTo>
                <a:cubicBezTo>
                  <a:pt x="9349769" y="926321"/>
                  <a:pt x="9350259" y="926812"/>
                  <a:pt x="9351238" y="926812"/>
                </a:cubicBezTo>
                <a:cubicBezTo>
                  <a:pt x="9351238" y="926812"/>
                  <a:pt x="9351238" y="926812"/>
                  <a:pt x="9362424" y="926812"/>
                </a:cubicBezTo>
                <a:cubicBezTo>
                  <a:pt x="9363403" y="926812"/>
                  <a:pt x="9363934" y="926321"/>
                  <a:pt x="9363934" y="925340"/>
                </a:cubicBezTo>
                <a:cubicBezTo>
                  <a:pt x="9363934" y="925340"/>
                  <a:pt x="9363934" y="925340"/>
                  <a:pt x="9363934" y="853369"/>
                </a:cubicBezTo>
                <a:cubicBezTo>
                  <a:pt x="9363934" y="852388"/>
                  <a:pt x="9363403" y="851898"/>
                  <a:pt x="9362424" y="851898"/>
                </a:cubicBezTo>
                <a:cubicBezTo>
                  <a:pt x="9362424" y="851898"/>
                  <a:pt x="9362424" y="851898"/>
                  <a:pt x="9351238" y="851898"/>
                </a:cubicBezTo>
                <a:close/>
                <a:moveTo>
                  <a:pt x="8978729" y="851898"/>
                </a:moveTo>
                <a:cubicBezTo>
                  <a:pt x="8977830" y="851898"/>
                  <a:pt x="8977381" y="852225"/>
                  <a:pt x="8977381" y="852919"/>
                </a:cubicBezTo>
                <a:cubicBezTo>
                  <a:pt x="8977381" y="852919"/>
                  <a:pt x="8977381" y="852919"/>
                  <a:pt x="8977544" y="853491"/>
                </a:cubicBezTo>
                <a:cubicBezTo>
                  <a:pt x="8977544" y="853491"/>
                  <a:pt x="8977544" y="853491"/>
                  <a:pt x="9002138" y="926463"/>
                </a:cubicBezTo>
                <a:cubicBezTo>
                  <a:pt x="9002260" y="926953"/>
                  <a:pt x="9002260" y="927239"/>
                  <a:pt x="9002138" y="927362"/>
                </a:cubicBezTo>
                <a:cubicBezTo>
                  <a:pt x="9000790" y="932180"/>
                  <a:pt x="8999360" y="935774"/>
                  <a:pt x="8997889" y="938183"/>
                </a:cubicBezTo>
                <a:cubicBezTo>
                  <a:pt x="8996418" y="940592"/>
                  <a:pt x="8994539" y="942226"/>
                  <a:pt x="8992292" y="943124"/>
                </a:cubicBezTo>
                <a:cubicBezTo>
                  <a:pt x="8990004" y="944022"/>
                  <a:pt x="8986900" y="944513"/>
                  <a:pt x="8982978" y="944594"/>
                </a:cubicBezTo>
                <a:cubicBezTo>
                  <a:pt x="8982978" y="944594"/>
                  <a:pt x="8982978" y="944594"/>
                  <a:pt x="8982692" y="944594"/>
                </a:cubicBezTo>
                <a:cubicBezTo>
                  <a:pt x="8981711" y="944594"/>
                  <a:pt x="8981221" y="945084"/>
                  <a:pt x="8981221" y="946064"/>
                </a:cubicBezTo>
                <a:cubicBezTo>
                  <a:pt x="8981221" y="946064"/>
                  <a:pt x="8981221" y="946064"/>
                  <a:pt x="8981221" y="954762"/>
                </a:cubicBezTo>
                <a:cubicBezTo>
                  <a:pt x="8981221" y="954762"/>
                  <a:pt x="8981221" y="954762"/>
                  <a:pt x="8981221" y="956232"/>
                </a:cubicBezTo>
                <a:lnTo>
                  <a:pt x="8982242" y="956232"/>
                </a:lnTo>
                <a:cubicBezTo>
                  <a:pt x="8982242" y="956232"/>
                  <a:pt x="8982242" y="956232"/>
                  <a:pt x="8983264" y="956232"/>
                </a:cubicBezTo>
                <a:cubicBezTo>
                  <a:pt x="8989882" y="956232"/>
                  <a:pt x="8994988" y="955538"/>
                  <a:pt x="8998624" y="954191"/>
                </a:cubicBezTo>
                <a:cubicBezTo>
                  <a:pt x="9002260" y="952802"/>
                  <a:pt x="9005202" y="950474"/>
                  <a:pt x="9007449" y="947167"/>
                </a:cubicBezTo>
                <a:cubicBezTo>
                  <a:pt x="9009736" y="943900"/>
                  <a:pt x="9011983" y="938836"/>
                  <a:pt x="9014230" y="932058"/>
                </a:cubicBezTo>
                <a:cubicBezTo>
                  <a:pt x="9014230" y="932058"/>
                  <a:pt x="9014230" y="932058"/>
                  <a:pt x="9041112" y="853491"/>
                </a:cubicBezTo>
                <a:cubicBezTo>
                  <a:pt x="9041398" y="852429"/>
                  <a:pt x="9040989" y="851898"/>
                  <a:pt x="9039927" y="851898"/>
                </a:cubicBezTo>
                <a:cubicBezTo>
                  <a:pt x="9039927" y="851898"/>
                  <a:pt x="9039927" y="851898"/>
                  <a:pt x="9028243" y="851898"/>
                </a:cubicBezTo>
                <a:cubicBezTo>
                  <a:pt x="9027385" y="851898"/>
                  <a:pt x="9026772" y="852266"/>
                  <a:pt x="9026486" y="853041"/>
                </a:cubicBezTo>
                <a:cubicBezTo>
                  <a:pt x="9026486" y="853041"/>
                  <a:pt x="9026486" y="853041"/>
                  <a:pt x="9009982" y="908618"/>
                </a:cubicBezTo>
                <a:cubicBezTo>
                  <a:pt x="9009859" y="908822"/>
                  <a:pt x="9009736" y="908945"/>
                  <a:pt x="9009532" y="908945"/>
                </a:cubicBezTo>
                <a:cubicBezTo>
                  <a:pt x="9009328" y="908945"/>
                  <a:pt x="9009165" y="908822"/>
                  <a:pt x="9009083" y="908618"/>
                </a:cubicBezTo>
                <a:cubicBezTo>
                  <a:pt x="9009083" y="908618"/>
                  <a:pt x="9009083" y="908618"/>
                  <a:pt x="8992415" y="853041"/>
                </a:cubicBezTo>
                <a:cubicBezTo>
                  <a:pt x="8992129" y="852266"/>
                  <a:pt x="8991557" y="851898"/>
                  <a:pt x="8990658" y="851898"/>
                </a:cubicBezTo>
                <a:cubicBezTo>
                  <a:pt x="8990658" y="851898"/>
                  <a:pt x="8990658" y="851898"/>
                  <a:pt x="8978729" y="851898"/>
                </a:cubicBezTo>
                <a:close/>
                <a:moveTo>
                  <a:pt x="8015913" y="851898"/>
                </a:moveTo>
                <a:cubicBezTo>
                  <a:pt x="8014893" y="851898"/>
                  <a:pt x="8014403" y="852388"/>
                  <a:pt x="8014403" y="853368"/>
                </a:cubicBezTo>
                <a:cubicBezTo>
                  <a:pt x="8014403" y="853368"/>
                  <a:pt x="8014403" y="853368"/>
                  <a:pt x="8014403" y="903615"/>
                </a:cubicBezTo>
                <a:cubicBezTo>
                  <a:pt x="8014403" y="908798"/>
                  <a:pt x="8015627" y="913207"/>
                  <a:pt x="8018117" y="916840"/>
                </a:cubicBezTo>
                <a:cubicBezTo>
                  <a:pt x="8020565" y="920513"/>
                  <a:pt x="8023829" y="923248"/>
                  <a:pt x="8027910" y="925126"/>
                </a:cubicBezTo>
                <a:cubicBezTo>
                  <a:pt x="8031990" y="926962"/>
                  <a:pt x="8036397" y="927901"/>
                  <a:pt x="8041213" y="927901"/>
                </a:cubicBezTo>
                <a:cubicBezTo>
                  <a:pt x="8049374" y="927901"/>
                  <a:pt x="8055413" y="925207"/>
                  <a:pt x="8059330" y="919819"/>
                </a:cubicBezTo>
                <a:cubicBezTo>
                  <a:pt x="8059535" y="919615"/>
                  <a:pt x="8059698" y="919534"/>
                  <a:pt x="8059861" y="919574"/>
                </a:cubicBezTo>
                <a:cubicBezTo>
                  <a:pt x="8060024" y="919615"/>
                  <a:pt x="8060065" y="919738"/>
                  <a:pt x="8060065" y="919942"/>
                </a:cubicBezTo>
                <a:cubicBezTo>
                  <a:pt x="8060065" y="919942"/>
                  <a:pt x="8060065" y="919942"/>
                  <a:pt x="8060065" y="925411"/>
                </a:cubicBezTo>
                <a:cubicBezTo>
                  <a:pt x="8060065" y="926391"/>
                  <a:pt x="8060555" y="926881"/>
                  <a:pt x="8061575" y="926881"/>
                </a:cubicBezTo>
                <a:cubicBezTo>
                  <a:pt x="8061575" y="926881"/>
                  <a:pt x="8061575" y="926881"/>
                  <a:pt x="8072593" y="926881"/>
                </a:cubicBezTo>
                <a:cubicBezTo>
                  <a:pt x="8073572" y="926881"/>
                  <a:pt x="8074061" y="926391"/>
                  <a:pt x="8074061" y="925411"/>
                </a:cubicBezTo>
                <a:cubicBezTo>
                  <a:pt x="8074061" y="925411"/>
                  <a:pt x="8074061" y="925411"/>
                  <a:pt x="8074061" y="853368"/>
                </a:cubicBezTo>
                <a:cubicBezTo>
                  <a:pt x="8074061" y="852388"/>
                  <a:pt x="8073572" y="851898"/>
                  <a:pt x="8072593" y="851898"/>
                </a:cubicBezTo>
                <a:cubicBezTo>
                  <a:pt x="8072593" y="851898"/>
                  <a:pt x="8072593" y="851898"/>
                  <a:pt x="8061575" y="851898"/>
                </a:cubicBezTo>
                <a:cubicBezTo>
                  <a:pt x="8060555" y="851898"/>
                  <a:pt x="8060065" y="852388"/>
                  <a:pt x="8060065" y="853368"/>
                </a:cubicBezTo>
                <a:cubicBezTo>
                  <a:pt x="8060065" y="853368"/>
                  <a:pt x="8060065" y="853368"/>
                  <a:pt x="8060065" y="899165"/>
                </a:cubicBezTo>
                <a:cubicBezTo>
                  <a:pt x="8060065" y="904186"/>
                  <a:pt x="8058596" y="908186"/>
                  <a:pt x="8055658" y="911166"/>
                </a:cubicBezTo>
                <a:cubicBezTo>
                  <a:pt x="8052720" y="914186"/>
                  <a:pt x="8048802" y="915697"/>
                  <a:pt x="8043865" y="915697"/>
                </a:cubicBezTo>
                <a:cubicBezTo>
                  <a:pt x="8038969" y="915697"/>
                  <a:pt x="8035173" y="914186"/>
                  <a:pt x="8032480" y="911247"/>
                </a:cubicBezTo>
                <a:cubicBezTo>
                  <a:pt x="8029746" y="908309"/>
                  <a:pt x="8028399" y="904268"/>
                  <a:pt x="8028399" y="899165"/>
                </a:cubicBezTo>
                <a:cubicBezTo>
                  <a:pt x="8028399" y="899165"/>
                  <a:pt x="8028399" y="899165"/>
                  <a:pt x="8028399" y="853368"/>
                </a:cubicBezTo>
                <a:cubicBezTo>
                  <a:pt x="8028399" y="852388"/>
                  <a:pt x="8027910" y="851898"/>
                  <a:pt x="8026931" y="851898"/>
                </a:cubicBezTo>
                <a:cubicBezTo>
                  <a:pt x="8026931" y="851898"/>
                  <a:pt x="8026931" y="851898"/>
                  <a:pt x="8015913" y="851898"/>
                </a:cubicBezTo>
                <a:close/>
                <a:moveTo>
                  <a:pt x="9247430" y="851081"/>
                </a:moveTo>
                <a:cubicBezTo>
                  <a:pt x="9239775" y="851081"/>
                  <a:pt x="9233749" y="854549"/>
                  <a:pt x="9229351" y="861404"/>
                </a:cubicBezTo>
                <a:cubicBezTo>
                  <a:pt x="9229229" y="861608"/>
                  <a:pt x="9229107" y="861690"/>
                  <a:pt x="9228985" y="861649"/>
                </a:cubicBezTo>
                <a:cubicBezTo>
                  <a:pt x="9228822" y="861567"/>
                  <a:pt x="9228740" y="861404"/>
                  <a:pt x="9228740" y="861118"/>
                </a:cubicBezTo>
                <a:cubicBezTo>
                  <a:pt x="9228740" y="861118"/>
                  <a:pt x="9228740" y="861118"/>
                  <a:pt x="9228740" y="853325"/>
                </a:cubicBezTo>
                <a:cubicBezTo>
                  <a:pt x="9228740" y="852346"/>
                  <a:pt x="9228252" y="851856"/>
                  <a:pt x="9227274" y="851856"/>
                </a:cubicBezTo>
                <a:cubicBezTo>
                  <a:pt x="9227274" y="851856"/>
                  <a:pt x="9227274" y="851856"/>
                  <a:pt x="9216118" y="851856"/>
                </a:cubicBezTo>
                <a:cubicBezTo>
                  <a:pt x="9215141" y="851856"/>
                  <a:pt x="9214652" y="852346"/>
                  <a:pt x="9214652" y="853325"/>
                </a:cubicBezTo>
                <a:cubicBezTo>
                  <a:pt x="9214652" y="853325"/>
                  <a:pt x="9214652" y="853325"/>
                  <a:pt x="9214652" y="925343"/>
                </a:cubicBezTo>
                <a:cubicBezTo>
                  <a:pt x="9214652" y="926322"/>
                  <a:pt x="9215141" y="926811"/>
                  <a:pt x="9216118" y="926811"/>
                </a:cubicBezTo>
                <a:cubicBezTo>
                  <a:pt x="9216118" y="926811"/>
                  <a:pt x="9216118" y="926811"/>
                  <a:pt x="9227274" y="926811"/>
                </a:cubicBezTo>
                <a:cubicBezTo>
                  <a:pt x="9228252" y="926811"/>
                  <a:pt x="9228740" y="926322"/>
                  <a:pt x="9228740" y="925343"/>
                </a:cubicBezTo>
                <a:cubicBezTo>
                  <a:pt x="9228740" y="925343"/>
                  <a:pt x="9228740" y="925343"/>
                  <a:pt x="9228740" y="882336"/>
                </a:cubicBezTo>
                <a:cubicBezTo>
                  <a:pt x="9228740" y="877521"/>
                  <a:pt x="9230247" y="873604"/>
                  <a:pt x="9233219" y="870625"/>
                </a:cubicBezTo>
                <a:cubicBezTo>
                  <a:pt x="9236232" y="867606"/>
                  <a:pt x="9240019" y="866015"/>
                  <a:pt x="9244620" y="865852"/>
                </a:cubicBezTo>
                <a:cubicBezTo>
                  <a:pt x="9244620" y="865852"/>
                  <a:pt x="9244620" y="865852"/>
                  <a:pt x="9246697" y="865688"/>
                </a:cubicBezTo>
                <a:cubicBezTo>
                  <a:pt x="9248936" y="865688"/>
                  <a:pt x="9250891" y="866015"/>
                  <a:pt x="9252560" y="866708"/>
                </a:cubicBezTo>
                <a:cubicBezTo>
                  <a:pt x="9253659" y="866994"/>
                  <a:pt x="9254229" y="866708"/>
                  <a:pt x="9254311" y="865852"/>
                </a:cubicBezTo>
                <a:cubicBezTo>
                  <a:pt x="9254311" y="865852"/>
                  <a:pt x="9254311" y="865852"/>
                  <a:pt x="9256672" y="854794"/>
                </a:cubicBezTo>
                <a:cubicBezTo>
                  <a:pt x="9256876" y="853896"/>
                  <a:pt x="9256632" y="853325"/>
                  <a:pt x="9255940" y="852998"/>
                </a:cubicBezTo>
                <a:cubicBezTo>
                  <a:pt x="9253415" y="851734"/>
                  <a:pt x="9250565" y="851081"/>
                  <a:pt x="9247430" y="851081"/>
                </a:cubicBezTo>
                <a:close/>
                <a:moveTo>
                  <a:pt x="8942260" y="851081"/>
                </a:moveTo>
                <a:cubicBezTo>
                  <a:pt x="8933718" y="851081"/>
                  <a:pt x="8926852" y="853044"/>
                  <a:pt x="8921702" y="856930"/>
                </a:cubicBezTo>
                <a:cubicBezTo>
                  <a:pt x="8916511" y="860816"/>
                  <a:pt x="8913936" y="866052"/>
                  <a:pt x="8913936" y="872679"/>
                </a:cubicBezTo>
                <a:cubicBezTo>
                  <a:pt x="8913936" y="877383"/>
                  <a:pt x="8915244" y="881228"/>
                  <a:pt x="8917860" y="884255"/>
                </a:cubicBezTo>
                <a:cubicBezTo>
                  <a:pt x="8920476" y="887241"/>
                  <a:pt x="8923663" y="889573"/>
                  <a:pt x="8927424" y="891209"/>
                </a:cubicBezTo>
                <a:cubicBezTo>
                  <a:pt x="8931225" y="892804"/>
                  <a:pt x="8935925" y="894400"/>
                  <a:pt x="8941524" y="895995"/>
                </a:cubicBezTo>
                <a:cubicBezTo>
                  <a:pt x="8947246" y="897549"/>
                  <a:pt x="8951374" y="899063"/>
                  <a:pt x="8953949" y="900495"/>
                </a:cubicBezTo>
                <a:cubicBezTo>
                  <a:pt x="8956483" y="901926"/>
                  <a:pt x="8957750" y="904053"/>
                  <a:pt x="8957750" y="906917"/>
                </a:cubicBezTo>
                <a:cubicBezTo>
                  <a:pt x="8957750" y="909862"/>
                  <a:pt x="8956401" y="912316"/>
                  <a:pt x="8953622" y="914239"/>
                </a:cubicBezTo>
                <a:cubicBezTo>
                  <a:pt x="8950884" y="916161"/>
                  <a:pt x="8947287" y="917102"/>
                  <a:pt x="8942873" y="917102"/>
                </a:cubicBezTo>
                <a:cubicBezTo>
                  <a:pt x="8938255" y="917102"/>
                  <a:pt x="8934413" y="916079"/>
                  <a:pt x="8931429" y="913993"/>
                </a:cubicBezTo>
                <a:cubicBezTo>
                  <a:pt x="8928446" y="911948"/>
                  <a:pt x="8926933" y="909535"/>
                  <a:pt x="8926933" y="906753"/>
                </a:cubicBezTo>
                <a:cubicBezTo>
                  <a:pt x="8926933" y="906753"/>
                  <a:pt x="8926933" y="906753"/>
                  <a:pt x="8926933" y="906017"/>
                </a:cubicBezTo>
                <a:cubicBezTo>
                  <a:pt x="8926933" y="905035"/>
                  <a:pt x="8926443" y="904544"/>
                  <a:pt x="8925462" y="904544"/>
                </a:cubicBezTo>
                <a:cubicBezTo>
                  <a:pt x="8925462" y="904544"/>
                  <a:pt x="8925462" y="904544"/>
                  <a:pt x="8914835" y="904544"/>
                </a:cubicBezTo>
                <a:cubicBezTo>
                  <a:pt x="8913854" y="904544"/>
                  <a:pt x="8913364" y="905035"/>
                  <a:pt x="8913364" y="906017"/>
                </a:cubicBezTo>
                <a:cubicBezTo>
                  <a:pt x="8913364" y="906017"/>
                  <a:pt x="8913364" y="906017"/>
                  <a:pt x="8913364" y="907653"/>
                </a:cubicBezTo>
                <a:cubicBezTo>
                  <a:pt x="8913364" y="911375"/>
                  <a:pt x="8914590" y="914811"/>
                  <a:pt x="8917042" y="917920"/>
                </a:cubicBezTo>
                <a:cubicBezTo>
                  <a:pt x="8919495" y="921029"/>
                  <a:pt x="8922969" y="923442"/>
                  <a:pt x="8927424" y="925242"/>
                </a:cubicBezTo>
                <a:cubicBezTo>
                  <a:pt x="8931920" y="927001"/>
                  <a:pt x="8937110" y="927901"/>
                  <a:pt x="8942996" y="927901"/>
                </a:cubicBezTo>
                <a:cubicBezTo>
                  <a:pt x="8951783" y="927901"/>
                  <a:pt x="8958772" y="925897"/>
                  <a:pt x="8964044" y="921970"/>
                </a:cubicBezTo>
                <a:cubicBezTo>
                  <a:pt x="8969276" y="918043"/>
                  <a:pt x="8971933" y="912725"/>
                  <a:pt x="8971933" y="906017"/>
                </a:cubicBezTo>
                <a:cubicBezTo>
                  <a:pt x="8971933" y="901190"/>
                  <a:pt x="8970584" y="897304"/>
                  <a:pt x="8967927" y="894277"/>
                </a:cubicBezTo>
                <a:cubicBezTo>
                  <a:pt x="8965270" y="891291"/>
                  <a:pt x="8962083" y="889041"/>
                  <a:pt x="8958282" y="887487"/>
                </a:cubicBezTo>
                <a:cubicBezTo>
                  <a:pt x="8954481" y="885973"/>
                  <a:pt x="8949740" y="884419"/>
                  <a:pt x="8944058" y="882864"/>
                </a:cubicBezTo>
                <a:cubicBezTo>
                  <a:pt x="8938255" y="881187"/>
                  <a:pt x="8934045" y="879592"/>
                  <a:pt x="8931429" y="878119"/>
                </a:cubicBezTo>
                <a:cubicBezTo>
                  <a:pt x="8928813" y="876647"/>
                  <a:pt x="8927505" y="874479"/>
                  <a:pt x="8927505" y="871615"/>
                </a:cubicBezTo>
                <a:cubicBezTo>
                  <a:pt x="8927505" y="868752"/>
                  <a:pt x="8928854" y="866502"/>
                  <a:pt x="8931552" y="864825"/>
                </a:cubicBezTo>
                <a:cubicBezTo>
                  <a:pt x="8934290" y="863148"/>
                  <a:pt x="8937805" y="862330"/>
                  <a:pt x="8942137" y="862330"/>
                </a:cubicBezTo>
                <a:cubicBezTo>
                  <a:pt x="8946960" y="862330"/>
                  <a:pt x="8950761" y="863271"/>
                  <a:pt x="8953541" y="865193"/>
                </a:cubicBezTo>
                <a:cubicBezTo>
                  <a:pt x="8956361" y="867116"/>
                  <a:pt x="8957750" y="869488"/>
                  <a:pt x="8957750" y="872352"/>
                </a:cubicBezTo>
                <a:cubicBezTo>
                  <a:pt x="8957750" y="872352"/>
                  <a:pt x="8957750" y="872352"/>
                  <a:pt x="8957750" y="872801"/>
                </a:cubicBezTo>
                <a:cubicBezTo>
                  <a:pt x="8957750" y="873783"/>
                  <a:pt x="8958241" y="874274"/>
                  <a:pt x="8959222" y="874274"/>
                </a:cubicBezTo>
                <a:cubicBezTo>
                  <a:pt x="8959222" y="874274"/>
                  <a:pt x="8959222" y="874274"/>
                  <a:pt x="8969562" y="874274"/>
                </a:cubicBezTo>
                <a:cubicBezTo>
                  <a:pt x="8970543" y="874274"/>
                  <a:pt x="8971034" y="873783"/>
                  <a:pt x="8971034" y="872801"/>
                </a:cubicBezTo>
                <a:cubicBezTo>
                  <a:pt x="8971034" y="872801"/>
                  <a:pt x="8971034" y="872801"/>
                  <a:pt x="8971034" y="872352"/>
                </a:cubicBezTo>
                <a:cubicBezTo>
                  <a:pt x="8971034" y="868343"/>
                  <a:pt x="8969848" y="864661"/>
                  <a:pt x="8967518" y="861430"/>
                </a:cubicBezTo>
                <a:cubicBezTo>
                  <a:pt x="8965148" y="858198"/>
                  <a:pt x="8961756" y="855662"/>
                  <a:pt x="8957382" y="853821"/>
                </a:cubicBezTo>
                <a:cubicBezTo>
                  <a:pt x="8953009" y="852022"/>
                  <a:pt x="8947982" y="851081"/>
                  <a:pt x="8942260" y="851081"/>
                </a:cubicBezTo>
                <a:close/>
                <a:moveTo>
                  <a:pt x="8341870" y="851081"/>
                </a:moveTo>
                <a:cubicBezTo>
                  <a:pt x="8334206" y="851081"/>
                  <a:pt x="8328141" y="854549"/>
                  <a:pt x="8323674" y="861404"/>
                </a:cubicBezTo>
                <a:cubicBezTo>
                  <a:pt x="8323592" y="861608"/>
                  <a:pt x="8323470" y="861690"/>
                  <a:pt x="8323306" y="861649"/>
                </a:cubicBezTo>
                <a:cubicBezTo>
                  <a:pt x="8323183" y="861567"/>
                  <a:pt x="8323101" y="861404"/>
                  <a:pt x="8323101" y="861118"/>
                </a:cubicBezTo>
                <a:cubicBezTo>
                  <a:pt x="8323101" y="861118"/>
                  <a:pt x="8323101" y="861118"/>
                  <a:pt x="8323101" y="853325"/>
                </a:cubicBezTo>
                <a:cubicBezTo>
                  <a:pt x="8323101" y="852346"/>
                  <a:pt x="8322609" y="851856"/>
                  <a:pt x="8321626" y="851856"/>
                </a:cubicBezTo>
                <a:cubicBezTo>
                  <a:pt x="8321626" y="851856"/>
                  <a:pt x="8321626" y="851856"/>
                  <a:pt x="8310356" y="851856"/>
                </a:cubicBezTo>
                <a:cubicBezTo>
                  <a:pt x="8309372" y="851856"/>
                  <a:pt x="8308881" y="852346"/>
                  <a:pt x="8308881" y="853325"/>
                </a:cubicBezTo>
                <a:cubicBezTo>
                  <a:pt x="8308881" y="853325"/>
                  <a:pt x="8308881" y="853325"/>
                  <a:pt x="8308881" y="925343"/>
                </a:cubicBezTo>
                <a:cubicBezTo>
                  <a:pt x="8308881" y="926322"/>
                  <a:pt x="8309372" y="926811"/>
                  <a:pt x="8310356" y="926811"/>
                </a:cubicBezTo>
                <a:cubicBezTo>
                  <a:pt x="8310356" y="926811"/>
                  <a:pt x="8310356" y="926811"/>
                  <a:pt x="8321626" y="926811"/>
                </a:cubicBezTo>
                <a:cubicBezTo>
                  <a:pt x="8322609" y="926811"/>
                  <a:pt x="8323101" y="926322"/>
                  <a:pt x="8323101" y="925343"/>
                </a:cubicBezTo>
                <a:cubicBezTo>
                  <a:pt x="8323101" y="925343"/>
                  <a:pt x="8323101" y="925343"/>
                  <a:pt x="8323101" y="882336"/>
                </a:cubicBezTo>
                <a:cubicBezTo>
                  <a:pt x="8323101" y="877521"/>
                  <a:pt x="8324576" y="873604"/>
                  <a:pt x="8327609" y="870625"/>
                </a:cubicBezTo>
                <a:cubicBezTo>
                  <a:pt x="8330600" y="867606"/>
                  <a:pt x="8334452" y="866015"/>
                  <a:pt x="8339083" y="865852"/>
                </a:cubicBezTo>
                <a:cubicBezTo>
                  <a:pt x="8339083" y="865852"/>
                  <a:pt x="8339083" y="865852"/>
                  <a:pt x="8341132" y="865688"/>
                </a:cubicBezTo>
                <a:cubicBezTo>
                  <a:pt x="8343427" y="865688"/>
                  <a:pt x="8345394" y="866015"/>
                  <a:pt x="8347074" y="866708"/>
                </a:cubicBezTo>
                <a:cubicBezTo>
                  <a:pt x="8348140" y="866994"/>
                  <a:pt x="8348755" y="866708"/>
                  <a:pt x="8348836" y="865852"/>
                </a:cubicBezTo>
                <a:cubicBezTo>
                  <a:pt x="8348836" y="865852"/>
                  <a:pt x="8348836" y="865852"/>
                  <a:pt x="8351213" y="854794"/>
                </a:cubicBezTo>
                <a:cubicBezTo>
                  <a:pt x="8351377" y="853896"/>
                  <a:pt x="8351131" y="853325"/>
                  <a:pt x="8350476" y="852998"/>
                </a:cubicBezTo>
                <a:cubicBezTo>
                  <a:pt x="8347894" y="851734"/>
                  <a:pt x="8345025" y="851081"/>
                  <a:pt x="8341870" y="851081"/>
                </a:cubicBezTo>
                <a:close/>
                <a:moveTo>
                  <a:pt x="9500095" y="850808"/>
                </a:moveTo>
                <a:cubicBezTo>
                  <a:pt x="9491852" y="850808"/>
                  <a:pt x="9485608" y="853501"/>
                  <a:pt x="9481365" y="858927"/>
                </a:cubicBezTo>
                <a:cubicBezTo>
                  <a:pt x="9481283" y="859131"/>
                  <a:pt x="9481161" y="859172"/>
                  <a:pt x="9480997" y="859049"/>
                </a:cubicBezTo>
                <a:cubicBezTo>
                  <a:pt x="9480875" y="858968"/>
                  <a:pt x="9480793" y="858804"/>
                  <a:pt x="9480793" y="858641"/>
                </a:cubicBezTo>
                <a:cubicBezTo>
                  <a:pt x="9480793" y="858641"/>
                  <a:pt x="9480793" y="858641"/>
                  <a:pt x="9480793" y="853338"/>
                </a:cubicBezTo>
                <a:cubicBezTo>
                  <a:pt x="9480793" y="852359"/>
                  <a:pt x="9480304" y="851869"/>
                  <a:pt x="9479324" y="851869"/>
                </a:cubicBezTo>
                <a:cubicBezTo>
                  <a:pt x="9479324" y="851869"/>
                  <a:pt x="9479324" y="851869"/>
                  <a:pt x="9468144" y="851869"/>
                </a:cubicBezTo>
                <a:cubicBezTo>
                  <a:pt x="9467164" y="851869"/>
                  <a:pt x="9466634" y="852359"/>
                  <a:pt x="9466634" y="853338"/>
                </a:cubicBezTo>
                <a:cubicBezTo>
                  <a:pt x="9466634" y="853338"/>
                  <a:pt x="9466634" y="853338"/>
                  <a:pt x="9466634" y="925343"/>
                </a:cubicBezTo>
                <a:cubicBezTo>
                  <a:pt x="9466634" y="926322"/>
                  <a:pt x="9467164" y="926812"/>
                  <a:pt x="9468144" y="926812"/>
                </a:cubicBezTo>
                <a:cubicBezTo>
                  <a:pt x="9468144" y="926812"/>
                  <a:pt x="9468144" y="926812"/>
                  <a:pt x="9479324" y="926812"/>
                </a:cubicBezTo>
                <a:cubicBezTo>
                  <a:pt x="9480304" y="926812"/>
                  <a:pt x="9480793" y="926322"/>
                  <a:pt x="9480793" y="925343"/>
                </a:cubicBezTo>
                <a:cubicBezTo>
                  <a:pt x="9480793" y="925343"/>
                  <a:pt x="9480793" y="925343"/>
                  <a:pt x="9480793" y="879406"/>
                </a:cubicBezTo>
                <a:cubicBezTo>
                  <a:pt x="9480793" y="874593"/>
                  <a:pt x="9482262" y="870635"/>
                  <a:pt x="9485200" y="867616"/>
                </a:cubicBezTo>
                <a:cubicBezTo>
                  <a:pt x="9488179" y="864557"/>
                  <a:pt x="9491933" y="863047"/>
                  <a:pt x="9496544" y="863047"/>
                </a:cubicBezTo>
                <a:cubicBezTo>
                  <a:pt x="9501278" y="863047"/>
                  <a:pt x="9505032" y="864557"/>
                  <a:pt x="9507889" y="867616"/>
                </a:cubicBezTo>
                <a:cubicBezTo>
                  <a:pt x="9510745" y="870635"/>
                  <a:pt x="9512173" y="874633"/>
                  <a:pt x="9512173" y="879529"/>
                </a:cubicBezTo>
                <a:cubicBezTo>
                  <a:pt x="9512173" y="879529"/>
                  <a:pt x="9512173" y="879529"/>
                  <a:pt x="9512173" y="925343"/>
                </a:cubicBezTo>
                <a:cubicBezTo>
                  <a:pt x="9512173" y="926322"/>
                  <a:pt x="9512663" y="926812"/>
                  <a:pt x="9513642" y="926812"/>
                </a:cubicBezTo>
                <a:cubicBezTo>
                  <a:pt x="9513642" y="926812"/>
                  <a:pt x="9513642" y="926812"/>
                  <a:pt x="9524823" y="926812"/>
                </a:cubicBezTo>
                <a:cubicBezTo>
                  <a:pt x="9525802" y="926812"/>
                  <a:pt x="9526292" y="926322"/>
                  <a:pt x="9526292" y="925343"/>
                </a:cubicBezTo>
                <a:cubicBezTo>
                  <a:pt x="9526292" y="925343"/>
                  <a:pt x="9526292" y="925343"/>
                  <a:pt x="9526292" y="876755"/>
                </a:cubicBezTo>
                <a:cubicBezTo>
                  <a:pt x="9526292" y="868799"/>
                  <a:pt x="9523966" y="862476"/>
                  <a:pt x="9519233" y="857825"/>
                </a:cubicBezTo>
                <a:cubicBezTo>
                  <a:pt x="9514540" y="853134"/>
                  <a:pt x="9508133" y="850808"/>
                  <a:pt x="9500095" y="850808"/>
                </a:cubicBezTo>
                <a:close/>
                <a:moveTo>
                  <a:pt x="9416408" y="850808"/>
                </a:moveTo>
                <a:cubicBezTo>
                  <a:pt x="9408829" y="850808"/>
                  <a:pt x="9402431" y="852765"/>
                  <a:pt x="9397134" y="856678"/>
                </a:cubicBezTo>
                <a:cubicBezTo>
                  <a:pt x="9391837" y="860591"/>
                  <a:pt x="9388292" y="865931"/>
                  <a:pt x="9386540" y="872738"/>
                </a:cubicBezTo>
                <a:cubicBezTo>
                  <a:pt x="9385440" y="876447"/>
                  <a:pt x="9384910" y="881909"/>
                  <a:pt x="9384910" y="889043"/>
                </a:cubicBezTo>
                <a:cubicBezTo>
                  <a:pt x="9384910" y="897276"/>
                  <a:pt x="9386092" y="904287"/>
                  <a:pt x="9388455" y="910076"/>
                </a:cubicBezTo>
                <a:cubicBezTo>
                  <a:pt x="9390900" y="915864"/>
                  <a:pt x="9394567" y="920347"/>
                  <a:pt x="9399457" y="923486"/>
                </a:cubicBezTo>
                <a:cubicBezTo>
                  <a:pt x="9404387" y="926625"/>
                  <a:pt x="9410418" y="928174"/>
                  <a:pt x="9417549" y="928174"/>
                </a:cubicBezTo>
                <a:cubicBezTo>
                  <a:pt x="9423946" y="928174"/>
                  <a:pt x="9429651" y="926910"/>
                  <a:pt x="9434704" y="924342"/>
                </a:cubicBezTo>
                <a:cubicBezTo>
                  <a:pt x="9439756" y="921815"/>
                  <a:pt x="9443668" y="918350"/>
                  <a:pt x="9446398" y="913907"/>
                </a:cubicBezTo>
                <a:cubicBezTo>
                  <a:pt x="9446806" y="913214"/>
                  <a:pt x="9446642" y="912603"/>
                  <a:pt x="9445950" y="911991"/>
                </a:cubicBezTo>
                <a:cubicBezTo>
                  <a:pt x="9445950" y="911991"/>
                  <a:pt x="9445950" y="911991"/>
                  <a:pt x="9437556" y="906407"/>
                </a:cubicBezTo>
                <a:cubicBezTo>
                  <a:pt x="9436782" y="905714"/>
                  <a:pt x="9436130" y="905877"/>
                  <a:pt x="9435641" y="906855"/>
                </a:cubicBezTo>
                <a:cubicBezTo>
                  <a:pt x="9431729" y="912847"/>
                  <a:pt x="9426146" y="915823"/>
                  <a:pt x="9418893" y="915823"/>
                </a:cubicBezTo>
                <a:cubicBezTo>
                  <a:pt x="9413882" y="915823"/>
                  <a:pt x="9409766" y="914722"/>
                  <a:pt x="9406465" y="912521"/>
                </a:cubicBezTo>
                <a:cubicBezTo>
                  <a:pt x="9403165" y="910320"/>
                  <a:pt x="9401005" y="907263"/>
                  <a:pt x="9399905" y="903309"/>
                </a:cubicBezTo>
                <a:cubicBezTo>
                  <a:pt x="9399335" y="901556"/>
                  <a:pt x="9399049" y="898988"/>
                  <a:pt x="9399049" y="895687"/>
                </a:cubicBezTo>
                <a:cubicBezTo>
                  <a:pt x="9399049" y="895279"/>
                  <a:pt x="9399212" y="895075"/>
                  <a:pt x="9399620" y="895075"/>
                </a:cubicBezTo>
                <a:cubicBezTo>
                  <a:pt x="9399620" y="895075"/>
                  <a:pt x="9399620" y="895075"/>
                  <a:pt x="9446561" y="895075"/>
                </a:cubicBezTo>
                <a:cubicBezTo>
                  <a:pt x="9447539" y="895075"/>
                  <a:pt x="9448028" y="894586"/>
                  <a:pt x="9448028" y="893608"/>
                </a:cubicBezTo>
                <a:cubicBezTo>
                  <a:pt x="9448110" y="888594"/>
                  <a:pt x="9447987" y="884110"/>
                  <a:pt x="9447580" y="880075"/>
                </a:cubicBezTo>
                <a:cubicBezTo>
                  <a:pt x="9446480" y="870455"/>
                  <a:pt x="9443505" y="863200"/>
                  <a:pt x="9438615" y="858227"/>
                </a:cubicBezTo>
                <a:cubicBezTo>
                  <a:pt x="9433685" y="853254"/>
                  <a:pt x="9426310" y="850808"/>
                  <a:pt x="9416408" y="850808"/>
                </a:cubicBezTo>
                <a:close/>
                <a:moveTo>
                  <a:pt x="9294082" y="850808"/>
                </a:moveTo>
                <a:cubicBezTo>
                  <a:pt x="9287590" y="850808"/>
                  <a:pt x="9281954" y="852604"/>
                  <a:pt x="9277217" y="856153"/>
                </a:cubicBezTo>
                <a:cubicBezTo>
                  <a:pt x="9272440" y="859743"/>
                  <a:pt x="9269132" y="864476"/>
                  <a:pt x="9267253" y="870392"/>
                </a:cubicBezTo>
                <a:cubicBezTo>
                  <a:pt x="9265783" y="874798"/>
                  <a:pt x="9265048" y="881081"/>
                  <a:pt x="9265048" y="889241"/>
                </a:cubicBezTo>
                <a:cubicBezTo>
                  <a:pt x="9265048" y="896911"/>
                  <a:pt x="9265702" y="902868"/>
                  <a:pt x="9266968" y="907192"/>
                </a:cubicBezTo>
                <a:cubicBezTo>
                  <a:pt x="9268928" y="913679"/>
                  <a:pt x="9272480" y="918575"/>
                  <a:pt x="9277626" y="921921"/>
                </a:cubicBezTo>
                <a:cubicBezTo>
                  <a:pt x="9282812" y="925266"/>
                  <a:pt x="9288570" y="926939"/>
                  <a:pt x="9294981" y="926939"/>
                </a:cubicBezTo>
                <a:cubicBezTo>
                  <a:pt x="9302944" y="926939"/>
                  <a:pt x="9308987" y="924532"/>
                  <a:pt x="9313112" y="919717"/>
                </a:cubicBezTo>
                <a:cubicBezTo>
                  <a:pt x="9313316" y="919513"/>
                  <a:pt x="9313479" y="919473"/>
                  <a:pt x="9313602" y="919554"/>
                </a:cubicBezTo>
                <a:cubicBezTo>
                  <a:pt x="9313765" y="919677"/>
                  <a:pt x="9313847" y="919799"/>
                  <a:pt x="9313847" y="920003"/>
                </a:cubicBezTo>
                <a:cubicBezTo>
                  <a:pt x="9313847" y="920003"/>
                  <a:pt x="9313847" y="920003"/>
                  <a:pt x="9313847" y="922655"/>
                </a:cubicBezTo>
                <a:cubicBezTo>
                  <a:pt x="9313847" y="930040"/>
                  <a:pt x="9311968" y="935262"/>
                  <a:pt x="9308252" y="938362"/>
                </a:cubicBezTo>
                <a:cubicBezTo>
                  <a:pt x="9304495" y="941463"/>
                  <a:pt x="9298452" y="942973"/>
                  <a:pt x="9290121" y="942973"/>
                </a:cubicBezTo>
                <a:cubicBezTo>
                  <a:pt x="9287467" y="942973"/>
                  <a:pt x="9285425" y="942932"/>
                  <a:pt x="9284078" y="942850"/>
                </a:cubicBezTo>
                <a:cubicBezTo>
                  <a:pt x="9283547" y="942728"/>
                  <a:pt x="9283179" y="942850"/>
                  <a:pt x="9282893" y="943136"/>
                </a:cubicBezTo>
                <a:cubicBezTo>
                  <a:pt x="9282608" y="943422"/>
                  <a:pt x="9282444" y="943789"/>
                  <a:pt x="9282444" y="944156"/>
                </a:cubicBezTo>
                <a:cubicBezTo>
                  <a:pt x="9282444" y="944156"/>
                  <a:pt x="9282444" y="944156"/>
                  <a:pt x="9281995" y="954315"/>
                </a:cubicBezTo>
                <a:cubicBezTo>
                  <a:pt x="9281995" y="955294"/>
                  <a:pt x="9282485" y="955865"/>
                  <a:pt x="9283465" y="955947"/>
                </a:cubicBezTo>
                <a:cubicBezTo>
                  <a:pt x="9286814" y="956151"/>
                  <a:pt x="9289264" y="956232"/>
                  <a:pt x="9290856" y="956232"/>
                </a:cubicBezTo>
                <a:cubicBezTo>
                  <a:pt x="9302127" y="956232"/>
                  <a:pt x="9311152" y="953703"/>
                  <a:pt x="9317889" y="948603"/>
                </a:cubicBezTo>
                <a:cubicBezTo>
                  <a:pt x="9324627" y="943462"/>
                  <a:pt x="9327976" y="934976"/>
                  <a:pt x="9327976" y="923104"/>
                </a:cubicBezTo>
                <a:cubicBezTo>
                  <a:pt x="9327976" y="923104"/>
                  <a:pt x="9327976" y="923104"/>
                  <a:pt x="9327976" y="853460"/>
                </a:cubicBezTo>
                <a:cubicBezTo>
                  <a:pt x="9327976" y="852481"/>
                  <a:pt x="9327486" y="851991"/>
                  <a:pt x="9326506" y="851991"/>
                </a:cubicBezTo>
                <a:cubicBezTo>
                  <a:pt x="9326506" y="851991"/>
                  <a:pt x="9326506" y="851991"/>
                  <a:pt x="9315317" y="851991"/>
                </a:cubicBezTo>
                <a:cubicBezTo>
                  <a:pt x="9314337" y="851991"/>
                  <a:pt x="9313847" y="852481"/>
                  <a:pt x="9313847" y="853460"/>
                </a:cubicBezTo>
                <a:cubicBezTo>
                  <a:pt x="9313847" y="853460"/>
                  <a:pt x="9313847" y="853460"/>
                  <a:pt x="9313847" y="858030"/>
                </a:cubicBezTo>
                <a:cubicBezTo>
                  <a:pt x="9313847" y="858193"/>
                  <a:pt x="9313765" y="858315"/>
                  <a:pt x="9313602" y="858397"/>
                </a:cubicBezTo>
                <a:cubicBezTo>
                  <a:pt x="9313479" y="858438"/>
                  <a:pt x="9313316" y="858356"/>
                  <a:pt x="9313112" y="858152"/>
                </a:cubicBezTo>
                <a:cubicBezTo>
                  <a:pt x="9308497" y="853256"/>
                  <a:pt x="9302127" y="850808"/>
                  <a:pt x="9294082" y="850808"/>
                </a:cubicBezTo>
                <a:close/>
                <a:moveTo>
                  <a:pt x="9164521" y="850808"/>
                </a:moveTo>
                <a:cubicBezTo>
                  <a:pt x="9156950" y="850808"/>
                  <a:pt x="9150525" y="852765"/>
                  <a:pt x="9145205" y="856678"/>
                </a:cubicBezTo>
                <a:cubicBezTo>
                  <a:pt x="9139885" y="860591"/>
                  <a:pt x="9136325" y="865931"/>
                  <a:pt x="9134565" y="872738"/>
                </a:cubicBezTo>
                <a:cubicBezTo>
                  <a:pt x="9133460" y="876447"/>
                  <a:pt x="9132928" y="881909"/>
                  <a:pt x="9132928" y="889043"/>
                </a:cubicBezTo>
                <a:cubicBezTo>
                  <a:pt x="9132928" y="897276"/>
                  <a:pt x="9134115" y="904287"/>
                  <a:pt x="9136489" y="910076"/>
                </a:cubicBezTo>
                <a:cubicBezTo>
                  <a:pt x="9138944" y="915864"/>
                  <a:pt x="9142627" y="920347"/>
                  <a:pt x="9147538" y="923486"/>
                </a:cubicBezTo>
                <a:cubicBezTo>
                  <a:pt x="9152490" y="926625"/>
                  <a:pt x="9158546" y="928174"/>
                  <a:pt x="9165708" y="928174"/>
                </a:cubicBezTo>
                <a:cubicBezTo>
                  <a:pt x="9172133" y="928174"/>
                  <a:pt x="9177862" y="926910"/>
                  <a:pt x="9182937" y="924342"/>
                </a:cubicBezTo>
                <a:cubicBezTo>
                  <a:pt x="9188011" y="921815"/>
                  <a:pt x="9191940" y="918350"/>
                  <a:pt x="9194682" y="913907"/>
                </a:cubicBezTo>
                <a:cubicBezTo>
                  <a:pt x="9195050" y="913214"/>
                  <a:pt x="9194927" y="912603"/>
                  <a:pt x="9194232" y="911991"/>
                </a:cubicBezTo>
                <a:cubicBezTo>
                  <a:pt x="9194232" y="911991"/>
                  <a:pt x="9194232" y="911991"/>
                  <a:pt x="9185801" y="906407"/>
                </a:cubicBezTo>
                <a:cubicBezTo>
                  <a:pt x="9185024" y="905714"/>
                  <a:pt x="9184369" y="905877"/>
                  <a:pt x="9183878" y="906855"/>
                </a:cubicBezTo>
                <a:cubicBezTo>
                  <a:pt x="9179949" y="912847"/>
                  <a:pt x="9174343" y="915823"/>
                  <a:pt x="9167058" y="915823"/>
                </a:cubicBezTo>
                <a:cubicBezTo>
                  <a:pt x="9162025" y="915823"/>
                  <a:pt x="9157851" y="914722"/>
                  <a:pt x="9154577" y="912521"/>
                </a:cubicBezTo>
                <a:cubicBezTo>
                  <a:pt x="9151262" y="910320"/>
                  <a:pt x="9149093" y="907263"/>
                  <a:pt x="9147988" y="903309"/>
                </a:cubicBezTo>
                <a:cubicBezTo>
                  <a:pt x="9147415" y="901556"/>
                  <a:pt x="9147129" y="898988"/>
                  <a:pt x="9147129" y="895687"/>
                </a:cubicBezTo>
                <a:cubicBezTo>
                  <a:pt x="9147129" y="895279"/>
                  <a:pt x="9147292" y="895075"/>
                  <a:pt x="9147702" y="895075"/>
                </a:cubicBezTo>
                <a:cubicBezTo>
                  <a:pt x="9147702" y="895075"/>
                  <a:pt x="9147702" y="895075"/>
                  <a:pt x="9194804" y="895075"/>
                </a:cubicBezTo>
                <a:cubicBezTo>
                  <a:pt x="9195787" y="895075"/>
                  <a:pt x="9196319" y="894586"/>
                  <a:pt x="9196319" y="893608"/>
                </a:cubicBezTo>
                <a:cubicBezTo>
                  <a:pt x="9196400" y="888594"/>
                  <a:pt x="9196237" y="884110"/>
                  <a:pt x="9195869" y="880075"/>
                </a:cubicBezTo>
                <a:cubicBezTo>
                  <a:pt x="9194764" y="870455"/>
                  <a:pt x="9191776" y="863200"/>
                  <a:pt x="9186865" y="858227"/>
                </a:cubicBezTo>
                <a:cubicBezTo>
                  <a:pt x="9181914" y="853254"/>
                  <a:pt x="9174506" y="850808"/>
                  <a:pt x="9164521" y="850808"/>
                </a:cubicBezTo>
                <a:close/>
                <a:moveTo>
                  <a:pt x="9088711" y="850808"/>
                </a:moveTo>
                <a:cubicBezTo>
                  <a:pt x="9080468" y="850808"/>
                  <a:pt x="9074225" y="853501"/>
                  <a:pt x="9070022" y="858927"/>
                </a:cubicBezTo>
                <a:cubicBezTo>
                  <a:pt x="9069899" y="859131"/>
                  <a:pt x="9069777" y="859172"/>
                  <a:pt x="9069654" y="859049"/>
                </a:cubicBezTo>
                <a:cubicBezTo>
                  <a:pt x="9069491" y="858968"/>
                  <a:pt x="9069410" y="858804"/>
                  <a:pt x="9069410" y="858641"/>
                </a:cubicBezTo>
                <a:cubicBezTo>
                  <a:pt x="9069410" y="858641"/>
                  <a:pt x="9069410" y="858641"/>
                  <a:pt x="9069410" y="853338"/>
                </a:cubicBezTo>
                <a:cubicBezTo>
                  <a:pt x="9069410" y="852359"/>
                  <a:pt x="9068920" y="851869"/>
                  <a:pt x="9067941" y="851869"/>
                </a:cubicBezTo>
                <a:cubicBezTo>
                  <a:pt x="9067941" y="851869"/>
                  <a:pt x="9067941" y="851869"/>
                  <a:pt x="9056760" y="851869"/>
                </a:cubicBezTo>
                <a:cubicBezTo>
                  <a:pt x="9055780" y="851869"/>
                  <a:pt x="9055291" y="852359"/>
                  <a:pt x="9055291" y="853338"/>
                </a:cubicBezTo>
                <a:cubicBezTo>
                  <a:pt x="9055291" y="853338"/>
                  <a:pt x="9055291" y="853338"/>
                  <a:pt x="9055291" y="925343"/>
                </a:cubicBezTo>
                <a:cubicBezTo>
                  <a:pt x="9055291" y="926322"/>
                  <a:pt x="9055780" y="926812"/>
                  <a:pt x="9056760" y="926812"/>
                </a:cubicBezTo>
                <a:cubicBezTo>
                  <a:pt x="9056760" y="926812"/>
                  <a:pt x="9056760" y="926812"/>
                  <a:pt x="9067941" y="926812"/>
                </a:cubicBezTo>
                <a:cubicBezTo>
                  <a:pt x="9068920" y="926812"/>
                  <a:pt x="9069410" y="926322"/>
                  <a:pt x="9069410" y="925343"/>
                </a:cubicBezTo>
                <a:cubicBezTo>
                  <a:pt x="9069410" y="925343"/>
                  <a:pt x="9069410" y="925343"/>
                  <a:pt x="9069410" y="879406"/>
                </a:cubicBezTo>
                <a:cubicBezTo>
                  <a:pt x="9069410" y="874593"/>
                  <a:pt x="9070878" y="870635"/>
                  <a:pt x="9073817" y="867616"/>
                </a:cubicBezTo>
                <a:cubicBezTo>
                  <a:pt x="9076795" y="864557"/>
                  <a:pt x="9080550" y="863047"/>
                  <a:pt x="9085161" y="863047"/>
                </a:cubicBezTo>
                <a:cubicBezTo>
                  <a:pt x="9089894" y="863047"/>
                  <a:pt x="9093648" y="864557"/>
                  <a:pt x="9096505" y="867616"/>
                </a:cubicBezTo>
                <a:cubicBezTo>
                  <a:pt x="9099361" y="870635"/>
                  <a:pt x="9100789" y="874633"/>
                  <a:pt x="9100789" y="879529"/>
                </a:cubicBezTo>
                <a:cubicBezTo>
                  <a:pt x="9100789" y="879529"/>
                  <a:pt x="9100789" y="879529"/>
                  <a:pt x="9100789" y="925343"/>
                </a:cubicBezTo>
                <a:cubicBezTo>
                  <a:pt x="9100789" y="926322"/>
                  <a:pt x="9101279" y="926812"/>
                  <a:pt x="9102258" y="926812"/>
                </a:cubicBezTo>
                <a:cubicBezTo>
                  <a:pt x="9102258" y="926812"/>
                  <a:pt x="9102258" y="926812"/>
                  <a:pt x="9113439" y="926812"/>
                </a:cubicBezTo>
                <a:cubicBezTo>
                  <a:pt x="9114459" y="926812"/>
                  <a:pt x="9114949" y="926322"/>
                  <a:pt x="9114949" y="925343"/>
                </a:cubicBezTo>
                <a:cubicBezTo>
                  <a:pt x="9114949" y="925343"/>
                  <a:pt x="9114949" y="925343"/>
                  <a:pt x="9114949" y="876755"/>
                </a:cubicBezTo>
                <a:cubicBezTo>
                  <a:pt x="9114949" y="868799"/>
                  <a:pt x="9112582" y="862476"/>
                  <a:pt x="9107849" y="857825"/>
                </a:cubicBezTo>
                <a:cubicBezTo>
                  <a:pt x="9103156" y="853134"/>
                  <a:pt x="9096750" y="850808"/>
                  <a:pt x="9088711" y="850808"/>
                </a:cubicBezTo>
                <a:close/>
                <a:moveTo>
                  <a:pt x="8839222" y="850808"/>
                </a:moveTo>
                <a:cubicBezTo>
                  <a:pt x="8830979" y="850808"/>
                  <a:pt x="8824736" y="853501"/>
                  <a:pt x="8820492" y="858927"/>
                </a:cubicBezTo>
                <a:cubicBezTo>
                  <a:pt x="8820410" y="859131"/>
                  <a:pt x="8820288" y="859172"/>
                  <a:pt x="8820124" y="859049"/>
                </a:cubicBezTo>
                <a:cubicBezTo>
                  <a:pt x="8820002" y="858968"/>
                  <a:pt x="8819920" y="858804"/>
                  <a:pt x="8819920" y="858641"/>
                </a:cubicBezTo>
                <a:cubicBezTo>
                  <a:pt x="8819920" y="858641"/>
                  <a:pt x="8819920" y="858641"/>
                  <a:pt x="8819920" y="853338"/>
                </a:cubicBezTo>
                <a:cubicBezTo>
                  <a:pt x="8819920" y="852359"/>
                  <a:pt x="8819431" y="851869"/>
                  <a:pt x="8818452" y="851869"/>
                </a:cubicBezTo>
                <a:cubicBezTo>
                  <a:pt x="8818452" y="851869"/>
                  <a:pt x="8818452" y="851869"/>
                  <a:pt x="8807230" y="851869"/>
                </a:cubicBezTo>
                <a:cubicBezTo>
                  <a:pt x="8806251" y="851869"/>
                  <a:pt x="8805761" y="852359"/>
                  <a:pt x="8805761" y="853338"/>
                </a:cubicBezTo>
                <a:cubicBezTo>
                  <a:pt x="8805761" y="853338"/>
                  <a:pt x="8805761" y="853338"/>
                  <a:pt x="8805761" y="925343"/>
                </a:cubicBezTo>
                <a:cubicBezTo>
                  <a:pt x="8805761" y="926322"/>
                  <a:pt x="8806251" y="926812"/>
                  <a:pt x="8807230" y="926812"/>
                </a:cubicBezTo>
                <a:cubicBezTo>
                  <a:pt x="8807230" y="926812"/>
                  <a:pt x="8807230" y="926812"/>
                  <a:pt x="8818452" y="926812"/>
                </a:cubicBezTo>
                <a:cubicBezTo>
                  <a:pt x="8819431" y="926812"/>
                  <a:pt x="8819920" y="926322"/>
                  <a:pt x="8819920" y="925343"/>
                </a:cubicBezTo>
                <a:cubicBezTo>
                  <a:pt x="8819920" y="925343"/>
                  <a:pt x="8819920" y="925343"/>
                  <a:pt x="8819920" y="879406"/>
                </a:cubicBezTo>
                <a:cubicBezTo>
                  <a:pt x="8819920" y="874593"/>
                  <a:pt x="8821390" y="870635"/>
                  <a:pt x="8824328" y="867616"/>
                </a:cubicBezTo>
                <a:cubicBezTo>
                  <a:pt x="8827266" y="864557"/>
                  <a:pt x="8831061" y="863047"/>
                  <a:pt x="8835672" y="863047"/>
                </a:cubicBezTo>
                <a:cubicBezTo>
                  <a:pt x="8840405" y="863047"/>
                  <a:pt x="8844159" y="864557"/>
                  <a:pt x="8847016" y="867616"/>
                </a:cubicBezTo>
                <a:cubicBezTo>
                  <a:pt x="8849872" y="870635"/>
                  <a:pt x="8851300" y="874633"/>
                  <a:pt x="8851300" y="879529"/>
                </a:cubicBezTo>
                <a:cubicBezTo>
                  <a:pt x="8851300" y="879529"/>
                  <a:pt x="8851300" y="879529"/>
                  <a:pt x="8851300" y="925343"/>
                </a:cubicBezTo>
                <a:cubicBezTo>
                  <a:pt x="8851300" y="926322"/>
                  <a:pt x="8851790" y="926812"/>
                  <a:pt x="8852769" y="926812"/>
                </a:cubicBezTo>
                <a:cubicBezTo>
                  <a:pt x="8852769" y="926812"/>
                  <a:pt x="8852769" y="926812"/>
                  <a:pt x="8863950" y="926812"/>
                </a:cubicBezTo>
                <a:cubicBezTo>
                  <a:pt x="8864930" y="926812"/>
                  <a:pt x="8865419" y="926322"/>
                  <a:pt x="8865419" y="925343"/>
                </a:cubicBezTo>
                <a:cubicBezTo>
                  <a:pt x="8865419" y="925343"/>
                  <a:pt x="8865419" y="925343"/>
                  <a:pt x="8865419" y="876755"/>
                </a:cubicBezTo>
                <a:cubicBezTo>
                  <a:pt x="8865419" y="868799"/>
                  <a:pt x="8863093" y="862476"/>
                  <a:pt x="8858360" y="857825"/>
                </a:cubicBezTo>
                <a:cubicBezTo>
                  <a:pt x="8853626" y="853134"/>
                  <a:pt x="8847261" y="850808"/>
                  <a:pt x="8839222" y="850808"/>
                </a:cubicBezTo>
                <a:close/>
                <a:moveTo>
                  <a:pt x="8755787" y="850808"/>
                </a:moveTo>
                <a:cubicBezTo>
                  <a:pt x="8748244" y="850808"/>
                  <a:pt x="8741802" y="852765"/>
                  <a:pt x="8736501" y="856678"/>
                </a:cubicBezTo>
                <a:cubicBezTo>
                  <a:pt x="8731201" y="860591"/>
                  <a:pt x="8727694" y="865931"/>
                  <a:pt x="8725900" y="872738"/>
                </a:cubicBezTo>
                <a:cubicBezTo>
                  <a:pt x="8724840" y="876447"/>
                  <a:pt x="8724310" y="881909"/>
                  <a:pt x="8724310" y="889043"/>
                </a:cubicBezTo>
                <a:cubicBezTo>
                  <a:pt x="8724310" y="897276"/>
                  <a:pt x="8725452" y="904287"/>
                  <a:pt x="8727817" y="910076"/>
                </a:cubicBezTo>
                <a:cubicBezTo>
                  <a:pt x="8730263" y="915864"/>
                  <a:pt x="8733973" y="920347"/>
                  <a:pt x="8738866" y="923486"/>
                </a:cubicBezTo>
                <a:cubicBezTo>
                  <a:pt x="8743759" y="926625"/>
                  <a:pt x="8749794" y="928174"/>
                  <a:pt x="8756970" y="928174"/>
                </a:cubicBezTo>
                <a:cubicBezTo>
                  <a:pt x="8763331" y="928174"/>
                  <a:pt x="8769039" y="926910"/>
                  <a:pt x="8774095" y="924342"/>
                </a:cubicBezTo>
                <a:cubicBezTo>
                  <a:pt x="8779151" y="921815"/>
                  <a:pt x="8783065" y="918350"/>
                  <a:pt x="8785838" y="913907"/>
                </a:cubicBezTo>
                <a:cubicBezTo>
                  <a:pt x="8786204" y="913214"/>
                  <a:pt x="8786041" y="912603"/>
                  <a:pt x="8785389" y="911991"/>
                </a:cubicBezTo>
                <a:cubicBezTo>
                  <a:pt x="8785389" y="911991"/>
                  <a:pt x="8785389" y="911991"/>
                  <a:pt x="8776990" y="906407"/>
                </a:cubicBezTo>
                <a:cubicBezTo>
                  <a:pt x="8776174" y="905714"/>
                  <a:pt x="8775562" y="905877"/>
                  <a:pt x="8775073" y="906855"/>
                </a:cubicBezTo>
                <a:cubicBezTo>
                  <a:pt x="8771159" y="912847"/>
                  <a:pt x="8765532" y="915823"/>
                  <a:pt x="8758275" y="915823"/>
                </a:cubicBezTo>
                <a:cubicBezTo>
                  <a:pt x="8753300" y="915823"/>
                  <a:pt x="8749141" y="914722"/>
                  <a:pt x="8745838" y="912521"/>
                </a:cubicBezTo>
                <a:cubicBezTo>
                  <a:pt x="8742577" y="910320"/>
                  <a:pt x="8740375" y="907263"/>
                  <a:pt x="8739315" y="903309"/>
                </a:cubicBezTo>
                <a:cubicBezTo>
                  <a:pt x="8738703" y="901556"/>
                  <a:pt x="8738418" y="898988"/>
                  <a:pt x="8738418" y="895687"/>
                </a:cubicBezTo>
                <a:cubicBezTo>
                  <a:pt x="8738418" y="895279"/>
                  <a:pt x="8738622" y="895075"/>
                  <a:pt x="8739029" y="895075"/>
                </a:cubicBezTo>
                <a:cubicBezTo>
                  <a:pt x="8739029" y="895075"/>
                  <a:pt x="8739029" y="895075"/>
                  <a:pt x="8785960" y="895075"/>
                </a:cubicBezTo>
                <a:cubicBezTo>
                  <a:pt x="8786938" y="895075"/>
                  <a:pt x="8787428" y="894586"/>
                  <a:pt x="8787428" y="893608"/>
                </a:cubicBezTo>
                <a:cubicBezTo>
                  <a:pt x="8787509" y="888594"/>
                  <a:pt x="8787387" y="884110"/>
                  <a:pt x="8786979" y="880075"/>
                </a:cubicBezTo>
                <a:cubicBezTo>
                  <a:pt x="8785919" y="870455"/>
                  <a:pt x="8782902" y="863200"/>
                  <a:pt x="8778009" y="858227"/>
                </a:cubicBezTo>
                <a:cubicBezTo>
                  <a:pt x="8773116" y="853254"/>
                  <a:pt x="8765696" y="850808"/>
                  <a:pt x="8755787" y="850808"/>
                </a:cubicBezTo>
                <a:close/>
                <a:moveTo>
                  <a:pt x="8638214" y="850808"/>
                </a:moveTo>
                <a:cubicBezTo>
                  <a:pt x="8629967" y="850808"/>
                  <a:pt x="8623679" y="853419"/>
                  <a:pt x="8619351" y="858641"/>
                </a:cubicBezTo>
                <a:cubicBezTo>
                  <a:pt x="8619147" y="858804"/>
                  <a:pt x="8618984" y="858886"/>
                  <a:pt x="8618820" y="858764"/>
                </a:cubicBezTo>
                <a:cubicBezTo>
                  <a:pt x="8618698" y="858682"/>
                  <a:pt x="8618616" y="858519"/>
                  <a:pt x="8618616" y="858315"/>
                </a:cubicBezTo>
                <a:cubicBezTo>
                  <a:pt x="8618616" y="858315"/>
                  <a:pt x="8618616" y="858315"/>
                  <a:pt x="8618616" y="853338"/>
                </a:cubicBezTo>
                <a:cubicBezTo>
                  <a:pt x="8618616" y="852359"/>
                  <a:pt x="8618126" y="851869"/>
                  <a:pt x="8617146" y="851869"/>
                </a:cubicBezTo>
                <a:cubicBezTo>
                  <a:pt x="8617146" y="851869"/>
                  <a:pt x="8617146" y="851869"/>
                  <a:pt x="8605959" y="851869"/>
                </a:cubicBezTo>
                <a:cubicBezTo>
                  <a:pt x="8604938" y="851869"/>
                  <a:pt x="8604448" y="852359"/>
                  <a:pt x="8604448" y="853338"/>
                </a:cubicBezTo>
                <a:cubicBezTo>
                  <a:pt x="8604448" y="853338"/>
                  <a:pt x="8604448" y="853338"/>
                  <a:pt x="8604448" y="925343"/>
                </a:cubicBezTo>
                <a:cubicBezTo>
                  <a:pt x="8604448" y="926322"/>
                  <a:pt x="8604938" y="926812"/>
                  <a:pt x="8605959" y="926812"/>
                </a:cubicBezTo>
                <a:cubicBezTo>
                  <a:pt x="8605959" y="926812"/>
                  <a:pt x="8605959" y="926812"/>
                  <a:pt x="8617146" y="926812"/>
                </a:cubicBezTo>
                <a:cubicBezTo>
                  <a:pt x="8618126" y="926812"/>
                  <a:pt x="8618616" y="926322"/>
                  <a:pt x="8618616" y="925343"/>
                </a:cubicBezTo>
                <a:cubicBezTo>
                  <a:pt x="8618616" y="925343"/>
                  <a:pt x="8618616" y="925343"/>
                  <a:pt x="8618616" y="878795"/>
                </a:cubicBezTo>
                <a:cubicBezTo>
                  <a:pt x="8618616" y="873981"/>
                  <a:pt x="8619964" y="870146"/>
                  <a:pt x="8622658" y="867331"/>
                </a:cubicBezTo>
                <a:cubicBezTo>
                  <a:pt x="8625353" y="864475"/>
                  <a:pt x="8628987" y="863047"/>
                  <a:pt x="8633519" y="863047"/>
                </a:cubicBezTo>
                <a:cubicBezTo>
                  <a:pt x="8638010" y="863047"/>
                  <a:pt x="8641644" y="864475"/>
                  <a:pt x="8644339" y="867372"/>
                </a:cubicBezTo>
                <a:cubicBezTo>
                  <a:pt x="8647033" y="870268"/>
                  <a:pt x="8648381" y="874185"/>
                  <a:pt x="8648381" y="879080"/>
                </a:cubicBezTo>
                <a:cubicBezTo>
                  <a:pt x="8648381" y="879080"/>
                  <a:pt x="8648381" y="879080"/>
                  <a:pt x="8648381" y="925343"/>
                </a:cubicBezTo>
                <a:cubicBezTo>
                  <a:pt x="8648381" y="926322"/>
                  <a:pt x="8648871" y="926812"/>
                  <a:pt x="8649851" y="926812"/>
                </a:cubicBezTo>
                <a:cubicBezTo>
                  <a:pt x="8649851" y="926812"/>
                  <a:pt x="8649851" y="926812"/>
                  <a:pt x="8660915" y="926812"/>
                </a:cubicBezTo>
                <a:cubicBezTo>
                  <a:pt x="8661895" y="926812"/>
                  <a:pt x="8662385" y="926322"/>
                  <a:pt x="8662385" y="925343"/>
                </a:cubicBezTo>
                <a:cubicBezTo>
                  <a:pt x="8662385" y="925343"/>
                  <a:pt x="8662385" y="925343"/>
                  <a:pt x="8662385" y="878795"/>
                </a:cubicBezTo>
                <a:cubicBezTo>
                  <a:pt x="8662385" y="873981"/>
                  <a:pt x="8663814" y="870146"/>
                  <a:pt x="8666672" y="867331"/>
                </a:cubicBezTo>
                <a:cubicBezTo>
                  <a:pt x="8669530" y="864475"/>
                  <a:pt x="8673205" y="863047"/>
                  <a:pt x="8677696" y="863047"/>
                </a:cubicBezTo>
                <a:cubicBezTo>
                  <a:pt x="8682228" y="863047"/>
                  <a:pt x="8685862" y="864475"/>
                  <a:pt x="8688557" y="867372"/>
                </a:cubicBezTo>
                <a:cubicBezTo>
                  <a:pt x="8691252" y="870268"/>
                  <a:pt x="8692599" y="874185"/>
                  <a:pt x="8692599" y="879080"/>
                </a:cubicBezTo>
                <a:cubicBezTo>
                  <a:pt x="8692599" y="879080"/>
                  <a:pt x="8692599" y="879080"/>
                  <a:pt x="8692599" y="925343"/>
                </a:cubicBezTo>
                <a:cubicBezTo>
                  <a:pt x="8692599" y="926322"/>
                  <a:pt x="8693089" y="926812"/>
                  <a:pt x="8694069" y="926812"/>
                </a:cubicBezTo>
                <a:cubicBezTo>
                  <a:pt x="8694069" y="926812"/>
                  <a:pt x="8694069" y="926812"/>
                  <a:pt x="8705133" y="926812"/>
                </a:cubicBezTo>
                <a:cubicBezTo>
                  <a:pt x="8706113" y="926812"/>
                  <a:pt x="8706603" y="926322"/>
                  <a:pt x="8706603" y="925343"/>
                </a:cubicBezTo>
                <a:cubicBezTo>
                  <a:pt x="8706603" y="925343"/>
                  <a:pt x="8706603" y="925343"/>
                  <a:pt x="8706603" y="876143"/>
                </a:cubicBezTo>
                <a:cubicBezTo>
                  <a:pt x="8706603" y="868188"/>
                  <a:pt x="8704439" y="861987"/>
                  <a:pt x="8700111" y="857540"/>
                </a:cubicBezTo>
                <a:cubicBezTo>
                  <a:pt x="8695783" y="853052"/>
                  <a:pt x="8689904" y="850808"/>
                  <a:pt x="8682432" y="850808"/>
                </a:cubicBezTo>
                <a:cubicBezTo>
                  <a:pt x="8677696" y="850808"/>
                  <a:pt x="8673409" y="851747"/>
                  <a:pt x="8669530" y="853623"/>
                </a:cubicBezTo>
                <a:cubicBezTo>
                  <a:pt x="8665651" y="855459"/>
                  <a:pt x="8662548" y="858315"/>
                  <a:pt x="8660180" y="862150"/>
                </a:cubicBezTo>
                <a:cubicBezTo>
                  <a:pt x="8659895" y="862558"/>
                  <a:pt x="8659568" y="862558"/>
                  <a:pt x="8659282" y="862150"/>
                </a:cubicBezTo>
                <a:cubicBezTo>
                  <a:pt x="8657322" y="858437"/>
                  <a:pt x="8654587" y="855622"/>
                  <a:pt x="8651035" y="853705"/>
                </a:cubicBezTo>
                <a:cubicBezTo>
                  <a:pt x="8647482" y="851788"/>
                  <a:pt x="8643236" y="850808"/>
                  <a:pt x="8638214" y="850808"/>
                </a:cubicBezTo>
                <a:close/>
                <a:moveTo>
                  <a:pt x="8473724" y="850808"/>
                </a:moveTo>
                <a:cubicBezTo>
                  <a:pt x="8466154" y="850808"/>
                  <a:pt x="8459688" y="852765"/>
                  <a:pt x="8454368" y="856678"/>
                </a:cubicBezTo>
                <a:cubicBezTo>
                  <a:pt x="8449048" y="860591"/>
                  <a:pt x="8445487" y="865931"/>
                  <a:pt x="8443728" y="872738"/>
                </a:cubicBezTo>
                <a:cubicBezTo>
                  <a:pt x="8442664" y="876447"/>
                  <a:pt x="8442091" y="881909"/>
                  <a:pt x="8442091" y="889043"/>
                </a:cubicBezTo>
                <a:cubicBezTo>
                  <a:pt x="8442091" y="897276"/>
                  <a:pt x="8443277" y="904287"/>
                  <a:pt x="8445651" y="910076"/>
                </a:cubicBezTo>
                <a:cubicBezTo>
                  <a:pt x="8448106" y="915864"/>
                  <a:pt x="8451790" y="920347"/>
                  <a:pt x="8456741" y="923486"/>
                </a:cubicBezTo>
                <a:cubicBezTo>
                  <a:pt x="8461652" y="926625"/>
                  <a:pt x="8467709" y="928174"/>
                  <a:pt x="8474911" y="928174"/>
                </a:cubicBezTo>
                <a:cubicBezTo>
                  <a:pt x="8481295" y="928174"/>
                  <a:pt x="8487025" y="926910"/>
                  <a:pt x="8492099" y="924342"/>
                </a:cubicBezTo>
                <a:cubicBezTo>
                  <a:pt x="8497174" y="921815"/>
                  <a:pt x="8501102" y="918350"/>
                  <a:pt x="8503844" y="913907"/>
                </a:cubicBezTo>
                <a:cubicBezTo>
                  <a:pt x="8504253" y="913214"/>
                  <a:pt x="8504090" y="912603"/>
                  <a:pt x="8503394" y="911991"/>
                </a:cubicBezTo>
                <a:cubicBezTo>
                  <a:pt x="8503394" y="911991"/>
                  <a:pt x="8503394" y="911991"/>
                  <a:pt x="8495005" y="906407"/>
                </a:cubicBezTo>
                <a:cubicBezTo>
                  <a:pt x="8494186" y="905714"/>
                  <a:pt x="8493572" y="905877"/>
                  <a:pt x="8493081" y="906855"/>
                </a:cubicBezTo>
                <a:cubicBezTo>
                  <a:pt x="8489152" y="912847"/>
                  <a:pt x="8483505" y="915823"/>
                  <a:pt x="8476221" y="915823"/>
                </a:cubicBezTo>
                <a:cubicBezTo>
                  <a:pt x="8471228" y="915823"/>
                  <a:pt x="8467054" y="914722"/>
                  <a:pt x="8463739" y="912521"/>
                </a:cubicBezTo>
                <a:cubicBezTo>
                  <a:pt x="8460465" y="910320"/>
                  <a:pt x="8458255" y="907263"/>
                  <a:pt x="8457191" y="903309"/>
                </a:cubicBezTo>
                <a:cubicBezTo>
                  <a:pt x="8456577" y="901556"/>
                  <a:pt x="8456291" y="898988"/>
                  <a:pt x="8456291" y="895687"/>
                </a:cubicBezTo>
                <a:cubicBezTo>
                  <a:pt x="8456291" y="895279"/>
                  <a:pt x="8456496" y="895075"/>
                  <a:pt x="8456864" y="895075"/>
                </a:cubicBezTo>
                <a:cubicBezTo>
                  <a:pt x="8456864" y="895075"/>
                  <a:pt x="8456864" y="895075"/>
                  <a:pt x="8504008" y="895075"/>
                </a:cubicBezTo>
                <a:cubicBezTo>
                  <a:pt x="8504990" y="895075"/>
                  <a:pt x="8505481" y="894586"/>
                  <a:pt x="8505481" y="893608"/>
                </a:cubicBezTo>
                <a:cubicBezTo>
                  <a:pt x="8505563" y="888594"/>
                  <a:pt x="8505440" y="884110"/>
                  <a:pt x="8505031" y="880075"/>
                </a:cubicBezTo>
                <a:cubicBezTo>
                  <a:pt x="8503967" y="870455"/>
                  <a:pt x="8500939" y="863200"/>
                  <a:pt x="8496028" y="858227"/>
                </a:cubicBezTo>
                <a:cubicBezTo>
                  <a:pt x="8491117" y="853254"/>
                  <a:pt x="8483669" y="850808"/>
                  <a:pt x="8473724" y="850808"/>
                </a:cubicBezTo>
                <a:close/>
                <a:moveTo>
                  <a:pt x="8397914" y="850808"/>
                </a:moveTo>
                <a:cubicBezTo>
                  <a:pt x="8389671" y="850808"/>
                  <a:pt x="8383428" y="853501"/>
                  <a:pt x="8379184" y="858927"/>
                </a:cubicBezTo>
                <a:cubicBezTo>
                  <a:pt x="8379102" y="859131"/>
                  <a:pt x="8378980" y="859172"/>
                  <a:pt x="8378858" y="859049"/>
                </a:cubicBezTo>
                <a:cubicBezTo>
                  <a:pt x="8378694" y="858968"/>
                  <a:pt x="8378613" y="858804"/>
                  <a:pt x="8378613" y="858641"/>
                </a:cubicBezTo>
                <a:cubicBezTo>
                  <a:pt x="8378613" y="858641"/>
                  <a:pt x="8378613" y="858641"/>
                  <a:pt x="8378613" y="853338"/>
                </a:cubicBezTo>
                <a:cubicBezTo>
                  <a:pt x="8378613" y="852359"/>
                  <a:pt x="8378123" y="851869"/>
                  <a:pt x="8377144" y="851869"/>
                </a:cubicBezTo>
                <a:cubicBezTo>
                  <a:pt x="8377144" y="851869"/>
                  <a:pt x="8377144" y="851869"/>
                  <a:pt x="8365963" y="851869"/>
                </a:cubicBezTo>
                <a:cubicBezTo>
                  <a:pt x="8364984" y="851869"/>
                  <a:pt x="8364453" y="852359"/>
                  <a:pt x="8364453" y="853338"/>
                </a:cubicBezTo>
                <a:cubicBezTo>
                  <a:pt x="8364453" y="853338"/>
                  <a:pt x="8364453" y="853338"/>
                  <a:pt x="8364453" y="925343"/>
                </a:cubicBezTo>
                <a:cubicBezTo>
                  <a:pt x="8364453" y="926322"/>
                  <a:pt x="8364984" y="926812"/>
                  <a:pt x="8365963" y="926812"/>
                </a:cubicBezTo>
                <a:cubicBezTo>
                  <a:pt x="8365963" y="926812"/>
                  <a:pt x="8365963" y="926812"/>
                  <a:pt x="8377144" y="926812"/>
                </a:cubicBezTo>
                <a:cubicBezTo>
                  <a:pt x="8378123" y="926812"/>
                  <a:pt x="8378613" y="926322"/>
                  <a:pt x="8378613" y="925343"/>
                </a:cubicBezTo>
                <a:cubicBezTo>
                  <a:pt x="8378613" y="925343"/>
                  <a:pt x="8378613" y="925343"/>
                  <a:pt x="8378613" y="879406"/>
                </a:cubicBezTo>
                <a:cubicBezTo>
                  <a:pt x="8378613" y="874593"/>
                  <a:pt x="8380082" y="870635"/>
                  <a:pt x="8383020" y="867616"/>
                </a:cubicBezTo>
                <a:cubicBezTo>
                  <a:pt x="8385999" y="864557"/>
                  <a:pt x="8389753" y="863047"/>
                  <a:pt x="8394364" y="863047"/>
                </a:cubicBezTo>
                <a:cubicBezTo>
                  <a:pt x="8399097" y="863047"/>
                  <a:pt x="8402852" y="864557"/>
                  <a:pt x="8405708" y="867616"/>
                </a:cubicBezTo>
                <a:cubicBezTo>
                  <a:pt x="8408564" y="870635"/>
                  <a:pt x="8409993" y="874633"/>
                  <a:pt x="8409993" y="879529"/>
                </a:cubicBezTo>
                <a:cubicBezTo>
                  <a:pt x="8409993" y="879529"/>
                  <a:pt x="8409993" y="879529"/>
                  <a:pt x="8409993" y="925343"/>
                </a:cubicBezTo>
                <a:cubicBezTo>
                  <a:pt x="8409993" y="926322"/>
                  <a:pt x="8410482" y="926812"/>
                  <a:pt x="8411462" y="926812"/>
                </a:cubicBezTo>
                <a:cubicBezTo>
                  <a:pt x="8411462" y="926812"/>
                  <a:pt x="8411462" y="926812"/>
                  <a:pt x="8422642" y="926812"/>
                </a:cubicBezTo>
                <a:cubicBezTo>
                  <a:pt x="8423622" y="926812"/>
                  <a:pt x="8424112" y="926322"/>
                  <a:pt x="8424112" y="925343"/>
                </a:cubicBezTo>
                <a:cubicBezTo>
                  <a:pt x="8424112" y="925343"/>
                  <a:pt x="8424112" y="925343"/>
                  <a:pt x="8424112" y="876755"/>
                </a:cubicBezTo>
                <a:cubicBezTo>
                  <a:pt x="8424112" y="868799"/>
                  <a:pt x="8421786" y="862476"/>
                  <a:pt x="8417052" y="857825"/>
                </a:cubicBezTo>
                <a:cubicBezTo>
                  <a:pt x="8412359" y="853134"/>
                  <a:pt x="8405953" y="850808"/>
                  <a:pt x="8397914" y="850808"/>
                </a:cubicBezTo>
                <a:close/>
                <a:moveTo>
                  <a:pt x="8258907" y="850808"/>
                </a:moveTo>
                <a:cubicBezTo>
                  <a:pt x="8251364" y="850808"/>
                  <a:pt x="8244921" y="852765"/>
                  <a:pt x="8239621" y="856678"/>
                </a:cubicBezTo>
                <a:cubicBezTo>
                  <a:pt x="8234320" y="860591"/>
                  <a:pt x="8230814" y="865931"/>
                  <a:pt x="8229020" y="872738"/>
                </a:cubicBezTo>
                <a:cubicBezTo>
                  <a:pt x="8227959" y="876447"/>
                  <a:pt x="8227430" y="881909"/>
                  <a:pt x="8227430" y="889043"/>
                </a:cubicBezTo>
                <a:cubicBezTo>
                  <a:pt x="8227430" y="897276"/>
                  <a:pt x="8228571" y="904287"/>
                  <a:pt x="8230936" y="910076"/>
                </a:cubicBezTo>
                <a:cubicBezTo>
                  <a:pt x="8233382" y="915864"/>
                  <a:pt x="8237052" y="920347"/>
                  <a:pt x="8241986" y="923486"/>
                </a:cubicBezTo>
                <a:cubicBezTo>
                  <a:pt x="8246879" y="926625"/>
                  <a:pt x="8252913" y="928174"/>
                  <a:pt x="8260089" y="928174"/>
                </a:cubicBezTo>
                <a:cubicBezTo>
                  <a:pt x="8266450" y="928174"/>
                  <a:pt x="8272159" y="926910"/>
                  <a:pt x="8277214" y="924342"/>
                </a:cubicBezTo>
                <a:cubicBezTo>
                  <a:pt x="8282270" y="921815"/>
                  <a:pt x="8286185" y="918350"/>
                  <a:pt x="8288917" y="913907"/>
                </a:cubicBezTo>
                <a:cubicBezTo>
                  <a:pt x="8289324" y="913214"/>
                  <a:pt x="8289161" y="912603"/>
                  <a:pt x="8288468" y="911991"/>
                </a:cubicBezTo>
                <a:cubicBezTo>
                  <a:pt x="8288468" y="911991"/>
                  <a:pt x="8288468" y="911991"/>
                  <a:pt x="8280110" y="906407"/>
                </a:cubicBezTo>
                <a:cubicBezTo>
                  <a:pt x="8279294" y="905714"/>
                  <a:pt x="8278682" y="905877"/>
                  <a:pt x="8278193" y="906855"/>
                </a:cubicBezTo>
                <a:cubicBezTo>
                  <a:pt x="8274279" y="912847"/>
                  <a:pt x="8268652" y="915823"/>
                  <a:pt x="8261394" y="915823"/>
                </a:cubicBezTo>
                <a:cubicBezTo>
                  <a:pt x="8256420" y="915823"/>
                  <a:pt x="8252261" y="914722"/>
                  <a:pt x="8248958" y="912521"/>
                </a:cubicBezTo>
                <a:cubicBezTo>
                  <a:pt x="8245696" y="910320"/>
                  <a:pt x="8243495" y="907263"/>
                  <a:pt x="8242434" y="903309"/>
                </a:cubicBezTo>
                <a:cubicBezTo>
                  <a:pt x="8241823" y="901556"/>
                  <a:pt x="8241537" y="898988"/>
                  <a:pt x="8241537" y="895687"/>
                </a:cubicBezTo>
                <a:cubicBezTo>
                  <a:pt x="8241537" y="895279"/>
                  <a:pt x="8241741" y="895075"/>
                  <a:pt x="8242108" y="895075"/>
                </a:cubicBezTo>
                <a:cubicBezTo>
                  <a:pt x="8242108" y="895075"/>
                  <a:pt x="8242108" y="895075"/>
                  <a:pt x="8289080" y="895075"/>
                </a:cubicBezTo>
                <a:cubicBezTo>
                  <a:pt x="8290058" y="895075"/>
                  <a:pt x="8290548" y="894586"/>
                  <a:pt x="8290548" y="893608"/>
                </a:cubicBezTo>
                <a:cubicBezTo>
                  <a:pt x="8290629" y="888594"/>
                  <a:pt x="8290507" y="884110"/>
                  <a:pt x="8290099" y="880075"/>
                </a:cubicBezTo>
                <a:cubicBezTo>
                  <a:pt x="8289039" y="870455"/>
                  <a:pt x="8286022" y="863200"/>
                  <a:pt x="8281129" y="858227"/>
                </a:cubicBezTo>
                <a:cubicBezTo>
                  <a:pt x="8276236" y="853254"/>
                  <a:pt x="8268815" y="850808"/>
                  <a:pt x="8258907" y="850808"/>
                </a:cubicBezTo>
                <a:close/>
                <a:moveTo>
                  <a:pt x="8128770" y="850808"/>
                </a:moveTo>
                <a:cubicBezTo>
                  <a:pt x="8120528" y="850808"/>
                  <a:pt x="8114284" y="853501"/>
                  <a:pt x="8110040" y="858927"/>
                </a:cubicBezTo>
                <a:cubicBezTo>
                  <a:pt x="8109959" y="859131"/>
                  <a:pt x="8109836" y="859172"/>
                  <a:pt x="8109673" y="859049"/>
                </a:cubicBezTo>
                <a:cubicBezTo>
                  <a:pt x="8109510" y="858968"/>
                  <a:pt x="8109469" y="858804"/>
                  <a:pt x="8109469" y="858641"/>
                </a:cubicBezTo>
                <a:cubicBezTo>
                  <a:pt x="8109469" y="858641"/>
                  <a:pt x="8109469" y="858641"/>
                  <a:pt x="8109469" y="853338"/>
                </a:cubicBezTo>
                <a:cubicBezTo>
                  <a:pt x="8109469" y="852359"/>
                  <a:pt x="8108980" y="851869"/>
                  <a:pt x="8108000" y="851869"/>
                </a:cubicBezTo>
                <a:cubicBezTo>
                  <a:pt x="8108000" y="851869"/>
                  <a:pt x="8108000" y="851869"/>
                  <a:pt x="8096778" y="851869"/>
                </a:cubicBezTo>
                <a:cubicBezTo>
                  <a:pt x="8095799" y="851869"/>
                  <a:pt x="8095309" y="852359"/>
                  <a:pt x="8095309" y="853338"/>
                </a:cubicBezTo>
                <a:cubicBezTo>
                  <a:pt x="8095309" y="853338"/>
                  <a:pt x="8095309" y="853338"/>
                  <a:pt x="8095309" y="925343"/>
                </a:cubicBezTo>
                <a:cubicBezTo>
                  <a:pt x="8095309" y="926322"/>
                  <a:pt x="8095799" y="926812"/>
                  <a:pt x="8096778" y="926812"/>
                </a:cubicBezTo>
                <a:cubicBezTo>
                  <a:pt x="8096778" y="926812"/>
                  <a:pt x="8096778" y="926812"/>
                  <a:pt x="8108000" y="926812"/>
                </a:cubicBezTo>
                <a:cubicBezTo>
                  <a:pt x="8108980" y="926812"/>
                  <a:pt x="8109469" y="926322"/>
                  <a:pt x="8109469" y="925343"/>
                </a:cubicBezTo>
                <a:cubicBezTo>
                  <a:pt x="8109469" y="925343"/>
                  <a:pt x="8109469" y="925343"/>
                  <a:pt x="8109469" y="879406"/>
                </a:cubicBezTo>
                <a:cubicBezTo>
                  <a:pt x="8109469" y="874593"/>
                  <a:pt x="8110938" y="870635"/>
                  <a:pt x="8113876" y="867616"/>
                </a:cubicBezTo>
                <a:cubicBezTo>
                  <a:pt x="8116814" y="864557"/>
                  <a:pt x="8120609" y="863047"/>
                  <a:pt x="8125220" y="863047"/>
                </a:cubicBezTo>
                <a:cubicBezTo>
                  <a:pt x="8129954" y="863047"/>
                  <a:pt x="8133708" y="864557"/>
                  <a:pt x="8136564" y="867616"/>
                </a:cubicBezTo>
                <a:cubicBezTo>
                  <a:pt x="8139421" y="870635"/>
                  <a:pt x="8140849" y="874633"/>
                  <a:pt x="8140849" y="879529"/>
                </a:cubicBezTo>
                <a:cubicBezTo>
                  <a:pt x="8140849" y="879529"/>
                  <a:pt x="8140849" y="879529"/>
                  <a:pt x="8140849" y="925343"/>
                </a:cubicBezTo>
                <a:cubicBezTo>
                  <a:pt x="8140849" y="926322"/>
                  <a:pt x="8141338" y="926812"/>
                  <a:pt x="8142318" y="926812"/>
                </a:cubicBezTo>
                <a:cubicBezTo>
                  <a:pt x="8142318" y="926812"/>
                  <a:pt x="8142318" y="926812"/>
                  <a:pt x="8153499" y="926812"/>
                </a:cubicBezTo>
                <a:cubicBezTo>
                  <a:pt x="8154478" y="926812"/>
                  <a:pt x="8154968" y="926322"/>
                  <a:pt x="8154968" y="925343"/>
                </a:cubicBezTo>
                <a:cubicBezTo>
                  <a:pt x="8154968" y="925343"/>
                  <a:pt x="8154968" y="925343"/>
                  <a:pt x="8154968" y="876755"/>
                </a:cubicBezTo>
                <a:cubicBezTo>
                  <a:pt x="8154968" y="868799"/>
                  <a:pt x="8152601" y="862476"/>
                  <a:pt x="8147908" y="857825"/>
                </a:cubicBezTo>
                <a:cubicBezTo>
                  <a:pt x="8143175" y="853134"/>
                  <a:pt x="8136809" y="850808"/>
                  <a:pt x="8128770" y="850808"/>
                </a:cubicBezTo>
                <a:close/>
                <a:moveTo>
                  <a:pt x="8182799" y="832284"/>
                </a:moveTo>
                <a:cubicBezTo>
                  <a:pt x="8181816" y="832284"/>
                  <a:pt x="8181325" y="832774"/>
                  <a:pt x="8181325" y="833755"/>
                </a:cubicBezTo>
                <a:cubicBezTo>
                  <a:pt x="8181325" y="833755"/>
                  <a:pt x="8181325" y="833755"/>
                  <a:pt x="8181325" y="851154"/>
                </a:cubicBezTo>
                <a:cubicBezTo>
                  <a:pt x="8181325" y="851563"/>
                  <a:pt x="8181120" y="851726"/>
                  <a:pt x="8180751" y="851726"/>
                </a:cubicBezTo>
                <a:cubicBezTo>
                  <a:pt x="8180751" y="851726"/>
                  <a:pt x="8180751" y="851726"/>
                  <a:pt x="8171739" y="851726"/>
                </a:cubicBezTo>
                <a:cubicBezTo>
                  <a:pt x="8170755" y="851726"/>
                  <a:pt x="8170223" y="852257"/>
                  <a:pt x="8170223" y="853238"/>
                </a:cubicBezTo>
                <a:cubicBezTo>
                  <a:pt x="8170223" y="853238"/>
                  <a:pt x="8170223" y="853238"/>
                  <a:pt x="8170223" y="861937"/>
                </a:cubicBezTo>
                <a:cubicBezTo>
                  <a:pt x="8170223" y="862918"/>
                  <a:pt x="8170755" y="863408"/>
                  <a:pt x="8171739" y="863408"/>
                </a:cubicBezTo>
                <a:cubicBezTo>
                  <a:pt x="8171739" y="863408"/>
                  <a:pt x="8171739" y="863408"/>
                  <a:pt x="8180751" y="863408"/>
                </a:cubicBezTo>
                <a:cubicBezTo>
                  <a:pt x="8181120" y="863408"/>
                  <a:pt x="8181325" y="863612"/>
                  <a:pt x="8181325" y="863980"/>
                </a:cubicBezTo>
                <a:cubicBezTo>
                  <a:pt x="8181325" y="863980"/>
                  <a:pt x="8181325" y="863980"/>
                  <a:pt x="8181325" y="908051"/>
                </a:cubicBezTo>
                <a:cubicBezTo>
                  <a:pt x="8181325" y="915362"/>
                  <a:pt x="8183250" y="920345"/>
                  <a:pt x="8187019" y="923040"/>
                </a:cubicBezTo>
                <a:cubicBezTo>
                  <a:pt x="8190829" y="925736"/>
                  <a:pt x="8196482" y="927084"/>
                  <a:pt x="8203979" y="927084"/>
                </a:cubicBezTo>
                <a:cubicBezTo>
                  <a:pt x="8205331" y="927084"/>
                  <a:pt x="8207625" y="927002"/>
                  <a:pt x="8210780" y="926798"/>
                </a:cubicBezTo>
                <a:cubicBezTo>
                  <a:pt x="8211763" y="926798"/>
                  <a:pt x="8212254" y="926308"/>
                  <a:pt x="8212254" y="925328"/>
                </a:cubicBezTo>
                <a:cubicBezTo>
                  <a:pt x="8212254" y="925328"/>
                  <a:pt x="8212254" y="925328"/>
                  <a:pt x="8212254" y="916179"/>
                </a:cubicBezTo>
                <a:cubicBezTo>
                  <a:pt x="8212254" y="915198"/>
                  <a:pt x="8211763" y="914708"/>
                  <a:pt x="8210780" y="914708"/>
                </a:cubicBezTo>
                <a:cubicBezTo>
                  <a:pt x="8210780" y="914708"/>
                  <a:pt x="8210780" y="914708"/>
                  <a:pt x="8206478" y="914708"/>
                </a:cubicBezTo>
                <a:cubicBezTo>
                  <a:pt x="8202545" y="914708"/>
                  <a:pt x="8199637" y="913810"/>
                  <a:pt x="8197752" y="911972"/>
                </a:cubicBezTo>
                <a:cubicBezTo>
                  <a:pt x="8195868" y="910175"/>
                  <a:pt x="8194925" y="907193"/>
                  <a:pt x="8194925" y="903068"/>
                </a:cubicBezTo>
                <a:cubicBezTo>
                  <a:pt x="8194925" y="903068"/>
                  <a:pt x="8194925" y="903068"/>
                  <a:pt x="8194925" y="863980"/>
                </a:cubicBezTo>
                <a:cubicBezTo>
                  <a:pt x="8194925" y="863612"/>
                  <a:pt x="8195131" y="863408"/>
                  <a:pt x="8195540" y="863408"/>
                </a:cubicBezTo>
                <a:cubicBezTo>
                  <a:pt x="8195540" y="863408"/>
                  <a:pt x="8195540" y="863408"/>
                  <a:pt x="8211517" y="863408"/>
                </a:cubicBezTo>
                <a:cubicBezTo>
                  <a:pt x="8212500" y="863408"/>
                  <a:pt x="8212992" y="862918"/>
                  <a:pt x="8212992" y="861937"/>
                </a:cubicBezTo>
                <a:cubicBezTo>
                  <a:pt x="8212992" y="861937"/>
                  <a:pt x="8212992" y="861937"/>
                  <a:pt x="8212992" y="853238"/>
                </a:cubicBezTo>
                <a:cubicBezTo>
                  <a:pt x="8212992" y="852257"/>
                  <a:pt x="8212500" y="851726"/>
                  <a:pt x="8211517" y="851726"/>
                </a:cubicBezTo>
                <a:cubicBezTo>
                  <a:pt x="8211517" y="851726"/>
                  <a:pt x="8211517" y="851726"/>
                  <a:pt x="8195540" y="851726"/>
                </a:cubicBezTo>
                <a:cubicBezTo>
                  <a:pt x="8195131" y="851726"/>
                  <a:pt x="8194925" y="851563"/>
                  <a:pt x="8194925" y="851154"/>
                </a:cubicBezTo>
                <a:cubicBezTo>
                  <a:pt x="8194925" y="851154"/>
                  <a:pt x="8194925" y="851154"/>
                  <a:pt x="8194925" y="833755"/>
                </a:cubicBezTo>
                <a:cubicBezTo>
                  <a:pt x="8194925" y="832774"/>
                  <a:pt x="8194434" y="832284"/>
                  <a:pt x="8193451" y="832284"/>
                </a:cubicBezTo>
                <a:cubicBezTo>
                  <a:pt x="8193451" y="832284"/>
                  <a:pt x="8193451" y="832284"/>
                  <a:pt x="8182799" y="832284"/>
                </a:cubicBezTo>
                <a:close/>
                <a:moveTo>
                  <a:pt x="8525556" y="823839"/>
                </a:moveTo>
                <a:cubicBezTo>
                  <a:pt x="8524576" y="823839"/>
                  <a:pt x="8524087" y="824328"/>
                  <a:pt x="8524087" y="825306"/>
                </a:cubicBezTo>
                <a:cubicBezTo>
                  <a:pt x="8524087" y="825306"/>
                  <a:pt x="8524087" y="825306"/>
                  <a:pt x="8524087" y="925344"/>
                </a:cubicBezTo>
                <a:cubicBezTo>
                  <a:pt x="8524087" y="926323"/>
                  <a:pt x="8524576" y="926811"/>
                  <a:pt x="8525556" y="926811"/>
                </a:cubicBezTo>
                <a:cubicBezTo>
                  <a:pt x="8525556" y="926811"/>
                  <a:pt x="8525556" y="926811"/>
                  <a:pt x="8536737" y="926811"/>
                </a:cubicBezTo>
                <a:cubicBezTo>
                  <a:pt x="8537716" y="926811"/>
                  <a:pt x="8538206" y="926323"/>
                  <a:pt x="8538206" y="925344"/>
                </a:cubicBezTo>
                <a:cubicBezTo>
                  <a:pt x="8538206" y="925344"/>
                  <a:pt x="8538206" y="925344"/>
                  <a:pt x="8538206" y="879461"/>
                </a:cubicBezTo>
                <a:cubicBezTo>
                  <a:pt x="8538206" y="874653"/>
                  <a:pt x="8539715" y="870700"/>
                  <a:pt x="8542653" y="867685"/>
                </a:cubicBezTo>
                <a:cubicBezTo>
                  <a:pt x="8545592" y="864629"/>
                  <a:pt x="8549386" y="863121"/>
                  <a:pt x="8553998" y="863121"/>
                </a:cubicBezTo>
                <a:cubicBezTo>
                  <a:pt x="8558690" y="863121"/>
                  <a:pt x="8562485" y="864629"/>
                  <a:pt x="8565342" y="867685"/>
                </a:cubicBezTo>
                <a:cubicBezTo>
                  <a:pt x="8568157" y="870700"/>
                  <a:pt x="8569586" y="874694"/>
                  <a:pt x="8569586" y="879584"/>
                </a:cubicBezTo>
                <a:cubicBezTo>
                  <a:pt x="8569586" y="879584"/>
                  <a:pt x="8569586" y="879584"/>
                  <a:pt x="8569586" y="925344"/>
                </a:cubicBezTo>
                <a:cubicBezTo>
                  <a:pt x="8569586" y="926323"/>
                  <a:pt x="8570075" y="926811"/>
                  <a:pt x="8571055" y="926811"/>
                </a:cubicBezTo>
                <a:cubicBezTo>
                  <a:pt x="8571055" y="926811"/>
                  <a:pt x="8571055" y="926811"/>
                  <a:pt x="8582276" y="926811"/>
                </a:cubicBezTo>
                <a:cubicBezTo>
                  <a:pt x="8583256" y="926811"/>
                  <a:pt x="8583745" y="926323"/>
                  <a:pt x="8583745" y="925344"/>
                </a:cubicBezTo>
                <a:cubicBezTo>
                  <a:pt x="8583745" y="925344"/>
                  <a:pt x="8583745" y="925344"/>
                  <a:pt x="8583745" y="876813"/>
                </a:cubicBezTo>
                <a:cubicBezTo>
                  <a:pt x="8583745" y="868867"/>
                  <a:pt x="8581378" y="862551"/>
                  <a:pt x="8576686" y="857905"/>
                </a:cubicBezTo>
                <a:cubicBezTo>
                  <a:pt x="8571952" y="853219"/>
                  <a:pt x="8565586" y="850897"/>
                  <a:pt x="8557507" y="850897"/>
                </a:cubicBezTo>
                <a:cubicBezTo>
                  <a:pt x="8549264" y="850897"/>
                  <a:pt x="8543021" y="853586"/>
                  <a:pt x="8538818" y="859006"/>
                </a:cubicBezTo>
                <a:cubicBezTo>
                  <a:pt x="8538695" y="859209"/>
                  <a:pt x="8538573" y="859250"/>
                  <a:pt x="8538450" y="859128"/>
                </a:cubicBezTo>
                <a:cubicBezTo>
                  <a:pt x="8538287" y="859046"/>
                  <a:pt x="8538206" y="858883"/>
                  <a:pt x="8538206" y="858720"/>
                </a:cubicBezTo>
                <a:cubicBezTo>
                  <a:pt x="8538206" y="858720"/>
                  <a:pt x="8538206" y="858720"/>
                  <a:pt x="8538206" y="825306"/>
                </a:cubicBezTo>
                <a:cubicBezTo>
                  <a:pt x="8538206" y="824328"/>
                  <a:pt x="8537716" y="823839"/>
                  <a:pt x="8536737" y="823839"/>
                </a:cubicBezTo>
                <a:cubicBezTo>
                  <a:pt x="8536737" y="823839"/>
                  <a:pt x="8536737" y="823839"/>
                  <a:pt x="8525556" y="823839"/>
                </a:cubicBezTo>
                <a:close/>
                <a:moveTo>
                  <a:pt x="9357124" y="821115"/>
                </a:moveTo>
                <a:cubicBezTo>
                  <a:pt x="9354358" y="821115"/>
                  <a:pt x="9352088" y="821982"/>
                  <a:pt x="9350272" y="823798"/>
                </a:cubicBezTo>
                <a:cubicBezTo>
                  <a:pt x="9348498" y="825573"/>
                  <a:pt x="9347589" y="827843"/>
                  <a:pt x="9347589" y="830650"/>
                </a:cubicBezTo>
                <a:cubicBezTo>
                  <a:pt x="9347589" y="833415"/>
                  <a:pt x="9348498" y="835685"/>
                  <a:pt x="9350272" y="837501"/>
                </a:cubicBezTo>
                <a:cubicBezTo>
                  <a:pt x="9352088" y="839276"/>
                  <a:pt x="9354358" y="840184"/>
                  <a:pt x="9357124" y="840184"/>
                </a:cubicBezTo>
                <a:cubicBezTo>
                  <a:pt x="9359930" y="840184"/>
                  <a:pt x="9362201" y="839276"/>
                  <a:pt x="9364017" y="837501"/>
                </a:cubicBezTo>
                <a:cubicBezTo>
                  <a:pt x="9365792" y="835685"/>
                  <a:pt x="9366658" y="833415"/>
                  <a:pt x="9366658" y="830650"/>
                </a:cubicBezTo>
                <a:cubicBezTo>
                  <a:pt x="9366658" y="827843"/>
                  <a:pt x="9365792" y="825573"/>
                  <a:pt x="9364017" y="823798"/>
                </a:cubicBezTo>
                <a:cubicBezTo>
                  <a:pt x="9362201" y="821982"/>
                  <a:pt x="9359930" y="821115"/>
                  <a:pt x="9357124" y="821115"/>
                </a:cubicBezTo>
                <a:close/>
                <a:moveTo>
                  <a:pt x="7508968" y="615717"/>
                </a:moveTo>
                <a:cubicBezTo>
                  <a:pt x="7508968" y="615717"/>
                  <a:pt x="7508968" y="615717"/>
                  <a:pt x="7546732" y="615717"/>
                </a:cubicBezTo>
                <a:cubicBezTo>
                  <a:pt x="7549947" y="615717"/>
                  <a:pt x="7551574" y="617187"/>
                  <a:pt x="7551574" y="620168"/>
                </a:cubicBezTo>
                <a:cubicBezTo>
                  <a:pt x="7551574" y="620168"/>
                  <a:pt x="7551574" y="620168"/>
                  <a:pt x="7551574" y="716582"/>
                </a:cubicBezTo>
                <a:cubicBezTo>
                  <a:pt x="7551574" y="720298"/>
                  <a:pt x="7548522" y="723320"/>
                  <a:pt x="7544779" y="723238"/>
                </a:cubicBezTo>
                <a:cubicBezTo>
                  <a:pt x="7537087" y="723115"/>
                  <a:pt x="7539000" y="722993"/>
                  <a:pt x="7523821" y="722993"/>
                </a:cubicBezTo>
                <a:cubicBezTo>
                  <a:pt x="7523821" y="722993"/>
                  <a:pt x="7523821" y="722993"/>
                  <a:pt x="7508968" y="722993"/>
                </a:cubicBezTo>
                <a:cubicBezTo>
                  <a:pt x="7500382" y="722993"/>
                  <a:pt x="7494359" y="721237"/>
                  <a:pt x="7490900" y="717725"/>
                </a:cubicBezTo>
                <a:cubicBezTo>
                  <a:pt x="7487400" y="714254"/>
                  <a:pt x="7485651" y="708210"/>
                  <a:pt x="7485651" y="699594"/>
                </a:cubicBezTo>
                <a:cubicBezTo>
                  <a:pt x="7485651" y="699594"/>
                  <a:pt x="7485651" y="699594"/>
                  <a:pt x="7485651" y="639524"/>
                </a:cubicBezTo>
                <a:cubicBezTo>
                  <a:pt x="7485651" y="630908"/>
                  <a:pt x="7487400" y="624782"/>
                  <a:pt x="7490900" y="621148"/>
                </a:cubicBezTo>
                <a:cubicBezTo>
                  <a:pt x="7494359" y="617554"/>
                  <a:pt x="7500382" y="615717"/>
                  <a:pt x="7508968" y="615717"/>
                </a:cubicBezTo>
                <a:close/>
                <a:moveTo>
                  <a:pt x="8444498" y="598282"/>
                </a:moveTo>
                <a:cubicBezTo>
                  <a:pt x="8444498" y="598282"/>
                  <a:pt x="8444498" y="598282"/>
                  <a:pt x="8472645" y="598282"/>
                </a:cubicBezTo>
                <a:cubicBezTo>
                  <a:pt x="8495121" y="598282"/>
                  <a:pt x="8506380" y="609799"/>
                  <a:pt x="8506380" y="632833"/>
                </a:cubicBezTo>
                <a:cubicBezTo>
                  <a:pt x="8506380" y="632833"/>
                  <a:pt x="8506380" y="632833"/>
                  <a:pt x="8506380" y="717331"/>
                </a:cubicBezTo>
                <a:cubicBezTo>
                  <a:pt x="8506380" y="740406"/>
                  <a:pt x="8495121" y="751922"/>
                  <a:pt x="8472645" y="751922"/>
                </a:cubicBezTo>
                <a:cubicBezTo>
                  <a:pt x="8472645" y="751922"/>
                  <a:pt x="8472645" y="751922"/>
                  <a:pt x="8444498" y="751922"/>
                </a:cubicBezTo>
                <a:cubicBezTo>
                  <a:pt x="8422022" y="751922"/>
                  <a:pt x="8410763" y="740406"/>
                  <a:pt x="8410763" y="717331"/>
                </a:cubicBezTo>
                <a:cubicBezTo>
                  <a:pt x="8410763" y="717331"/>
                  <a:pt x="8410763" y="717331"/>
                  <a:pt x="8410763" y="632833"/>
                </a:cubicBezTo>
                <a:cubicBezTo>
                  <a:pt x="8410763" y="609799"/>
                  <a:pt x="8422022" y="598282"/>
                  <a:pt x="8444498" y="598282"/>
                </a:cubicBezTo>
                <a:close/>
                <a:moveTo>
                  <a:pt x="9042654" y="598010"/>
                </a:moveTo>
                <a:cubicBezTo>
                  <a:pt x="9042654" y="598010"/>
                  <a:pt x="9042654" y="598010"/>
                  <a:pt x="9098962" y="598010"/>
                </a:cubicBezTo>
                <a:cubicBezTo>
                  <a:pt x="9101657" y="598010"/>
                  <a:pt x="9102963" y="599237"/>
                  <a:pt x="9102963" y="601650"/>
                </a:cubicBezTo>
                <a:cubicBezTo>
                  <a:pt x="9102963" y="601650"/>
                  <a:pt x="9102963" y="601650"/>
                  <a:pt x="9102963" y="714866"/>
                </a:cubicBezTo>
                <a:cubicBezTo>
                  <a:pt x="9102963" y="726686"/>
                  <a:pt x="9099778" y="735807"/>
                  <a:pt x="9093327" y="742270"/>
                </a:cubicBezTo>
                <a:cubicBezTo>
                  <a:pt x="9086875" y="748691"/>
                  <a:pt x="9077647" y="751923"/>
                  <a:pt x="9065561" y="751923"/>
                </a:cubicBezTo>
                <a:cubicBezTo>
                  <a:pt x="9065561" y="751923"/>
                  <a:pt x="9065561" y="751923"/>
                  <a:pt x="9042654" y="751923"/>
                </a:cubicBezTo>
                <a:cubicBezTo>
                  <a:pt x="9020400" y="751923"/>
                  <a:pt x="9009253" y="740225"/>
                  <a:pt x="9009253" y="716870"/>
                </a:cubicBezTo>
                <a:cubicBezTo>
                  <a:pt x="9009253" y="716870"/>
                  <a:pt x="9009253" y="716870"/>
                  <a:pt x="9009253" y="633062"/>
                </a:cubicBezTo>
                <a:cubicBezTo>
                  <a:pt x="9009253" y="609707"/>
                  <a:pt x="9020400" y="598010"/>
                  <a:pt x="9042654" y="598010"/>
                </a:cubicBezTo>
                <a:close/>
                <a:moveTo>
                  <a:pt x="9496025" y="572403"/>
                </a:moveTo>
                <a:cubicBezTo>
                  <a:pt x="9491208" y="572403"/>
                  <a:pt x="9487982" y="574159"/>
                  <a:pt x="9486390" y="577630"/>
                </a:cubicBezTo>
                <a:cubicBezTo>
                  <a:pt x="9486390" y="577630"/>
                  <a:pt x="9486390" y="577630"/>
                  <a:pt x="9429271" y="667717"/>
                </a:cubicBezTo>
                <a:cubicBezTo>
                  <a:pt x="9427679" y="670699"/>
                  <a:pt x="9427679" y="673516"/>
                  <a:pt x="9429271" y="676171"/>
                </a:cubicBezTo>
                <a:cubicBezTo>
                  <a:pt x="9429271" y="676171"/>
                  <a:pt x="9429271" y="676171"/>
                  <a:pt x="9491208" y="771894"/>
                </a:cubicBezTo>
                <a:cubicBezTo>
                  <a:pt x="9493616" y="775692"/>
                  <a:pt x="9497372" y="777529"/>
                  <a:pt x="9502476" y="777529"/>
                </a:cubicBezTo>
                <a:cubicBezTo>
                  <a:pt x="9502476" y="777529"/>
                  <a:pt x="9502476" y="777529"/>
                  <a:pt x="9521339" y="777529"/>
                </a:cubicBezTo>
                <a:cubicBezTo>
                  <a:pt x="9523503" y="777529"/>
                  <a:pt x="9524972" y="776958"/>
                  <a:pt x="9525789" y="775733"/>
                </a:cubicBezTo>
                <a:cubicBezTo>
                  <a:pt x="9526565" y="774548"/>
                  <a:pt x="9526442" y="772996"/>
                  <a:pt x="9525381" y="771118"/>
                </a:cubicBezTo>
                <a:cubicBezTo>
                  <a:pt x="9525381" y="771118"/>
                  <a:pt x="9525381" y="771118"/>
                  <a:pt x="9460219" y="672169"/>
                </a:cubicBezTo>
                <a:cubicBezTo>
                  <a:pt x="9460219" y="672169"/>
                  <a:pt x="9460219" y="672169"/>
                  <a:pt x="9460219" y="670535"/>
                </a:cubicBezTo>
                <a:cubicBezTo>
                  <a:pt x="9460219" y="670535"/>
                  <a:pt x="9460219" y="670535"/>
                  <a:pt x="9519338" y="578855"/>
                </a:cubicBezTo>
                <a:cubicBezTo>
                  <a:pt x="9520686" y="576977"/>
                  <a:pt x="9521012" y="575425"/>
                  <a:pt x="9520359" y="574200"/>
                </a:cubicBezTo>
                <a:cubicBezTo>
                  <a:pt x="9519706" y="573015"/>
                  <a:pt x="9518277" y="572403"/>
                  <a:pt x="9516113" y="572403"/>
                </a:cubicBezTo>
                <a:cubicBezTo>
                  <a:pt x="9516113" y="572403"/>
                  <a:pt x="9516113" y="572403"/>
                  <a:pt x="9496025" y="572403"/>
                </a:cubicBezTo>
                <a:close/>
                <a:moveTo>
                  <a:pt x="9317686" y="572403"/>
                </a:moveTo>
                <a:cubicBezTo>
                  <a:pt x="9314208" y="572403"/>
                  <a:pt x="9312448" y="574281"/>
                  <a:pt x="9312448" y="578038"/>
                </a:cubicBezTo>
                <a:cubicBezTo>
                  <a:pt x="9312448" y="578038"/>
                  <a:pt x="9312448" y="578038"/>
                  <a:pt x="9312448" y="771935"/>
                </a:cubicBezTo>
                <a:cubicBezTo>
                  <a:pt x="9312448" y="775692"/>
                  <a:pt x="9314330" y="777529"/>
                  <a:pt x="9318095" y="777529"/>
                </a:cubicBezTo>
                <a:cubicBezTo>
                  <a:pt x="9318095" y="777529"/>
                  <a:pt x="9318095" y="777529"/>
                  <a:pt x="9336263" y="777529"/>
                </a:cubicBezTo>
                <a:cubicBezTo>
                  <a:pt x="9339986" y="777529"/>
                  <a:pt x="9341869" y="775692"/>
                  <a:pt x="9341869" y="771935"/>
                </a:cubicBezTo>
                <a:cubicBezTo>
                  <a:pt x="9341869" y="771935"/>
                  <a:pt x="9341869" y="771935"/>
                  <a:pt x="9341869" y="578038"/>
                </a:cubicBezTo>
                <a:cubicBezTo>
                  <a:pt x="9341869" y="574281"/>
                  <a:pt x="9339986" y="572403"/>
                  <a:pt x="9336263" y="572403"/>
                </a:cubicBezTo>
                <a:cubicBezTo>
                  <a:pt x="9336263" y="572403"/>
                  <a:pt x="9336263" y="572403"/>
                  <a:pt x="9317686" y="572403"/>
                </a:cubicBezTo>
                <a:close/>
                <a:moveTo>
                  <a:pt x="9039415" y="572403"/>
                </a:moveTo>
                <a:cubicBezTo>
                  <a:pt x="9020903" y="572403"/>
                  <a:pt x="9006354" y="577630"/>
                  <a:pt x="8995770" y="588085"/>
                </a:cubicBezTo>
                <a:cubicBezTo>
                  <a:pt x="8985145" y="598539"/>
                  <a:pt x="8979833" y="613159"/>
                  <a:pt x="8979833" y="631944"/>
                </a:cubicBezTo>
                <a:cubicBezTo>
                  <a:pt x="8979833" y="631944"/>
                  <a:pt x="8979833" y="631944"/>
                  <a:pt x="8979833" y="718029"/>
                </a:cubicBezTo>
                <a:cubicBezTo>
                  <a:pt x="8979833" y="736774"/>
                  <a:pt x="8985145" y="751393"/>
                  <a:pt x="8995770" y="761848"/>
                </a:cubicBezTo>
                <a:cubicBezTo>
                  <a:pt x="9006354" y="772302"/>
                  <a:pt x="9020903" y="777529"/>
                  <a:pt x="9039415" y="777529"/>
                </a:cubicBezTo>
                <a:cubicBezTo>
                  <a:pt x="9039415" y="777529"/>
                  <a:pt x="9039415" y="777529"/>
                  <a:pt x="9060338" y="777529"/>
                </a:cubicBezTo>
                <a:cubicBezTo>
                  <a:pt x="9081016" y="777529"/>
                  <a:pt x="9094706" y="770424"/>
                  <a:pt x="9101408" y="756212"/>
                </a:cubicBezTo>
                <a:cubicBezTo>
                  <a:pt x="9101408" y="756212"/>
                  <a:pt x="9101408" y="756212"/>
                  <a:pt x="9103001" y="756212"/>
                </a:cubicBezTo>
                <a:cubicBezTo>
                  <a:pt x="9103001" y="756212"/>
                  <a:pt x="9103001" y="756212"/>
                  <a:pt x="9103001" y="771935"/>
                </a:cubicBezTo>
                <a:cubicBezTo>
                  <a:pt x="9103001" y="775692"/>
                  <a:pt x="9104881" y="777529"/>
                  <a:pt x="9108641" y="777529"/>
                </a:cubicBezTo>
                <a:cubicBezTo>
                  <a:pt x="9108641" y="777529"/>
                  <a:pt x="9108641" y="777529"/>
                  <a:pt x="9126785" y="777529"/>
                </a:cubicBezTo>
                <a:cubicBezTo>
                  <a:pt x="9130504" y="777529"/>
                  <a:pt x="9132384" y="775692"/>
                  <a:pt x="9132384" y="771935"/>
                </a:cubicBezTo>
                <a:cubicBezTo>
                  <a:pt x="9132384" y="771935"/>
                  <a:pt x="9132384" y="771935"/>
                  <a:pt x="9132384" y="578038"/>
                </a:cubicBezTo>
                <a:cubicBezTo>
                  <a:pt x="9132384" y="574281"/>
                  <a:pt x="9130504" y="572403"/>
                  <a:pt x="9126785" y="572403"/>
                </a:cubicBezTo>
                <a:cubicBezTo>
                  <a:pt x="9126785" y="572403"/>
                  <a:pt x="9126785" y="572403"/>
                  <a:pt x="9039415" y="572403"/>
                </a:cubicBezTo>
                <a:close/>
                <a:moveTo>
                  <a:pt x="8693982" y="572403"/>
                </a:moveTo>
                <a:cubicBezTo>
                  <a:pt x="8690228" y="572403"/>
                  <a:pt x="8688351" y="574281"/>
                  <a:pt x="8688351" y="578038"/>
                </a:cubicBezTo>
                <a:cubicBezTo>
                  <a:pt x="8688351" y="578038"/>
                  <a:pt x="8688351" y="578038"/>
                  <a:pt x="8688351" y="771894"/>
                </a:cubicBezTo>
                <a:cubicBezTo>
                  <a:pt x="8688351" y="775692"/>
                  <a:pt x="8690228" y="777529"/>
                  <a:pt x="8693982" y="777529"/>
                </a:cubicBezTo>
                <a:cubicBezTo>
                  <a:pt x="8693982" y="777529"/>
                  <a:pt x="8693982" y="777529"/>
                  <a:pt x="8712056" y="777529"/>
                </a:cubicBezTo>
                <a:cubicBezTo>
                  <a:pt x="8715810" y="777529"/>
                  <a:pt x="8717686" y="775692"/>
                  <a:pt x="8717686" y="771894"/>
                </a:cubicBezTo>
                <a:cubicBezTo>
                  <a:pt x="8717686" y="771894"/>
                  <a:pt x="8717686" y="771894"/>
                  <a:pt x="8717686" y="635170"/>
                </a:cubicBezTo>
                <a:cubicBezTo>
                  <a:pt x="8717686" y="623368"/>
                  <a:pt x="8720909" y="614261"/>
                  <a:pt x="8727315" y="607809"/>
                </a:cubicBezTo>
                <a:cubicBezTo>
                  <a:pt x="8733761" y="601357"/>
                  <a:pt x="8742982" y="598171"/>
                  <a:pt x="8755059" y="598171"/>
                </a:cubicBezTo>
                <a:cubicBezTo>
                  <a:pt x="8755059" y="598171"/>
                  <a:pt x="8755059" y="598171"/>
                  <a:pt x="8769910" y="598171"/>
                </a:cubicBezTo>
                <a:cubicBezTo>
                  <a:pt x="8792431" y="598171"/>
                  <a:pt x="8803692" y="609810"/>
                  <a:pt x="8803692" y="633128"/>
                </a:cubicBezTo>
                <a:cubicBezTo>
                  <a:pt x="8803692" y="633128"/>
                  <a:pt x="8803692" y="633128"/>
                  <a:pt x="8803692" y="771894"/>
                </a:cubicBezTo>
                <a:cubicBezTo>
                  <a:pt x="8803692" y="775692"/>
                  <a:pt x="8805569" y="777529"/>
                  <a:pt x="8809322" y="777529"/>
                </a:cubicBezTo>
                <a:cubicBezTo>
                  <a:pt x="8809322" y="777529"/>
                  <a:pt x="8809322" y="777529"/>
                  <a:pt x="8827396" y="777529"/>
                </a:cubicBezTo>
                <a:cubicBezTo>
                  <a:pt x="8831150" y="777529"/>
                  <a:pt x="8833027" y="775692"/>
                  <a:pt x="8833027" y="771894"/>
                </a:cubicBezTo>
                <a:cubicBezTo>
                  <a:pt x="8833027" y="771894"/>
                  <a:pt x="8833027" y="771894"/>
                  <a:pt x="8833027" y="636354"/>
                </a:cubicBezTo>
                <a:cubicBezTo>
                  <a:pt x="8833027" y="624552"/>
                  <a:pt x="8836291" y="615241"/>
                  <a:pt x="8842859" y="608422"/>
                </a:cubicBezTo>
                <a:cubicBezTo>
                  <a:pt x="8849428" y="601561"/>
                  <a:pt x="8858731" y="598171"/>
                  <a:pt x="8870807" y="598171"/>
                </a:cubicBezTo>
                <a:cubicBezTo>
                  <a:pt x="8870807" y="598171"/>
                  <a:pt x="8870807" y="598171"/>
                  <a:pt x="8884067" y="598171"/>
                </a:cubicBezTo>
                <a:cubicBezTo>
                  <a:pt x="8906548" y="598171"/>
                  <a:pt x="8917808" y="609810"/>
                  <a:pt x="8917808" y="633128"/>
                </a:cubicBezTo>
                <a:cubicBezTo>
                  <a:pt x="8917808" y="633128"/>
                  <a:pt x="8917808" y="633128"/>
                  <a:pt x="8917808" y="771894"/>
                </a:cubicBezTo>
                <a:cubicBezTo>
                  <a:pt x="8917808" y="775692"/>
                  <a:pt x="8919685" y="777529"/>
                  <a:pt x="8923439" y="777529"/>
                </a:cubicBezTo>
                <a:cubicBezTo>
                  <a:pt x="8923439" y="777529"/>
                  <a:pt x="8923439" y="777529"/>
                  <a:pt x="8941513" y="777529"/>
                </a:cubicBezTo>
                <a:cubicBezTo>
                  <a:pt x="8945266" y="777529"/>
                  <a:pt x="8947143" y="775692"/>
                  <a:pt x="8947143" y="771894"/>
                </a:cubicBezTo>
                <a:cubicBezTo>
                  <a:pt x="8947143" y="771894"/>
                  <a:pt x="8947143" y="771894"/>
                  <a:pt x="8947143" y="631944"/>
                </a:cubicBezTo>
                <a:cubicBezTo>
                  <a:pt x="8947143" y="613159"/>
                  <a:pt x="8942043" y="598539"/>
                  <a:pt x="8931884" y="588085"/>
                </a:cubicBezTo>
                <a:cubicBezTo>
                  <a:pt x="8921684" y="577630"/>
                  <a:pt x="8907486" y="572403"/>
                  <a:pt x="8889289" y="572403"/>
                </a:cubicBezTo>
                <a:cubicBezTo>
                  <a:pt x="8889289" y="572403"/>
                  <a:pt x="8889289" y="572403"/>
                  <a:pt x="8875213" y="572403"/>
                </a:cubicBezTo>
                <a:cubicBezTo>
                  <a:pt x="8865014" y="572403"/>
                  <a:pt x="8855303" y="574771"/>
                  <a:pt x="8846082" y="579427"/>
                </a:cubicBezTo>
                <a:cubicBezTo>
                  <a:pt x="8836821" y="584123"/>
                  <a:pt x="8830048" y="590902"/>
                  <a:pt x="8825805" y="599764"/>
                </a:cubicBezTo>
                <a:cubicBezTo>
                  <a:pt x="8816666" y="581510"/>
                  <a:pt x="8800305" y="572403"/>
                  <a:pt x="8776764" y="572403"/>
                </a:cubicBezTo>
                <a:cubicBezTo>
                  <a:pt x="8776764" y="572403"/>
                  <a:pt x="8776764" y="572403"/>
                  <a:pt x="8761872" y="572403"/>
                </a:cubicBezTo>
                <a:cubicBezTo>
                  <a:pt x="8740983" y="572403"/>
                  <a:pt x="8726785" y="579509"/>
                  <a:pt x="8719278" y="593720"/>
                </a:cubicBezTo>
                <a:cubicBezTo>
                  <a:pt x="8719278" y="593720"/>
                  <a:pt x="8719278" y="593720"/>
                  <a:pt x="8717686" y="593720"/>
                </a:cubicBezTo>
                <a:cubicBezTo>
                  <a:pt x="8717686" y="593720"/>
                  <a:pt x="8717686" y="593720"/>
                  <a:pt x="8717686" y="578038"/>
                </a:cubicBezTo>
                <a:cubicBezTo>
                  <a:pt x="8717686" y="574281"/>
                  <a:pt x="8715810" y="572403"/>
                  <a:pt x="8712056" y="572403"/>
                </a:cubicBezTo>
                <a:cubicBezTo>
                  <a:pt x="8712056" y="572403"/>
                  <a:pt x="8712056" y="572403"/>
                  <a:pt x="8693982" y="572403"/>
                </a:cubicBezTo>
                <a:close/>
                <a:moveTo>
                  <a:pt x="8572978" y="572403"/>
                </a:moveTo>
                <a:cubicBezTo>
                  <a:pt x="8569232" y="572403"/>
                  <a:pt x="8567400" y="574281"/>
                  <a:pt x="8567400" y="578038"/>
                </a:cubicBezTo>
                <a:cubicBezTo>
                  <a:pt x="8567400" y="578038"/>
                  <a:pt x="8567400" y="578038"/>
                  <a:pt x="8567400" y="771894"/>
                </a:cubicBezTo>
                <a:cubicBezTo>
                  <a:pt x="8567400" y="775692"/>
                  <a:pt x="8569232" y="777529"/>
                  <a:pt x="8572978" y="777529"/>
                </a:cubicBezTo>
                <a:cubicBezTo>
                  <a:pt x="8572978" y="777529"/>
                  <a:pt x="8572978" y="777529"/>
                  <a:pt x="8591055" y="777529"/>
                </a:cubicBezTo>
                <a:cubicBezTo>
                  <a:pt x="8594760" y="777529"/>
                  <a:pt x="8596633" y="775692"/>
                  <a:pt x="8596633" y="771894"/>
                </a:cubicBezTo>
                <a:cubicBezTo>
                  <a:pt x="8596633" y="771894"/>
                  <a:pt x="8596633" y="771894"/>
                  <a:pt x="8596633" y="638764"/>
                </a:cubicBezTo>
                <a:cubicBezTo>
                  <a:pt x="8596633" y="626186"/>
                  <a:pt x="8599849" y="616262"/>
                  <a:pt x="8606282" y="609034"/>
                </a:cubicBezTo>
                <a:cubicBezTo>
                  <a:pt x="8612714" y="601765"/>
                  <a:pt x="8621916" y="598171"/>
                  <a:pt x="8633967" y="598171"/>
                </a:cubicBezTo>
                <a:cubicBezTo>
                  <a:pt x="8633967" y="598171"/>
                  <a:pt x="8633967" y="598171"/>
                  <a:pt x="8655626" y="598171"/>
                </a:cubicBezTo>
                <a:cubicBezTo>
                  <a:pt x="8657459" y="598416"/>
                  <a:pt x="8658802" y="598090"/>
                  <a:pt x="8659616" y="597150"/>
                </a:cubicBezTo>
                <a:cubicBezTo>
                  <a:pt x="8660431" y="596211"/>
                  <a:pt x="8660838" y="594782"/>
                  <a:pt x="8660838" y="592903"/>
                </a:cubicBezTo>
                <a:cubicBezTo>
                  <a:pt x="8660838" y="592903"/>
                  <a:pt x="8660838" y="592903"/>
                  <a:pt x="8660838" y="578038"/>
                </a:cubicBezTo>
                <a:cubicBezTo>
                  <a:pt x="8660838" y="574281"/>
                  <a:pt x="8659087" y="572403"/>
                  <a:pt x="8655626" y="572403"/>
                </a:cubicBezTo>
                <a:cubicBezTo>
                  <a:pt x="8655626" y="572403"/>
                  <a:pt x="8655626" y="572403"/>
                  <a:pt x="8639952" y="572403"/>
                </a:cubicBezTo>
                <a:cubicBezTo>
                  <a:pt x="8629814" y="572403"/>
                  <a:pt x="8620979" y="574567"/>
                  <a:pt x="8613488" y="578855"/>
                </a:cubicBezTo>
                <a:cubicBezTo>
                  <a:pt x="8605997" y="583143"/>
                  <a:pt x="8600948" y="588248"/>
                  <a:pt x="8598261" y="594128"/>
                </a:cubicBezTo>
                <a:cubicBezTo>
                  <a:pt x="8598261" y="594128"/>
                  <a:pt x="8598261" y="594128"/>
                  <a:pt x="8596633" y="594128"/>
                </a:cubicBezTo>
                <a:cubicBezTo>
                  <a:pt x="8596633" y="594128"/>
                  <a:pt x="8596633" y="594128"/>
                  <a:pt x="8596633" y="578038"/>
                </a:cubicBezTo>
                <a:cubicBezTo>
                  <a:pt x="8596633" y="574281"/>
                  <a:pt x="8594760" y="572403"/>
                  <a:pt x="8591055" y="572403"/>
                </a:cubicBezTo>
                <a:cubicBezTo>
                  <a:pt x="8591055" y="572403"/>
                  <a:pt x="8591055" y="572403"/>
                  <a:pt x="8572978" y="572403"/>
                </a:cubicBezTo>
                <a:close/>
                <a:moveTo>
                  <a:pt x="8441286" y="572403"/>
                </a:moveTo>
                <a:cubicBezTo>
                  <a:pt x="8422818" y="572403"/>
                  <a:pt x="8408305" y="577630"/>
                  <a:pt x="8397746" y="588085"/>
                </a:cubicBezTo>
                <a:cubicBezTo>
                  <a:pt x="8387146" y="598539"/>
                  <a:pt x="8381887" y="613159"/>
                  <a:pt x="8381887" y="631944"/>
                </a:cubicBezTo>
                <a:cubicBezTo>
                  <a:pt x="8381887" y="631944"/>
                  <a:pt x="8381887" y="631944"/>
                  <a:pt x="8381887" y="718029"/>
                </a:cubicBezTo>
                <a:cubicBezTo>
                  <a:pt x="8381887" y="736774"/>
                  <a:pt x="8387146" y="751393"/>
                  <a:pt x="8397746" y="761848"/>
                </a:cubicBezTo>
                <a:cubicBezTo>
                  <a:pt x="8408305" y="772302"/>
                  <a:pt x="8422818" y="777529"/>
                  <a:pt x="8441286" y="777529"/>
                </a:cubicBezTo>
                <a:cubicBezTo>
                  <a:pt x="8441286" y="777529"/>
                  <a:pt x="8441286" y="777529"/>
                  <a:pt x="8475816" y="777529"/>
                </a:cubicBezTo>
                <a:cubicBezTo>
                  <a:pt x="8494284" y="777529"/>
                  <a:pt x="8508838" y="772302"/>
                  <a:pt x="8519397" y="761848"/>
                </a:cubicBezTo>
                <a:cubicBezTo>
                  <a:pt x="8529956" y="751393"/>
                  <a:pt x="8535256" y="736774"/>
                  <a:pt x="8535256" y="718029"/>
                </a:cubicBezTo>
                <a:cubicBezTo>
                  <a:pt x="8535256" y="718029"/>
                  <a:pt x="8535256" y="718029"/>
                  <a:pt x="8535256" y="631944"/>
                </a:cubicBezTo>
                <a:cubicBezTo>
                  <a:pt x="8535256" y="613159"/>
                  <a:pt x="8529956" y="598539"/>
                  <a:pt x="8519397" y="588085"/>
                </a:cubicBezTo>
                <a:cubicBezTo>
                  <a:pt x="8508838" y="577630"/>
                  <a:pt x="8494284" y="572403"/>
                  <a:pt x="8475816" y="572403"/>
                </a:cubicBezTo>
                <a:cubicBezTo>
                  <a:pt x="8475816" y="572403"/>
                  <a:pt x="8475816" y="572403"/>
                  <a:pt x="8441286" y="572403"/>
                </a:cubicBezTo>
                <a:close/>
                <a:moveTo>
                  <a:pt x="8088680" y="572403"/>
                </a:moveTo>
                <a:cubicBezTo>
                  <a:pt x="8084927" y="572403"/>
                  <a:pt x="8083051" y="574281"/>
                  <a:pt x="8083051" y="578038"/>
                </a:cubicBezTo>
                <a:cubicBezTo>
                  <a:pt x="8083051" y="578038"/>
                  <a:pt x="8083051" y="578038"/>
                  <a:pt x="8083051" y="771894"/>
                </a:cubicBezTo>
                <a:cubicBezTo>
                  <a:pt x="8083051" y="775692"/>
                  <a:pt x="8084927" y="777529"/>
                  <a:pt x="8088680" y="777529"/>
                </a:cubicBezTo>
                <a:cubicBezTo>
                  <a:pt x="8088680" y="777529"/>
                  <a:pt x="8088680" y="777529"/>
                  <a:pt x="8106751" y="777529"/>
                </a:cubicBezTo>
                <a:cubicBezTo>
                  <a:pt x="8110504" y="777529"/>
                  <a:pt x="8112381" y="775692"/>
                  <a:pt x="8112381" y="771894"/>
                </a:cubicBezTo>
                <a:cubicBezTo>
                  <a:pt x="8112381" y="771894"/>
                  <a:pt x="8112381" y="771894"/>
                  <a:pt x="8112381" y="635170"/>
                </a:cubicBezTo>
                <a:cubicBezTo>
                  <a:pt x="8112381" y="623368"/>
                  <a:pt x="8115604" y="614261"/>
                  <a:pt x="8122008" y="607809"/>
                </a:cubicBezTo>
                <a:cubicBezTo>
                  <a:pt x="8128453" y="601357"/>
                  <a:pt x="8137672" y="598171"/>
                  <a:pt x="8149747" y="598171"/>
                </a:cubicBezTo>
                <a:cubicBezTo>
                  <a:pt x="8149747" y="598171"/>
                  <a:pt x="8149747" y="598171"/>
                  <a:pt x="8172264" y="598171"/>
                </a:cubicBezTo>
                <a:cubicBezTo>
                  <a:pt x="8194741" y="598171"/>
                  <a:pt x="8206000" y="609810"/>
                  <a:pt x="8206000" y="633128"/>
                </a:cubicBezTo>
                <a:cubicBezTo>
                  <a:pt x="8206000" y="633128"/>
                  <a:pt x="8206000" y="633128"/>
                  <a:pt x="8206000" y="771894"/>
                </a:cubicBezTo>
                <a:cubicBezTo>
                  <a:pt x="8206000" y="775692"/>
                  <a:pt x="8207876" y="777529"/>
                  <a:pt x="8211629" y="777529"/>
                </a:cubicBezTo>
                <a:cubicBezTo>
                  <a:pt x="8211629" y="777529"/>
                  <a:pt x="8211629" y="777529"/>
                  <a:pt x="8229700" y="777529"/>
                </a:cubicBezTo>
                <a:cubicBezTo>
                  <a:pt x="8233453" y="777529"/>
                  <a:pt x="8235329" y="775692"/>
                  <a:pt x="8235329" y="771894"/>
                </a:cubicBezTo>
                <a:cubicBezTo>
                  <a:pt x="8235329" y="771894"/>
                  <a:pt x="8235329" y="771894"/>
                  <a:pt x="8235329" y="631944"/>
                </a:cubicBezTo>
                <a:cubicBezTo>
                  <a:pt x="8235329" y="613159"/>
                  <a:pt x="8230231" y="598539"/>
                  <a:pt x="8220073" y="588085"/>
                </a:cubicBezTo>
                <a:cubicBezTo>
                  <a:pt x="8209875" y="577630"/>
                  <a:pt x="8195679" y="572403"/>
                  <a:pt x="8177486" y="572403"/>
                </a:cubicBezTo>
                <a:cubicBezTo>
                  <a:pt x="8177486" y="572403"/>
                  <a:pt x="8177486" y="572403"/>
                  <a:pt x="8154968" y="572403"/>
                </a:cubicBezTo>
                <a:cubicBezTo>
                  <a:pt x="8134327" y="572403"/>
                  <a:pt x="8120662" y="579509"/>
                  <a:pt x="8113972" y="593720"/>
                </a:cubicBezTo>
                <a:cubicBezTo>
                  <a:pt x="8113972" y="593720"/>
                  <a:pt x="8113972" y="593720"/>
                  <a:pt x="8112381" y="593720"/>
                </a:cubicBezTo>
                <a:cubicBezTo>
                  <a:pt x="8112381" y="593720"/>
                  <a:pt x="8112381" y="593720"/>
                  <a:pt x="8112381" y="578038"/>
                </a:cubicBezTo>
                <a:cubicBezTo>
                  <a:pt x="8112381" y="574281"/>
                  <a:pt x="8110504" y="572403"/>
                  <a:pt x="8106751" y="572403"/>
                </a:cubicBezTo>
                <a:cubicBezTo>
                  <a:pt x="8106751" y="572403"/>
                  <a:pt x="8106751" y="572403"/>
                  <a:pt x="8088680" y="572403"/>
                </a:cubicBezTo>
                <a:close/>
                <a:moveTo>
                  <a:pt x="8021003" y="572403"/>
                </a:moveTo>
                <a:cubicBezTo>
                  <a:pt x="8017484" y="572403"/>
                  <a:pt x="8015765" y="574281"/>
                  <a:pt x="8015765" y="578038"/>
                </a:cubicBezTo>
                <a:cubicBezTo>
                  <a:pt x="8015765" y="578038"/>
                  <a:pt x="8015765" y="578038"/>
                  <a:pt x="8015765" y="771935"/>
                </a:cubicBezTo>
                <a:cubicBezTo>
                  <a:pt x="8015765" y="775692"/>
                  <a:pt x="8017647" y="777529"/>
                  <a:pt x="8021412" y="777529"/>
                </a:cubicBezTo>
                <a:cubicBezTo>
                  <a:pt x="8021412" y="777529"/>
                  <a:pt x="8021412" y="777529"/>
                  <a:pt x="8039539" y="777529"/>
                </a:cubicBezTo>
                <a:cubicBezTo>
                  <a:pt x="8043303" y="777529"/>
                  <a:pt x="8045186" y="775692"/>
                  <a:pt x="8045186" y="771935"/>
                </a:cubicBezTo>
                <a:cubicBezTo>
                  <a:pt x="8045186" y="771935"/>
                  <a:pt x="8045186" y="771935"/>
                  <a:pt x="8045186" y="578038"/>
                </a:cubicBezTo>
                <a:cubicBezTo>
                  <a:pt x="8045186" y="574281"/>
                  <a:pt x="8043303" y="572403"/>
                  <a:pt x="8039539" y="572403"/>
                </a:cubicBezTo>
                <a:cubicBezTo>
                  <a:pt x="8039539" y="572403"/>
                  <a:pt x="8039539" y="572403"/>
                  <a:pt x="8021003" y="572403"/>
                </a:cubicBezTo>
                <a:close/>
                <a:moveTo>
                  <a:pt x="7744449" y="571313"/>
                </a:moveTo>
                <a:cubicBezTo>
                  <a:pt x="7738815" y="571313"/>
                  <a:pt x="7736815" y="574131"/>
                  <a:pt x="7738407" y="579767"/>
                </a:cubicBezTo>
                <a:cubicBezTo>
                  <a:pt x="7738407" y="579767"/>
                  <a:pt x="7738407" y="579767"/>
                  <a:pt x="7788825" y="768123"/>
                </a:cubicBezTo>
                <a:cubicBezTo>
                  <a:pt x="7790417" y="774044"/>
                  <a:pt x="7794050" y="776985"/>
                  <a:pt x="7799684" y="776985"/>
                </a:cubicBezTo>
                <a:cubicBezTo>
                  <a:pt x="7799684" y="776985"/>
                  <a:pt x="7799684" y="776985"/>
                  <a:pt x="7850878" y="776985"/>
                </a:cubicBezTo>
                <a:cubicBezTo>
                  <a:pt x="7857083" y="776985"/>
                  <a:pt x="7860676" y="774044"/>
                  <a:pt x="7861778" y="768123"/>
                </a:cubicBezTo>
                <a:cubicBezTo>
                  <a:pt x="7861778" y="768123"/>
                  <a:pt x="7861778" y="768123"/>
                  <a:pt x="7912563" y="579767"/>
                </a:cubicBezTo>
                <a:cubicBezTo>
                  <a:pt x="7914155" y="574131"/>
                  <a:pt x="7912155" y="571313"/>
                  <a:pt x="7906521" y="571313"/>
                </a:cubicBezTo>
                <a:cubicBezTo>
                  <a:pt x="7906521" y="571313"/>
                  <a:pt x="7906521" y="571313"/>
                  <a:pt x="7871045" y="571313"/>
                </a:cubicBezTo>
                <a:cubicBezTo>
                  <a:pt x="7865411" y="571313"/>
                  <a:pt x="7862023" y="574131"/>
                  <a:pt x="7860961" y="579767"/>
                </a:cubicBezTo>
                <a:cubicBezTo>
                  <a:pt x="7860961" y="579767"/>
                  <a:pt x="7860961" y="579767"/>
                  <a:pt x="7827118" y="731407"/>
                </a:cubicBezTo>
                <a:cubicBezTo>
                  <a:pt x="7827118" y="731407"/>
                  <a:pt x="7827118" y="731407"/>
                  <a:pt x="7824260" y="731407"/>
                </a:cubicBezTo>
                <a:cubicBezTo>
                  <a:pt x="7824260" y="731407"/>
                  <a:pt x="7824260" y="731407"/>
                  <a:pt x="7789601" y="579767"/>
                </a:cubicBezTo>
                <a:cubicBezTo>
                  <a:pt x="7788539" y="574131"/>
                  <a:pt x="7785314" y="571313"/>
                  <a:pt x="7779925" y="571313"/>
                </a:cubicBezTo>
                <a:cubicBezTo>
                  <a:pt x="7779925" y="571313"/>
                  <a:pt x="7779925" y="571313"/>
                  <a:pt x="7744449" y="571313"/>
                </a:cubicBezTo>
                <a:close/>
                <a:moveTo>
                  <a:pt x="7680644" y="571313"/>
                </a:moveTo>
                <a:cubicBezTo>
                  <a:pt x="7674479" y="571313"/>
                  <a:pt x="7669906" y="574009"/>
                  <a:pt x="7666966" y="579359"/>
                </a:cubicBezTo>
                <a:cubicBezTo>
                  <a:pt x="7666966" y="579359"/>
                  <a:pt x="7666966" y="579359"/>
                  <a:pt x="7618586" y="665287"/>
                </a:cubicBezTo>
                <a:cubicBezTo>
                  <a:pt x="7616136" y="669861"/>
                  <a:pt x="7616136" y="674272"/>
                  <a:pt x="7618586" y="678601"/>
                </a:cubicBezTo>
                <a:cubicBezTo>
                  <a:pt x="7618586" y="678601"/>
                  <a:pt x="7618586" y="678601"/>
                  <a:pt x="7669784" y="768490"/>
                </a:cubicBezTo>
                <a:cubicBezTo>
                  <a:pt x="7671907" y="772002"/>
                  <a:pt x="7674030" y="774289"/>
                  <a:pt x="7676030" y="775351"/>
                </a:cubicBezTo>
                <a:cubicBezTo>
                  <a:pt x="7678031" y="776454"/>
                  <a:pt x="7681338" y="776985"/>
                  <a:pt x="7685910" y="776985"/>
                </a:cubicBezTo>
                <a:cubicBezTo>
                  <a:pt x="7685910" y="776985"/>
                  <a:pt x="7685910" y="776985"/>
                  <a:pt x="7720573" y="776985"/>
                </a:cubicBezTo>
                <a:cubicBezTo>
                  <a:pt x="7724043" y="776985"/>
                  <a:pt x="7726493" y="775964"/>
                  <a:pt x="7727840" y="773963"/>
                </a:cubicBezTo>
                <a:cubicBezTo>
                  <a:pt x="7729187" y="771921"/>
                  <a:pt x="7729024" y="769593"/>
                  <a:pt x="7727432" y="766897"/>
                </a:cubicBezTo>
                <a:cubicBezTo>
                  <a:pt x="7727432" y="766897"/>
                  <a:pt x="7727432" y="766897"/>
                  <a:pt x="7671376" y="671331"/>
                </a:cubicBezTo>
                <a:cubicBezTo>
                  <a:pt x="7671376" y="671331"/>
                  <a:pt x="7671376" y="671331"/>
                  <a:pt x="7671376" y="669698"/>
                </a:cubicBezTo>
                <a:cubicBezTo>
                  <a:pt x="7671376" y="669698"/>
                  <a:pt x="7671376" y="669698"/>
                  <a:pt x="7725023" y="581401"/>
                </a:cubicBezTo>
                <a:cubicBezTo>
                  <a:pt x="7726860" y="578460"/>
                  <a:pt x="7727268" y="576010"/>
                  <a:pt x="7726207" y="574131"/>
                </a:cubicBezTo>
                <a:cubicBezTo>
                  <a:pt x="7725145" y="572253"/>
                  <a:pt x="7722982" y="571313"/>
                  <a:pt x="7719756" y="571313"/>
                </a:cubicBezTo>
                <a:cubicBezTo>
                  <a:pt x="7719756" y="571313"/>
                  <a:pt x="7719756" y="571313"/>
                  <a:pt x="7680644" y="571313"/>
                </a:cubicBezTo>
                <a:close/>
                <a:moveTo>
                  <a:pt x="7500888" y="571313"/>
                </a:moveTo>
                <a:cubicBezTo>
                  <a:pt x="7479676" y="571313"/>
                  <a:pt x="7463277" y="576951"/>
                  <a:pt x="7451733" y="588267"/>
                </a:cubicBezTo>
                <a:cubicBezTo>
                  <a:pt x="7440189" y="599542"/>
                  <a:pt x="7434437" y="615842"/>
                  <a:pt x="7434437" y="637044"/>
                </a:cubicBezTo>
                <a:cubicBezTo>
                  <a:pt x="7434437" y="637044"/>
                  <a:pt x="7434437" y="637044"/>
                  <a:pt x="7434437" y="701998"/>
                </a:cubicBezTo>
                <a:cubicBezTo>
                  <a:pt x="7434437" y="723241"/>
                  <a:pt x="7439699" y="739500"/>
                  <a:pt x="7450305" y="750816"/>
                </a:cubicBezTo>
                <a:cubicBezTo>
                  <a:pt x="7460911" y="762091"/>
                  <a:pt x="7476576" y="767769"/>
                  <a:pt x="7497257" y="767769"/>
                </a:cubicBezTo>
                <a:cubicBezTo>
                  <a:pt x="7497257" y="767769"/>
                  <a:pt x="7497257" y="767769"/>
                  <a:pt x="7510556" y="767933"/>
                </a:cubicBezTo>
                <a:cubicBezTo>
                  <a:pt x="7518959" y="767810"/>
                  <a:pt x="7525894" y="767973"/>
                  <a:pt x="7534297" y="767933"/>
                </a:cubicBezTo>
                <a:cubicBezTo>
                  <a:pt x="7540416" y="767892"/>
                  <a:pt x="7543108" y="767933"/>
                  <a:pt x="7550002" y="767892"/>
                </a:cubicBezTo>
                <a:cubicBezTo>
                  <a:pt x="7550002" y="767892"/>
                  <a:pt x="7550002" y="767892"/>
                  <a:pt x="7551634" y="767892"/>
                </a:cubicBezTo>
                <a:cubicBezTo>
                  <a:pt x="7551634" y="767892"/>
                  <a:pt x="7551634" y="767892"/>
                  <a:pt x="7551634" y="776225"/>
                </a:cubicBezTo>
                <a:cubicBezTo>
                  <a:pt x="7551634" y="784559"/>
                  <a:pt x="7549798" y="790564"/>
                  <a:pt x="7546209" y="794200"/>
                </a:cubicBezTo>
                <a:cubicBezTo>
                  <a:pt x="7542537" y="797795"/>
                  <a:pt x="7536459" y="799634"/>
                  <a:pt x="7527852" y="799634"/>
                </a:cubicBezTo>
                <a:cubicBezTo>
                  <a:pt x="7527852" y="799634"/>
                  <a:pt x="7527852" y="799634"/>
                  <a:pt x="7458994" y="799634"/>
                </a:cubicBezTo>
                <a:cubicBezTo>
                  <a:pt x="7453324" y="799634"/>
                  <a:pt x="7450509" y="802452"/>
                  <a:pt x="7450509" y="808090"/>
                </a:cubicBezTo>
                <a:cubicBezTo>
                  <a:pt x="7450509" y="808090"/>
                  <a:pt x="7450509" y="808090"/>
                  <a:pt x="7450509" y="835910"/>
                </a:cubicBezTo>
                <a:cubicBezTo>
                  <a:pt x="7450509" y="838892"/>
                  <a:pt x="7451121" y="840975"/>
                  <a:pt x="7452345" y="842160"/>
                </a:cubicBezTo>
                <a:cubicBezTo>
                  <a:pt x="7453528" y="843386"/>
                  <a:pt x="7455771" y="843998"/>
                  <a:pt x="7458994" y="843998"/>
                </a:cubicBezTo>
                <a:cubicBezTo>
                  <a:pt x="7458994" y="843998"/>
                  <a:pt x="7458994" y="843998"/>
                  <a:pt x="7536337" y="843998"/>
                </a:cubicBezTo>
                <a:cubicBezTo>
                  <a:pt x="7557263" y="843998"/>
                  <a:pt x="7573580" y="838361"/>
                  <a:pt x="7585247" y="827045"/>
                </a:cubicBezTo>
                <a:cubicBezTo>
                  <a:pt x="7596914" y="815770"/>
                  <a:pt x="7602788" y="799634"/>
                  <a:pt x="7602788" y="778636"/>
                </a:cubicBezTo>
                <a:cubicBezTo>
                  <a:pt x="7602788" y="778636"/>
                  <a:pt x="7602788" y="778636"/>
                  <a:pt x="7602788" y="579770"/>
                </a:cubicBezTo>
                <a:cubicBezTo>
                  <a:pt x="7602788" y="574132"/>
                  <a:pt x="7599810" y="571313"/>
                  <a:pt x="7593895" y="571313"/>
                </a:cubicBezTo>
                <a:cubicBezTo>
                  <a:pt x="7593895" y="571313"/>
                  <a:pt x="7593895" y="571313"/>
                  <a:pt x="7500888" y="571313"/>
                </a:cubicBezTo>
                <a:close/>
                <a:moveTo>
                  <a:pt x="9198957" y="528544"/>
                </a:moveTo>
                <a:cubicBezTo>
                  <a:pt x="9195198" y="528544"/>
                  <a:pt x="9193360" y="530464"/>
                  <a:pt x="9193360" y="534180"/>
                </a:cubicBezTo>
                <a:cubicBezTo>
                  <a:pt x="9193360" y="534180"/>
                  <a:pt x="9193360" y="534180"/>
                  <a:pt x="9193360" y="568769"/>
                </a:cubicBezTo>
                <a:cubicBezTo>
                  <a:pt x="9193360" y="571219"/>
                  <a:pt x="9192011" y="572404"/>
                  <a:pt x="9189315" y="572404"/>
                </a:cubicBezTo>
                <a:cubicBezTo>
                  <a:pt x="9189315" y="572404"/>
                  <a:pt x="9189315" y="572404"/>
                  <a:pt x="9167170" y="572404"/>
                </a:cubicBezTo>
                <a:cubicBezTo>
                  <a:pt x="9163411" y="572404"/>
                  <a:pt x="9161532" y="574282"/>
                  <a:pt x="9161532" y="578039"/>
                </a:cubicBezTo>
                <a:cubicBezTo>
                  <a:pt x="9161532" y="578039"/>
                  <a:pt x="9161532" y="578039"/>
                  <a:pt x="9161532" y="592904"/>
                </a:cubicBezTo>
                <a:cubicBezTo>
                  <a:pt x="9161532" y="596416"/>
                  <a:pt x="9163411" y="598131"/>
                  <a:pt x="9167170" y="598131"/>
                </a:cubicBezTo>
                <a:cubicBezTo>
                  <a:pt x="9167170" y="598131"/>
                  <a:pt x="9167170" y="598131"/>
                  <a:pt x="9189315" y="598131"/>
                </a:cubicBezTo>
                <a:cubicBezTo>
                  <a:pt x="9192011" y="598131"/>
                  <a:pt x="9193360" y="599356"/>
                  <a:pt x="9193360" y="601766"/>
                </a:cubicBezTo>
                <a:cubicBezTo>
                  <a:pt x="9193360" y="601766"/>
                  <a:pt x="9193360" y="601766"/>
                  <a:pt x="9193360" y="718805"/>
                </a:cubicBezTo>
                <a:cubicBezTo>
                  <a:pt x="9193360" y="737345"/>
                  <a:pt x="9198834" y="751720"/>
                  <a:pt x="9209866" y="762052"/>
                </a:cubicBezTo>
                <a:cubicBezTo>
                  <a:pt x="9220816" y="772384"/>
                  <a:pt x="9235606" y="777529"/>
                  <a:pt x="9254114" y="777529"/>
                </a:cubicBezTo>
                <a:cubicBezTo>
                  <a:pt x="9254114" y="777529"/>
                  <a:pt x="9254114" y="777529"/>
                  <a:pt x="9273440" y="777529"/>
                </a:cubicBezTo>
                <a:cubicBezTo>
                  <a:pt x="9277444" y="777529"/>
                  <a:pt x="9279486" y="775814"/>
                  <a:pt x="9279486" y="772302"/>
                </a:cubicBezTo>
                <a:cubicBezTo>
                  <a:pt x="9279486" y="772302"/>
                  <a:pt x="9279486" y="772302"/>
                  <a:pt x="9279486" y="757437"/>
                </a:cubicBezTo>
                <a:cubicBezTo>
                  <a:pt x="9279486" y="753680"/>
                  <a:pt x="9277444" y="751802"/>
                  <a:pt x="9273440" y="751802"/>
                </a:cubicBezTo>
                <a:cubicBezTo>
                  <a:pt x="9273440" y="751802"/>
                  <a:pt x="9273440" y="751802"/>
                  <a:pt x="9257750" y="751802"/>
                </a:cubicBezTo>
                <a:cubicBezTo>
                  <a:pt x="9234135" y="751802"/>
                  <a:pt x="9222327" y="740408"/>
                  <a:pt x="9222327" y="717621"/>
                </a:cubicBezTo>
                <a:cubicBezTo>
                  <a:pt x="9222327" y="717621"/>
                  <a:pt x="9222327" y="717621"/>
                  <a:pt x="9222327" y="601766"/>
                </a:cubicBezTo>
                <a:cubicBezTo>
                  <a:pt x="9222327" y="599356"/>
                  <a:pt x="9223798" y="598131"/>
                  <a:pt x="9226740" y="598131"/>
                </a:cubicBezTo>
                <a:cubicBezTo>
                  <a:pt x="9226740" y="598131"/>
                  <a:pt x="9226740" y="598131"/>
                  <a:pt x="9269395" y="598131"/>
                </a:cubicBezTo>
                <a:cubicBezTo>
                  <a:pt x="9273440" y="598131"/>
                  <a:pt x="9275442" y="596416"/>
                  <a:pt x="9275442" y="592904"/>
                </a:cubicBezTo>
                <a:cubicBezTo>
                  <a:pt x="9275442" y="592904"/>
                  <a:pt x="9275442" y="592904"/>
                  <a:pt x="9275442" y="578039"/>
                </a:cubicBezTo>
                <a:cubicBezTo>
                  <a:pt x="9275442" y="574282"/>
                  <a:pt x="9273440" y="572404"/>
                  <a:pt x="9269395" y="572404"/>
                </a:cubicBezTo>
                <a:cubicBezTo>
                  <a:pt x="9269395" y="572404"/>
                  <a:pt x="9269395" y="572404"/>
                  <a:pt x="9226740" y="572404"/>
                </a:cubicBezTo>
                <a:cubicBezTo>
                  <a:pt x="9223798" y="572404"/>
                  <a:pt x="9222327" y="571219"/>
                  <a:pt x="9222327" y="568769"/>
                </a:cubicBezTo>
                <a:cubicBezTo>
                  <a:pt x="9222327" y="568769"/>
                  <a:pt x="9222327" y="568769"/>
                  <a:pt x="9222327" y="534180"/>
                </a:cubicBezTo>
                <a:cubicBezTo>
                  <a:pt x="9222327" y="530464"/>
                  <a:pt x="9220570" y="528544"/>
                  <a:pt x="9217098" y="528544"/>
                </a:cubicBezTo>
                <a:cubicBezTo>
                  <a:pt x="9217098" y="528544"/>
                  <a:pt x="9217098" y="528544"/>
                  <a:pt x="9198957" y="528544"/>
                </a:cubicBezTo>
                <a:close/>
                <a:moveTo>
                  <a:pt x="9317686" y="495038"/>
                </a:moveTo>
                <a:cubicBezTo>
                  <a:pt x="9314208" y="495038"/>
                  <a:pt x="9312448" y="496925"/>
                  <a:pt x="9312448" y="500699"/>
                </a:cubicBezTo>
                <a:cubicBezTo>
                  <a:pt x="9312448" y="500699"/>
                  <a:pt x="9312448" y="500699"/>
                  <a:pt x="9312448" y="538684"/>
                </a:cubicBezTo>
                <a:cubicBezTo>
                  <a:pt x="9312448" y="542458"/>
                  <a:pt x="9314208" y="544345"/>
                  <a:pt x="9317686" y="544345"/>
                </a:cubicBezTo>
                <a:cubicBezTo>
                  <a:pt x="9317686" y="544345"/>
                  <a:pt x="9317686" y="544345"/>
                  <a:pt x="9336263" y="544345"/>
                </a:cubicBezTo>
                <a:cubicBezTo>
                  <a:pt x="9339986" y="544345"/>
                  <a:pt x="9341869" y="542458"/>
                  <a:pt x="9341869" y="538684"/>
                </a:cubicBezTo>
                <a:cubicBezTo>
                  <a:pt x="9341869" y="538684"/>
                  <a:pt x="9341869" y="538684"/>
                  <a:pt x="9341869" y="500699"/>
                </a:cubicBezTo>
                <a:cubicBezTo>
                  <a:pt x="9341869" y="496925"/>
                  <a:pt x="9339986" y="495038"/>
                  <a:pt x="9336263" y="495038"/>
                </a:cubicBezTo>
                <a:cubicBezTo>
                  <a:pt x="9336263" y="495038"/>
                  <a:pt x="9336263" y="495038"/>
                  <a:pt x="9317686" y="495038"/>
                </a:cubicBezTo>
                <a:close/>
                <a:moveTo>
                  <a:pt x="8021003" y="495038"/>
                </a:moveTo>
                <a:cubicBezTo>
                  <a:pt x="8017484" y="495038"/>
                  <a:pt x="8015765" y="496925"/>
                  <a:pt x="8015765" y="500699"/>
                </a:cubicBezTo>
                <a:cubicBezTo>
                  <a:pt x="8015765" y="500699"/>
                  <a:pt x="8015765" y="500699"/>
                  <a:pt x="8015765" y="538684"/>
                </a:cubicBezTo>
                <a:cubicBezTo>
                  <a:pt x="8015765" y="542458"/>
                  <a:pt x="8017484" y="544345"/>
                  <a:pt x="8021003" y="544345"/>
                </a:cubicBezTo>
                <a:cubicBezTo>
                  <a:pt x="8021003" y="544345"/>
                  <a:pt x="8021003" y="544345"/>
                  <a:pt x="8039539" y="544345"/>
                </a:cubicBezTo>
                <a:cubicBezTo>
                  <a:pt x="8043303" y="544345"/>
                  <a:pt x="8045186" y="542458"/>
                  <a:pt x="8045186" y="538684"/>
                </a:cubicBezTo>
                <a:cubicBezTo>
                  <a:pt x="8045186" y="538684"/>
                  <a:pt x="8045186" y="538684"/>
                  <a:pt x="8045186" y="500699"/>
                </a:cubicBezTo>
                <a:cubicBezTo>
                  <a:pt x="8045186" y="496925"/>
                  <a:pt x="8043303" y="495038"/>
                  <a:pt x="8039539" y="495038"/>
                </a:cubicBezTo>
                <a:cubicBezTo>
                  <a:pt x="8039539" y="495038"/>
                  <a:pt x="8039539" y="495038"/>
                  <a:pt x="8021003" y="495038"/>
                </a:cubicBezTo>
                <a:close/>
                <a:moveTo>
                  <a:pt x="9385381" y="494765"/>
                </a:moveTo>
                <a:cubicBezTo>
                  <a:pt x="9381616" y="494765"/>
                  <a:pt x="9379734" y="496644"/>
                  <a:pt x="9379734" y="500401"/>
                </a:cubicBezTo>
                <a:cubicBezTo>
                  <a:pt x="9379734" y="500401"/>
                  <a:pt x="9379734" y="500401"/>
                  <a:pt x="9379734" y="771893"/>
                </a:cubicBezTo>
                <a:cubicBezTo>
                  <a:pt x="9379734" y="775692"/>
                  <a:pt x="9381616" y="777529"/>
                  <a:pt x="9385381" y="777529"/>
                </a:cubicBezTo>
                <a:cubicBezTo>
                  <a:pt x="9385381" y="777529"/>
                  <a:pt x="9385381" y="777529"/>
                  <a:pt x="9403549" y="777529"/>
                </a:cubicBezTo>
                <a:cubicBezTo>
                  <a:pt x="9407272" y="777529"/>
                  <a:pt x="9409155" y="775692"/>
                  <a:pt x="9409155" y="771893"/>
                </a:cubicBezTo>
                <a:cubicBezTo>
                  <a:pt x="9409155" y="771893"/>
                  <a:pt x="9409155" y="771893"/>
                  <a:pt x="9409155" y="500401"/>
                </a:cubicBezTo>
                <a:cubicBezTo>
                  <a:pt x="9409155" y="496644"/>
                  <a:pt x="9407272" y="494765"/>
                  <a:pt x="9403549" y="494765"/>
                </a:cubicBezTo>
                <a:cubicBezTo>
                  <a:pt x="9403549" y="494765"/>
                  <a:pt x="9403549" y="494765"/>
                  <a:pt x="9385381" y="494765"/>
                </a:cubicBezTo>
                <a:close/>
                <a:moveTo>
                  <a:pt x="8345670" y="494765"/>
                </a:moveTo>
                <a:cubicBezTo>
                  <a:pt x="8327691" y="494765"/>
                  <a:pt x="8314043" y="499870"/>
                  <a:pt x="8304604" y="510039"/>
                </a:cubicBezTo>
                <a:cubicBezTo>
                  <a:pt x="8295246" y="520248"/>
                  <a:pt x="8290547" y="534869"/>
                  <a:pt x="8290547" y="553899"/>
                </a:cubicBezTo>
                <a:cubicBezTo>
                  <a:pt x="8290547" y="553899"/>
                  <a:pt x="8290547" y="553899"/>
                  <a:pt x="8290547" y="568764"/>
                </a:cubicBezTo>
                <a:cubicBezTo>
                  <a:pt x="8290547" y="571174"/>
                  <a:pt x="8289199" y="572399"/>
                  <a:pt x="8286502" y="572399"/>
                </a:cubicBezTo>
                <a:cubicBezTo>
                  <a:pt x="8286502" y="572399"/>
                  <a:pt x="8286502" y="572399"/>
                  <a:pt x="8262761" y="572399"/>
                </a:cubicBezTo>
                <a:cubicBezTo>
                  <a:pt x="8259002" y="572399"/>
                  <a:pt x="8257122" y="574155"/>
                  <a:pt x="8257122" y="577626"/>
                </a:cubicBezTo>
                <a:cubicBezTo>
                  <a:pt x="8257122" y="577626"/>
                  <a:pt x="8257122" y="577626"/>
                  <a:pt x="8257122" y="592532"/>
                </a:cubicBezTo>
                <a:cubicBezTo>
                  <a:pt x="8257122" y="596289"/>
                  <a:pt x="8259002" y="598127"/>
                  <a:pt x="8262761" y="598127"/>
                </a:cubicBezTo>
                <a:cubicBezTo>
                  <a:pt x="8262761" y="598127"/>
                  <a:pt x="8262761" y="598127"/>
                  <a:pt x="8286502" y="598127"/>
                </a:cubicBezTo>
                <a:cubicBezTo>
                  <a:pt x="8289199" y="598127"/>
                  <a:pt x="8290547" y="599352"/>
                  <a:pt x="8290547" y="601761"/>
                </a:cubicBezTo>
                <a:cubicBezTo>
                  <a:pt x="8290547" y="601761"/>
                  <a:pt x="8290547" y="601761"/>
                  <a:pt x="8290547" y="771893"/>
                </a:cubicBezTo>
                <a:cubicBezTo>
                  <a:pt x="8290547" y="775692"/>
                  <a:pt x="8292427" y="777529"/>
                  <a:pt x="8296186" y="777529"/>
                </a:cubicBezTo>
                <a:cubicBezTo>
                  <a:pt x="8296186" y="777529"/>
                  <a:pt x="8296186" y="777529"/>
                  <a:pt x="8313880" y="777529"/>
                </a:cubicBezTo>
                <a:cubicBezTo>
                  <a:pt x="8317925" y="777529"/>
                  <a:pt x="8319927" y="775692"/>
                  <a:pt x="8319927" y="771893"/>
                </a:cubicBezTo>
                <a:cubicBezTo>
                  <a:pt x="8319927" y="771893"/>
                  <a:pt x="8319927" y="771893"/>
                  <a:pt x="8319927" y="601761"/>
                </a:cubicBezTo>
                <a:cubicBezTo>
                  <a:pt x="8319927" y="599352"/>
                  <a:pt x="8321112" y="598127"/>
                  <a:pt x="8323523" y="598127"/>
                </a:cubicBezTo>
                <a:cubicBezTo>
                  <a:pt x="8323523" y="598127"/>
                  <a:pt x="8323523" y="598127"/>
                  <a:pt x="8358950" y="598127"/>
                </a:cubicBezTo>
                <a:cubicBezTo>
                  <a:pt x="8362996" y="598127"/>
                  <a:pt x="8364998" y="596289"/>
                  <a:pt x="8364998" y="592532"/>
                </a:cubicBezTo>
                <a:cubicBezTo>
                  <a:pt x="8364998" y="592532"/>
                  <a:pt x="8364998" y="592532"/>
                  <a:pt x="8364998" y="577626"/>
                </a:cubicBezTo>
                <a:cubicBezTo>
                  <a:pt x="8364998" y="574155"/>
                  <a:pt x="8362996" y="572399"/>
                  <a:pt x="8358950" y="572399"/>
                </a:cubicBezTo>
                <a:cubicBezTo>
                  <a:pt x="8358950" y="572399"/>
                  <a:pt x="8358950" y="572399"/>
                  <a:pt x="8323523" y="572399"/>
                </a:cubicBezTo>
                <a:cubicBezTo>
                  <a:pt x="8321112" y="572399"/>
                  <a:pt x="8319927" y="571174"/>
                  <a:pt x="8319927" y="568764"/>
                </a:cubicBezTo>
                <a:cubicBezTo>
                  <a:pt x="8319927" y="568764"/>
                  <a:pt x="8319927" y="568764"/>
                  <a:pt x="8319927" y="555124"/>
                </a:cubicBezTo>
                <a:cubicBezTo>
                  <a:pt x="8319927" y="543036"/>
                  <a:pt x="8322052" y="534256"/>
                  <a:pt x="8326342" y="528743"/>
                </a:cubicBezTo>
                <a:cubicBezTo>
                  <a:pt x="8330674" y="523270"/>
                  <a:pt x="8338315" y="520493"/>
                  <a:pt x="8349307" y="520493"/>
                </a:cubicBezTo>
                <a:cubicBezTo>
                  <a:pt x="8349307" y="520493"/>
                  <a:pt x="8349307" y="520493"/>
                  <a:pt x="8359359" y="520493"/>
                </a:cubicBezTo>
                <a:cubicBezTo>
                  <a:pt x="8363118" y="520493"/>
                  <a:pt x="8364998" y="518656"/>
                  <a:pt x="8364998" y="514899"/>
                </a:cubicBezTo>
                <a:cubicBezTo>
                  <a:pt x="8364998" y="514899"/>
                  <a:pt x="8364998" y="514899"/>
                  <a:pt x="8364998" y="499993"/>
                </a:cubicBezTo>
                <a:cubicBezTo>
                  <a:pt x="8364998" y="496521"/>
                  <a:pt x="8363118" y="494765"/>
                  <a:pt x="8359359" y="494765"/>
                </a:cubicBezTo>
                <a:cubicBezTo>
                  <a:pt x="8359359" y="494765"/>
                  <a:pt x="8359359" y="494765"/>
                  <a:pt x="8345670" y="494765"/>
                </a:cubicBezTo>
                <a:close/>
                <a:moveTo>
                  <a:pt x="0" y="0"/>
                </a:moveTo>
                <a:lnTo>
                  <a:pt x="10069217" y="0"/>
                </a:lnTo>
                <a:lnTo>
                  <a:pt x="10069217" y="6858001"/>
                </a:lnTo>
                <a:lnTo>
                  <a:pt x="9232922" y="6858001"/>
                </a:lnTo>
                <a:lnTo>
                  <a:pt x="9253731" y="6823699"/>
                </a:lnTo>
                <a:cubicBezTo>
                  <a:pt x="9310558" y="6730025"/>
                  <a:pt x="9393214" y="6593771"/>
                  <a:pt x="9513442" y="6395584"/>
                </a:cubicBezTo>
                <a:cubicBezTo>
                  <a:pt x="9526854" y="6374359"/>
                  <a:pt x="9529791" y="6356970"/>
                  <a:pt x="9522128" y="6343544"/>
                </a:cubicBezTo>
                <a:cubicBezTo>
                  <a:pt x="9514336" y="6329991"/>
                  <a:pt x="9499008" y="6323214"/>
                  <a:pt x="9475889" y="6323214"/>
                </a:cubicBezTo>
                <a:cubicBezTo>
                  <a:pt x="9475889" y="6323214"/>
                  <a:pt x="9475889" y="6323214"/>
                  <a:pt x="9195262" y="6323214"/>
                </a:cubicBezTo>
                <a:cubicBezTo>
                  <a:pt x="9150811" y="6323214"/>
                  <a:pt x="9118111" y="6342522"/>
                  <a:pt x="9096908" y="6381136"/>
                </a:cubicBezTo>
                <a:cubicBezTo>
                  <a:pt x="9096908" y="6381136"/>
                  <a:pt x="9096908" y="6381136"/>
                  <a:pt x="8864328" y="6794350"/>
                </a:cubicBezTo>
                <a:lnTo>
                  <a:pt x="8828501" y="6858001"/>
                </a:lnTo>
                <a:lnTo>
                  <a:pt x="1505515" y="6858001"/>
                </a:lnTo>
                <a:lnTo>
                  <a:pt x="1537397" y="6739773"/>
                </a:lnTo>
                <a:cubicBezTo>
                  <a:pt x="1766732" y="5889365"/>
                  <a:pt x="2266353" y="4036688"/>
                  <a:pt x="3354815" y="501"/>
                </a:cubicBezTo>
                <a:lnTo>
                  <a:pt x="3354950" y="3"/>
                </a:lnTo>
                <a:lnTo>
                  <a:pt x="0" y="3"/>
                </a:ln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5D116EE7-50E1-4D9A-8820-4C0994E8E5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073801" y="2"/>
            <a:ext cx="5737651" cy="6857999"/>
          </a:xfrm>
          <a:custGeom>
            <a:avLst/>
            <a:gdLst>
              <a:gd name="connsiteX0" fmla="*/ 0 w 5736904"/>
              <a:gd name="connsiteY0" fmla="*/ 0 h 6857999"/>
              <a:gd name="connsiteX1" fmla="*/ 2785139 w 5736904"/>
              <a:gd name="connsiteY1" fmla="*/ 0 h 6857999"/>
              <a:gd name="connsiteX2" fmla="*/ 2785139 w 5736904"/>
              <a:gd name="connsiteY2" fmla="*/ 1 h 6857999"/>
              <a:gd name="connsiteX3" fmla="*/ 5736904 w 5736904"/>
              <a:gd name="connsiteY3" fmla="*/ 1 h 6857999"/>
              <a:gd name="connsiteX4" fmla="*/ 5736769 w 5736904"/>
              <a:gd name="connsiteY4" fmla="*/ 499 h 6857999"/>
              <a:gd name="connsiteX5" fmla="*/ 3919350 w 5736904"/>
              <a:gd name="connsiteY5" fmla="*/ 6739771 h 6857999"/>
              <a:gd name="connsiteX6" fmla="*/ 3887468 w 5736904"/>
              <a:gd name="connsiteY6" fmla="*/ 6857999 h 6857999"/>
              <a:gd name="connsiteX7" fmla="*/ 553309 w 5736904"/>
              <a:gd name="connsiteY7" fmla="*/ 6857999 h 6857999"/>
              <a:gd name="connsiteX8" fmla="*/ 585192 w 5736904"/>
              <a:gd name="connsiteY8" fmla="*/ 6739771 h 6857999"/>
              <a:gd name="connsiteX9" fmla="*/ 2402610 w 5736904"/>
              <a:gd name="connsiteY9" fmla="*/ 499 h 6857999"/>
              <a:gd name="connsiteX10" fmla="*/ 2402745 w 5736904"/>
              <a:gd name="connsiteY10" fmla="*/ 1 h 6857999"/>
              <a:gd name="connsiteX11" fmla="*/ 0 w 5736904"/>
              <a:gd name="connsiteY11" fmla="*/ 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36904" h="6857999">
                <a:moveTo>
                  <a:pt x="0" y="0"/>
                </a:moveTo>
                <a:lnTo>
                  <a:pt x="2785139" y="0"/>
                </a:lnTo>
                <a:lnTo>
                  <a:pt x="2785139" y="1"/>
                </a:lnTo>
                <a:lnTo>
                  <a:pt x="5736904" y="1"/>
                </a:lnTo>
                <a:lnTo>
                  <a:pt x="5736769" y="499"/>
                </a:lnTo>
                <a:cubicBezTo>
                  <a:pt x="4648307" y="4036686"/>
                  <a:pt x="4148685" y="5889363"/>
                  <a:pt x="3919350" y="6739771"/>
                </a:cubicBezTo>
                <a:lnTo>
                  <a:pt x="3887468" y="6857999"/>
                </a:lnTo>
                <a:lnTo>
                  <a:pt x="553309" y="6857999"/>
                </a:lnTo>
                <a:lnTo>
                  <a:pt x="585192" y="6739771"/>
                </a:lnTo>
                <a:cubicBezTo>
                  <a:pt x="814527" y="5889363"/>
                  <a:pt x="1314148" y="4036686"/>
                  <a:pt x="2402610" y="499"/>
                </a:cubicBezTo>
                <a:lnTo>
                  <a:pt x="2402745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6BCCCCF-0F51-4C01-BD70-C84B58C017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65812" y="-3"/>
            <a:ext cx="4796323" cy="6858003"/>
          </a:xfrm>
          <a:custGeom>
            <a:avLst/>
            <a:gdLst>
              <a:gd name="connsiteX0" fmla="*/ 0 w 4795699"/>
              <a:gd name="connsiteY0" fmla="*/ 0 h 6858003"/>
              <a:gd name="connsiteX1" fmla="*/ 1174934 w 4795699"/>
              <a:gd name="connsiteY1" fmla="*/ 0 h 6858003"/>
              <a:gd name="connsiteX2" fmla="*/ 1174934 w 4795699"/>
              <a:gd name="connsiteY2" fmla="*/ 5 h 6858003"/>
              <a:gd name="connsiteX3" fmla="*/ 4795699 w 4795699"/>
              <a:gd name="connsiteY3" fmla="*/ 5 h 6858003"/>
              <a:gd name="connsiteX4" fmla="*/ 4795564 w 4795699"/>
              <a:gd name="connsiteY4" fmla="*/ 503 h 6858003"/>
              <a:gd name="connsiteX5" fmla="*/ 2978145 w 4795699"/>
              <a:gd name="connsiteY5" fmla="*/ 6739775 h 6858003"/>
              <a:gd name="connsiteX6" fmla="*/ 2946263 w 4795699"/>
              <a:gd name="connsiteY6" fmla="*/ 6858003 h 6858003"/>
              <a:gd name="connsiteX7" fmla="*/ 761272 w 4795699"/>
              <a:gd name="connsiteY7" fmla="*/ 6858003 h 6858003"/>
              <a:gd name="connsiteX8" fmla="*/ 793154 w 4795699"/>
              <a:gd name="connsiteY8" fmla="*/ 6739775 h 6858003"/>
              <a:gd name="connsiteX9" fmla="*/ 2610573 w 4795699"/>
              <a:gd name="connsiteY9" fmla="*/ 503 h 6858003"/>
              <a:gd name="connsiteX10" fmla="*/ 2610708 w 4795699"/>
              <a:gd name="connsiteY10" fmla="*/ 5 h 6858003"/>
              <a:gd name="connsiteX11" fmla="*/ 0 w 4795699"/>
              <a:gd name="connsiteY11" fmla="*/ 5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795699" h="6858003">
                <a:moveTo>
                  <a:pt x="0" y="0"/>
                </a:moveTo>
                <a:lnTo>
                  <a:pt x="1174934" y="0"/>
                </a:lnTo>
                <a:lnTo>
                  <a:pt x="1174934" y="5"/>
                </a:lnTo>
                <a:lnTo>
                  <a:pt x="4795699" y="5"/>
                </a:lnTo>
                <a:lnTo>
                  <a:pt x="4795564" y="503"/>
                </a:lnTo>
                <a:cubicBezTo>
                  <a:pt x="3707102" y="4036690"/>
                  <a:pt x="3207480" y="5889367"/>
                  <a:pt x="2978145" y="6739775"/>
                </a:cubicBezTo>
                <a:lnTo>
                  <a:pt x="2946263" y="6858003"/>
                </a:lnTo>
                <a:lnTo>
                  <a:pt x="761272" y="6858003"/>
                </a:lnTo>
                <a:lnTo>
                  <a:pt x="793154" y="6739775"/>
                </a:lnTo>
                <a:cubicBezTo>
                  <a:pt x="1022489" y="5889367"/>
                  <a:pt x="1522111" y="4036690"/>
                  <a:pt x="2610573" y="503"/>
                </a:cubicBezTo>
                <a:lnTo>
                  <a:pt x="2610708" y="5"/>
                </a:lnTo>
                <a:lnTo>
                  <a:pt x="0" y="5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CB64A9-9FD4-4768-A69B-08A5BB6A92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052907" y="-1"/>
            <a:ext cx="5067259" cy="6858001"/>
          </a:xfrm>
          <a:custGeom>
            <a:avLst/>
            <a:gdLst>
              <a:gd name="connsiteX0" fmla="*/ 0 w 5066599"/>
              <a:gd name="connsiteY0" fmla="*/ 0 h 6858001"/>
              <a:gd name="connsiteX1" fmla="*/ 2434302 w 5066599"/>
              <a:gd name="connsiteY1" fmla="*/ 0 h 6858001"/>
              <a:gd name="connsiteX2" fmla="*/ 2434302 w 5066599"/>
              <a:gd name="connsiteY2" fmla="*/ 3 h 6858001"/>
              <a:gd name="connsiteX3" fmla="*/ 5066599 w 5066599"/>
              <a:gd name="connsiteY3" fmla="*/ 3 h 6858001"/>
              <a:gd name="connsiteX4" fmla="*/ 5066464 w 5066599"/>
              <a:gd name="connsiteY4" fmla="*/ 501 h 6858001"/>
              <a:gd name="connsiteX5" fmla="*/ 3249045 w 5066599"/>
              <a:gd name="connsiteY5" fmla="*/ 6739773 h 6858001"/>
              <a:gd name="connsiteX6" fmla="*/ 3217163 w 5066599"/>
              <a:gd name="connsiteY6" fmla="*/ 6858001 h 6858001"/>
              <a:gd name="connsiteX7" fmla="*/ 1574072 w 5066599"/>
              <a:gd name="connsiteY7" fmla="*/ 6858001 h 6858001"/>
              <a:gd name="connsiteX8" fmla="*/ 1605955 w 5066599"/>
              <a:gd name="connsiteY8" fmla="*/ 6739773 h 6858001"/>
              <a:gd name="connsiteX9" fmla="*/ 3423373 w 5066599"/>
              <a:gd name="connsiteY9" fmla="*/ 501 h 6858001"/>
              <a:gd name="connsiteX10" fmla="*/ 3423508 w 5066599"/>
              <a:gd name="connsiteY10" fmla="*/ 3 h 6858001"/>
              <a:gd name="connsiteX11" fmla="*/ 0 w 5066599"/>
              <a:gd name="connsiteY11" fmla="*/ 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066599" h="6858001">
                <a:moveTo>
                  <a:pt x="0" y="0"/>
                </a:moveTo>
                <a:lnTo>
                  <a:pt x="2434302" y="0"/>
                </a:lnTo>
                <a:lnTo>
                  <a:pt x="2434302" y="3"/>
                </a:lnTo>
                <a:lnTo>
                  <a:pt x="5066599" y="3"/>
                </a:lnTo>
                <a:lnTo>
                  <a:pt x="5066464" y="501"/>
                </a:lnTo>
                <a:cubicBezTo>
                  <a:pt x="3978002" y="4036688"/>
                  <a:pt x="3478381" y="5889365"/>
                  <a:pt x="3249045" y="6739773"/>
                </a:cubicBezTo>
                <a:lnTo>
                  <a:pt x="3217163" y="6858001"/>
                </a:lnTo>
                <a:lnTo>
                  <a:pt x="1574072" y="6858001"/>
                </a:lnTo>
                <a:lnTo>
                  <a:pt x="1605955" y="6739773"/>
                </a:lnTo>
                <a:cubicBezTo>
                  <a:pt x="1835289" y="5889365"/>
                  <a:pt x="2334911" y="4036688"/>
                  <a:pt x="3423373" y="501"/>
                </a:cubicBezTo>
                <a:lnTo>
                  <a:pt x="3423508" y="3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A40362-D508-4546-8039-E82D6A6BBE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39">
            <a:extLst>
              <a:ext uri="{FF2B5EF4-FFF2-40B4-BE49-F238E27FC236}">
                <a16:creationId xmlns:a16="http://schemas.microsoft.com/office/drawing/2014/main" id="{38D62BB0-8177-4023-9596-D22E9A3905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9140" y="1511300"/>
            <a:ext cx="5477588" cy="1619988"/>
          </a:xfrm>
        </p:spPr>
        <p:txBody>
          <a:bodyPr/>
          <a:lstStyle>
            <a:lvl1pPr marL="0" indent="0">
              <a:buNone/>
              <a:defRPr sz="5400" spc="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14" name="Textplatzhalter 41">
            <a:extLst>
              <a:ext uri="{FF2B5EF4-FFF2-40B4-BE49-F238E27FC236}">
                <a16:creationId xmlns:a16="http://schemas.microsoft.com/office/drawing/2014/main" id="{F4954F3C-EE52-4E8C-BFC0-505F4084E0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7" y="1511300"/>
            <a:ext cx="1260638" cy="1619988"/>
          </a:xfrm>
        </p:spPr>
        <p:txBody>
          <a:bodyPr/>
          <a:lstStyle>
            <a:lvl1pPr marL="0" indent="0" algn="r">
              <a:buNone/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5B5911F-859E-47F2-8BEC-50DADBCD1AAF}"/>
              </a:ext>
            </a:extLst>
          </p:cNvPr>
          <p:cNvSpPr/>
          <p:nvPr userDrawn="1"/>
        </p:nvSpPr>
        <p:spPr>
          <a:xfrm>
            <a:off x="1992951" y="1542554"/>
            <a:ext cx="76873" cy="7023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</p:spTree>
    <p:extLst>
      <p:ext uri="{BB962C8B-B14F-4D97-AF65-F5344CB8AC3E}">
        <p14:creationId xmlns:p14="http://schemas.microsoft.com/office/powerpoint/2010/main" val="74941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8C9F8B9A-464D-4FC9-AA0A-17BD2A97E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9377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053F9CBF-5DD0-4739-B141-AA8E1FD48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6A944112-33BE-4A1E-99E1-F417673EC8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234789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AA35AA8-F11B-4EAB-9750-B7A3A61E6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46995E77-C1BF-40CA-AEDF-BEF9E1166A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22C0B2D-0FB8-4D69-9483-F3DFB71EB6C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2994" y="1511301"/>
            <a:ext cx="11106010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C11FA71-1D1D-4715-97A5-CDB43E7C8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6D40DF8-DB42-495F-BBBF-868D752B01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5F7DB6B-52F5-419E-B54B-724460B686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2995" y="1511302"/>
            <a:ext cx="5461911" cy="429894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96E97C3E-3197-4564-9EF2-DFBE6149F2C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87093" y="1511302"/>
            <a:ext cx="5461911" cy="429894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2576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-24680" y="0"/>
            <a:ext cx="12240000" cy="687185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5399178 h 6858000"/>
              <a:gd name="connsiteX12" fmla="*/ 100965 w 12192000"/>
              <a:gd name="connsiteY12" fmla="*/ 6047839 h 6858000"/>
              <a:gd name="connsiteX13" fmla="*/ 0 w 12192000"/>
              <a:gd name="connsiteY13" fmla="*/ 6058043 h 6858000"/>
              <a:gd name="connsiteX14" fmla="*/ 0 w 12192000"/>
              <a:gd name="connsiteY1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628750 w 12192000"/>
              <a:gd name="connsiteY10" fmla="*/ 5399178 h 6858000"/>
              <a:gd name="connsiteX11" fmla="*/ 100965 w 12192000"/>
              <a:gd name="connsiteY11" fmla="*/ 6047839 h 6858000"/>
              <a:gd name="connsiteX12" fmla="*/ 0 w 12192000"/>
              <a:gd name="connsiteY12" fmla="*/ 6058043 h 6858000"/>
              <a:gd name="connsiteX13" fmla="*/ 0 w 12192000"/>
              <a:gd name="connsiteY13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628750 w 12192000"/>
              <a:gd name="connsiteY9" fmla="*/ 5399178 h 6858000"/>
              <a:gd name="connsiteX10" fmla="*/ 100965 w 12192000"/>
              <a:gd name="connsiteY10" fmla="*/ 6047839 h 6858000"/>
              <a:gd name="connsiteX11" fmla="*/ 0 w 12192000"/>
              <a:gd name="connsiteY11" fmla="*/ 6058043 h 6858000"/>
              <a:gd name="connsiteX12" fmla="*/ 0 w 12192000"/>
              <a:gd name="connsiteY12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147119 h 6858000"/>
              <a:gd name="connsiteX8" fmla="*/ 628750 w 12192000"/>
              <a:gd name="connsiteY8" fmla="*/ 5399178 h 6858000"/>
              <a:gd name="connsiteX9" fmla="*/ 100965 w 12192000"/>
              <a:gd name="connsiteY9" fmla="*/ 6047839 h 6858000"/>
              <a:gd name="connsiteX10" fmla="*/ 0 w 12192000"/>
              <a:gd name="connsiteY10" fmla="*/ 6058043 h 6858000"/>
              <a:gd name="connsiteX11" fmla="*/ 0 w 12192000"/>
              <a:gd name="connsiteY11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628750 w 12192000"/>
              <a:gd name="connsiteY7" fmla="*/ 5399178 h 6858000"/>
              <a:gd name="connsiteX8" fmla="*/ 100965 w 12192000"/>
              <a:gd name="connsiteY8" fmla="*/ 6047839 h 6858000"/>
              <a:gd name="connsiteX9" fmla="*/ 0 w 12192000"/>
              <a:gd name="connsiteY9" fmla="*/ 6058043 h 6858000"/>
              <a:gd name="connsiteX10" fmla="*/ 0 w 12192000"/>
              <a:gd name="connsiteY10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628750 w 12192000"/>
              <a:gd name="connsiteY6" fmla="*/ 5399178 h 6858000"/>
              <a:gd name="connsiteX7" fmla="*/ 100965 w 12192000"/>
              <a:gd name="connsiteY7" fmla="*/ 6047839 h 6858000"/>
              <a:gd name="connsiteX8" fmla="*/ 0 w 12192000"/>
              <a:gd name="connsiteY8" fmla="*/ 6058043 h 6858000"/>
              <a:gd name="connsiteX9" fmla="*/ 0 w 12192000"/>
              <a:gd name="connsiteY9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28750 w 12192000"/>
              <a:gd name="connsiteY5" fmla="*/ 5399178 h 6858000"/>
              <a:gd name="connsiteX6" fmla="*/ 100965 w 12192000"/>
              <a:gd name="connsiteY6" fmla="*/ 6047839 h 6858000"/>
              <a:gd name="connsiteX7" fmla="*/ 0 w 12192000"/>
              <a:gd name="connsiteY7" fmla="*/ 6058043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628750 w 12192000"/>
              <a:gd name="connsiteY4" fmla="*/ 5399178 h 6858000"/>
              <a:gd name="connsiteX5" fmla="*/ 100965 w 12192000"/>
              <a:gd name="connsiteY5" fmla="*/ 6047839 h 6858000"/>
              <a:gd name="connsiteX6" fmla="*/ 0 w 12192000"/>
              <a:gd name="connsiteY6" fmla="*/ 6058043 h 6858000"/>
              <a:gd name="connsiteX7" fmla="*/ 0 w 12192000"/>
              <a:gd name="connsiteY7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100965 w 12192000"/>
              <a:gd name="connsiteY4" fmla="*/ 6047839 h 6858000"/>
              <a:gd name="connsiteX5" fmla="*/ 0 w 12192000"/>
              <a:gd name="connsiteY5" fmla="*/ 6058043 h 6858000"/>
              <a:gd name="connsiteX6" fmla="*/ 0 w 12192000"/>
              <a:gd name="connsiteY6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0 w 12192000"/>
              <a:gd name="connsiteY4" fmla="*/ 6058043 h 6858000"/>
              <a:gd name="connsiteX5" fmla="*/ 0 w 12192000"/>
              <a:gd name="connsiteY5" fmla="*/ 0 h 6858000"/>
              <a:gd name="connsiteX0" fmla="*/ 0 w 12192000"/>
              <a:gd name="connsiteY0" fmla="*/ 0 h 6862715"/>
              <a:gd name="connsiteX1" fmla="*/ 12192000 w 12192000"/>
              <a:gd name="connsiteY1" fmla="*/ 0 h 6862715"/>
              <a:gd name="connsiteX2" fmla="*/ 12192000 w 12192000"/>
              <a:gd name="connsiteY2" fmla="*/ 6858000 h 6862715"/>
              <a:gd name="connsiteX3" fmla="*/ 7434300 w 12192000"/>
              <a:gd name="connsiteY3" fmla="*/ 6858000 h 6862715"/>
              <a:gd name="connsiteX4" fmla="*/ 0 w 12192000"/>
              <a:gd name="connsiteY4" fmla="*/ 6862715 h 6862715"/>
              <a:gd name="connsiteX5" fmla="*/ 0 w 12192000"/>
              <a:gd name="connsiteY5" fmla="*/ 0 h 6862715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274320 w 12192000"/>
              <a:gd name="connsiteY4" fmla="*/ 6533531 h 6858000"/>
              <a:gd name="connsiteX5" fmla="*/ 0 w 12192000"/>
              <a:gd name="connsiteY5" fmla="*/ 0 h 6858000"/>
              <a:gd name="connsiteX0" fmla="*/ 64008 w 12256008"/>
              <a:gd name="connsiteY0" fmla="*/ 0 h 6862715"/>
              <a:gd name="connsiteX1" fmla="*/ 12256008 w 12256008"/>
              <a:gd name="connsiteY1" fmla="*/ 0 h 6862715"/>
              <a:gd name="connsiteX2" fmla="*/ 12256008 w 12256008"/>
              <a:gd name="connsiteY2" fmla="*/ 6858000 h 6862715"/>
              <a:gd name="connsiteX3" fmla="*/ 7498308 w 12256008"/>
              <a:gd name="connsiteY3" fmla="*/ 6858000 h 6862715"/>
              <a:gd name="connsiteX4" fmla="*/ 0 w 12256008"/>
              <a:gd name="connsiteY4" fmla="*/ 6862715 h 6862715"/>
              <a:gd name="connsiteX5" fmla="*/ 64008 w 12256008"/>
              <a:gd name="connsiteY5" fmla="*/ 0 h 6862715"/>
              <a:gd name="connsiteX0" fmla="*/ 64008 w 12256008"/>
              <a:gd name="connsiteY0" fmla="*/ 0 h 6862715"/>
              <a:gd name="connsiteX1" fmla="*/ 12256008 w 12256008"/>
              <a:gd name="connsiteY1" fmla="*/ 0 h 6862715"/>
              <a:gd name="connsiteX2" fmla="*/ 12256008 w 12256008"/>
              <a:gd name="connsiteY2" fmla="*/ 6858000 h 6862715"/>
              <a:gd name="connsiteX3" fmla="*/ 0 w 12256008"/>
              <a:gd name="connsiteY3" fmla="*/ 6862715 h 6862715"/>
              <a:gd name="connsiteX4" fmla="*/ 64008 w 12256008"/>
              <a:gd name="connsiteY4" fmla="*/ 0 h 6862715"/>
              <a:gd name="connsiteX0" fmla="*/ 27432 w 12256008"/>
              <a:gd name="connsiteY0" fmla="*/ 0 h 6871859"/>
              <a:gd name="connsiteX1" fmla="*/ 12256008 w 12256008"/>
              <a:gd name="connsiteY1" fmla="*/ 9144 h 6871859"/>
              <a:gd name="connsiteX2" fmla="*/ 12256008 w 12256008"/>
              <a:gd name="connsiteY2" fmla="*/ 6867144 h 6871859"/>
              <a:gd name="connsiteX3" fmla="*/ 0 w 12256008"/>
              <a:gd name="connsiteY3" fmla="*/ 6871859 h 6871859"/>
              <a:gd name="connsiteX4" fmla="*/ 27432 w 12256008"/>
              <a:gd name="connsiteY4" fmla="*/ 0 h 6871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56008" h="6871859">
                <a:moveTo>
                  <a:pt x="27432" y="0"/>
                </a:moveTo>
                <a:lnTo>
                  <a:pt x="12256008" y="9144"/>
                </a:lnTo>
                <a:lnTo>
                  <a:pt x="12256008" y="6867144"/>
                </a:lnTo>
                <a:lnTo>
                  <a:pt x="0" y="6871859"/>
                </a:lnTo>
                <a:lnTo>
                  <a:pt x="2743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58E97A73-6FE8-0E45-8970-E6FAEF62D4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36000" y="396000"/>
            <a:ext cx="7459200" cy="650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3BE9DEF6-C39B-A24D-99CB-8E38B72128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5833675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3888" y="3429000"/>
            <a:ext cx="5544000" cy="122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3888" y="4816050"/>
            <a:ext cx="554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de-DE" dirty="0" err="1"/>
              <a:t>Subtitle</a:t>
            </a:r>
            <a:r>
              <a:rPr lang="de-DE" dirty="0"/>
              <a:t> | </a:t>
            </a:r>
            <a:r>
              <a:rPr lang="de-DE" dirty="0" err="1"/>
              <a:t>Author</a:t>
            </a:r>
            <a:r>
              <a:rPr lang="de-DE" dirty="0"/>
              <a:t>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19763976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C5AE30C3-A430-4AC4-AFCD-722A65B14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CAACBA24-9341-4E80-949A-6F353D4A8D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7985320-382A-43A3-B719-6A266547A2C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1511300"/>
            <a:ext cx="3582466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9C5DC64D-B12F-4382-887F-55FEC42DAF1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04561" y="1511300"/>
            <a:ext cx="3582466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8C745D-15EF-4519-80CD-61E8C8068A5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6129" y="1511300"/>
            <a:ext cx="3582466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6886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606C8E7-7474-4DD7-B13D-391DC35FC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B5E381E-23B4-4F8C-B91F-7D337A75BF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877DDF-C923-4ABB-BD17-33C8218D922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7" y="1511300"/>
            <a:ext cx="11106008" cy="131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708635EC-A6F2-4A90-B496-FB78CC53FD9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2997" y="3003775"/>
            <a:ext cx="11106008" cy="131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3DF8AD38-6957-41E1-8DB7-8508D006A06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2997" y="4496250"/>
            <a:ext cx="11106008" cy="131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8090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hteck 80">
            <a:extLst>
              <a:ext uri="{FF2B5EF4-FFF2-40B4-BE49-F238E27FC236}">
                <a16:creationId xmlns:a16="http://schemas.microsoft.com/office/drawing/2014/main" id="{E054C678-9D3D-4393-9657-24FA467D607B}"/>
              </a:ext>
            </a:extLst>
          </p:cNvPr>
          <p:cNvSpPr/>
          <p:nvPr userDrawn="1"/>
        </p:nvSpPr>
        <p:spPr>
          <a:xfrm>
            <a:off x="10908623" y="6281530"/>
            <a:ext cx="771375" cy="5764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0697D07-F261-4DC9-924C-3EDE7CC96BCA}"/>
              </a:ext>
            </a:extLst>
          </p:cNvPr>
          <p:cNvSpPr/>
          <p:nvPr userDrawn="1"/>
        </p:nvSpPr>
        <p:spPr>
          <a:xfrm>
            <a:off x="9505034" y="494765"/>
            <a:ext cx="560639" cy="4136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7C5B7F5-BF02-4C62-AF53-BFB0E79EFB25}"/>
              </a:ext>
            </a:extLst>
          </p:cNvPr>
          <p:cNvSpPr/>
          <p:nvPr userDrawn="1"/>
        </p:nvSpPr>
        <p:spPr>
          <a:xfrm>
            <a:off x="10106839" y="798901"/>
            <a:ext cx="1573159" cy="18706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CF4B66D-820E-4A77-BD04-3CAF32E52FFE}"/>
              </a:ext>
            </a:extLst>
          </p:cNvPr>
          <p:cNvSpPr/>
          <p:nvPr userDrawn="1"/>
        </p:nvSpPr>
        <p:spPr>
          <a:xfrm>
            <a:off x="10106839" y="433389"/>
            <a:ext cx="1573159" cy="356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80" name="Bildplatzhalter 79">
            <a:extLst>
              <a:ext uri="{FF2B5EF4-FFF2-40B4-BE49-F238E27FC236}">
                <a16:creationId xmlns:a16="http://schemas.microsoft.com/office/drawing/2014/main" id="{D2078F7E-D9DE-45F9-9A5C-E022078BB26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19654" y="0"/>
            <a:ext cx="7172347" cy="6858000"/>
          </a:xfrm>
          <a:custGeom>
            <a:avLst/>
            <a:gdLst>
              <a:gd name="connsiteX0" fmla="*/ 6518644 w 7171413"/>
              <a:gd name="connsiteY0" fmla="*/ 862793 h 6858000"/>
              <a:gd name="connsiteX1" fmla="*/ 6529452 w 7171413"/>
              <a:gd name="connsiteY1" fmla="*/ 866299 h 6858000"/>
              <a:gd name="connsiteX2" fmla="*/ 6535284 w 7171413"/>
              <a:gd name="connsiteY2" fmla="*/ 875620 h 6858000"/>
              <a:gd name="connsiteX3" fmla="*/ 6536140 w 7171413"/>
              <a:gd name="connsiteY3" fmla="*/ 882920 h 6858000"/>
              <a:gd name="connsiteX4" fmla="*/ 6535569 w 7171413"/>
              <a:gd name="connsiteY4" fmla="*/ 883497 h 6858000"/>
              <a:gd name="connsiteX5" fmla="*/ 6501842 w 7171413"/>
              <a:gd name="connsiteY5" fmla="*/ 883497 h 6858000"/>
              <a:gd name="connsiteX6" fmla="*/ 6501271 w 7171413"/>
              <a:gd name="connsiteY6" fmla="*/ 882920 h 6858000"/>
              <a:gd name="connsiteX7" fmla="*/ 6502576 w 7171413"/>
              <a:gd name="connsiteY7" fmla="*/ 874547 h 6858000"/>
              <a:gd name="connsiteX8" fmla="*/ 6508164 w 7171413"/>
              <a:gd name="connsiteY8" fmla="*/ 866010 h 6858000"/>
              <a:gd name="connsiteX9" fmla="*/ 6518644 w 7171413"/>
              <a:gd name="connsiteY9" fmla="*/ 862793 h 6858000"/>
              <a:gd name="connsiteX10" fmla="*/ 6399574 w 7171413"/>
              <a:gd name="connsiteY10" fmla="*/ 862793 h 6858000"/>
              <a:gd name="connsiteX11" fmla="*/ 6409892 w 7171413"/>
              <a:gd name="connsiteY11" fmla="*/ 866279 h 6858000"/>
              <a:gd name="connsiteX12" fmla="*/ 6415214 w 7171413"/>
              <a:gd name="connsiteY12" fmla="*/ 875261 h 6858000"/>
              <a:gd name="connsiteX13" fmla="*/ 6416033 w 7171413"/>
              <a:gd name="connsiteY13" fmla="*/ 880182 h 6858000"/>
              <a:gd name="connsiteX14" fmla="*/ 6416279 w 7171413"/>
              <a:gd name="connsiteY14" fmla="*/ 888999 h 6858000"/>
              <a:gd name="connsiteX15" fmla="*/ 6416033 w 7171413"/>
              <a:gd name="connsiteY15" fmla="*/ 897899 h 6858000"/>
              <a:gd name="connsiteX16" fmla="*/ 6415378 w 7171413"/>
              <a:gd name="connsiteY16" fmla="*/ 902943 h 6858000"/>
              <a:gd name="connsiteX17" fmla="*/ 6410137 w 7171413"/>
              <a:gd name="connsiteY17" fmla="*/ 911883 h 6858000"/>
              <a:gd name="connsiteX18" fmla="*/ 6399574 w 7171413"/>
              <a:gd name="connsiteY18" fmla="*/ 915369 h 6858000"/>
              <a:gd name="connsiteX19" fmla="*/ 6389011 w 7171413"/>
              <a:gd name="connsiteY19" fmla="*/ 911883 h 6858000"/>
              <a:gd name="connsiteX20" fmla="*/ 6383156 w 7171413"/>
              <a:gd name="connsiteY20" fmla="*/ 902943 h 6858000"/>
              <a:gd name="connsiteX21" fmla="*/ 6381682 w 7171413"/>
              <a:gd name="connsiteY21" fmla="*/ 888999 h 6858000"/>
              <a:gd name="connsiteX22" fmla="*/ 6383320 w 7171413"/>
              <a:gd name="connsiteY22" fmla="*/ 875261 h 6858000"/>
              <a:gd name="connsiteX23" fmla="*/ 6389216 w 7171413"/>
              <a:gd name="connsiteY23" fmla="*/ 866279 h 6858000"/>
              <a:gd name="connsiteX24" fmla="*/ 6399574 w 7171413"/>
              <a:gd name="connsiteY24" fmla="*/ 862793 h 6858000"/>
              <a:gd name="connsiteX25" fmla="*/ 6266622 w 7171413"/>
              <a:gd name="connsiteY25" fmla="*/ 862793 h 6858000"/>
              <a:gd name="connsiteX26" fmla="*/ 6277470 w 7171413"/>
              <a:gd name="connsiteY26" fmla="*/ 866299 h 6858000"/>
              <a:gd name="connsiteX27" fmla="*/ 6283261 w 7171413"/>
              <a:gd name="connsiteY27" fmla="*/ 875620 h 6858000"/>
              <a:gd name="connsiteX28" fmla="*/ 6284159 w 7171413"/>
              <a:gd name="connsiteY28" fmla="*/ 882920 h 6858000"/>
              <a:gd name="connsiteX29" fmla="*/ 6283588 w 7171413"/>
              <a:gd name="connsiteY29" fmla="*/ 883497 h 6858000"/>
              <a:gd name="connsiteX30" fmla="*/ 6249861 w 7171413"/>
              <a:gd name="connsiteY30" fmla="*/ 883497 h 6858000"/>
              <a:gd name="connsiteX31" fmla="*/ 6249290 w 7171413"/>
              <a:gd name="connsiteY31" fmla="*/ 882920 h 6858000"/>
              <a:gd name="connsiteX32" fmla="*/ 6250595 w 7171413"/>
              <a:gd name="connsiteY32" fmla="*/ 874547 h 6858000"/>
              <a:gd name="connsiteX33" fmla="*/ 6256182 w 7171413"/>
              <a:gd name="connsiteY33" fmla="*/ 866010 h 6858000"/>
              <a:gd name="connsiteX34" fmla="*/ 6266622 w 7171413"/>
              <a:gd name="connsiteY34" fmla="*/ 862793 h 6858000"/>
              <a:gd name="connsiteX35" fmla="*/ 5858024 w 7171413"/>
              <a:gd name="connsiteY35" fmla="*/ 862793 h 6858000"/>
              <a:gd name="connsiteX36" fmla="*/ 5868819 w 7171413"/>
              <a:gd name="connsiteY36" fmla="*/ 866299 h 6858000"/>
              <a:gd name="connsiteX37" fmla="*/ 5874644 w 7171413"/>
              <a:gd name="connsiteY37" fmla="*/ 875620 h 6858000"/>
              <a:gd name="connsiteX38" fmla="*/ 5875540 w 7171413"/>
              <a:gd name="connsiteY38" fmla="*/ 882920 h 6858000"/>
              <a:gd name="connsiteX39" fmla="*/ 5874929 w 7171413"/>
              <a:gd name="connsiteY39" fmla="*/ 883497 h 6858000"/>
              <a:gd name="connsiteX40" fmla="*/ 5841282 w 7171413"/>
              <a:gd name="connsiteY40" fmla="*/ 883497 h 6858000"/>
              <a:gd name="connsiteX41" fmla="*/ 5840671 w 7171413"/>
              <a:gd name="connsiteY41" fmla="*/ 882920 h 6858000"/>
              <a:gd name="connsiteX42" fmla="*/ 5842016 w 7171413"/>
              <a:gd name="connsiteY42" fmla="*/ 874547 h 6858000"/>
              <a:gd name="connsiteX43" fmla="*/ 5847596 w 7171413"/>
              <a:gd name="connsiteY43" fmla="*/ 866010 h 6858000"/>
              <a:gd name="connsiteX44" fmla="*/ 5858024 w 7171413"/>
              <a:gd name="connsiteY44" fmla="*/ 862793 h 6858000"/>
              <a:gd name="connsiteX45" fmla="*/ 5575961 w 7171413"/>
              <a:gd name="connsiteY45" fmla="*/ 862793 h 6858000"/>
              <a:gd name="connsiteX46" fmla="*/ 5586853 w 7171413"/>
              <a:gd name="connsiteY46" fmla="*/ 866299 h 6858000"/>
              <a:gd name="connsiteX47" fmla="*/ 5592730 w 7171413"/>
              <a:gd name="connsiteY47" fmla="*/ 875620 h 6858000"/>
              <a:gd name="connsiteX48" fmla="*/ 5593593 w 7171413"/>
              <a:gd name="connsiteY48" fmla="*/ 882920 h 6858000"/>
              <a:gd name="connsiteX49" fmla="*/ 5593018 w 7171413"/>
              <a:gd name="connsiteY49" fmla="*/ 883497 h 6858000"/>
              <a:gd name="connsiteX50" fmla="*/ 5559028 w 7171413"/>
              <a:gd name="connsiteY50" fmla="*/ 883497 h 6858000"/>
              <a:gd name="connsiteX51" fmla="*/ 5558452 w 7171413"/>
              <a:gd name="connsiteY51" fmla="*/ 882920 h 6858000"/>
              <a:gd name="connsiteX52" fmla="*/ 5559767 w 7171413"/>
              <a:gd name="connsiteY52" fmla="*/ 874547 h 6858000"/>
              <a:gd name="connsiteX53" fmla="*/ 5565439 w 7171413"/>
              <a:gd name="connsiteY53" fmla="*/ 866010 h 6858000"/>
              <a:gd name="connsiteX54" fmla="*/ 5575961 w 7171413"/>
              <a:gd name="connsiteY54" fmla="*/ 862793 h 6858000"/>
              <a:gd name="connsiteX55" fmla="*/ 5361144 w 7171413"/>
              <a:gd name="connsiteY55" fmla="*/ 862793 h 6858000"/>
              <a:gd name="connsiteX56" fmla="*/ 5371939 w 7171413"/>
              <a:gd name="connsiteY56" fmla="*/ 866299 h 6858000"/>
              <a:gd name="connsiteX57" fmla="*/ 5377763 w 7171413"/>
              <a:gd name="connsiteY57" fmla="*/ 875620 h 6858000"/>
              <a:gd name="connsiteX58" fmla="*/ 5378660 w 7171413"/>
              <a:gd name="connsiteY58" fmla="*/ 882920 h 6858000"/>
              <a:gd name="connsiteX59" fmla="*/ 5378049 w 7171413"/>
              <a:gd name="connsiteY59" fmla="*/ 883497 h 6858000"/>
              <a:gd name="connsiteX60" fmla="*/ 5344361 w 7171413"/>
              <a:gd name="connsiteY60" fmla="*/ 883497 h 6858000"/>
              <a:gd name="connsiteX61" fmla="*/ 5343791 w 7171413"/>
              <a:gd name="connsiteY61" fmla="*/ 882920 h 6858000"/>
              <a:gd name="connsiteX62" fmla="*/ 5345094 w 7171413"/>
              <a:gd name="connsiteY62" fmla="*/ 874547 h 6858000"/>
              <a:gd name="connsiteX63" fmla="*/ 5350716 w 7171413"/>
              <a:gd name="connsiteY63" fmla="*/ 866010 h 6858000"/>
              <a:gd name="connsiteX64" fmla="*/ 5361144 w 7171413"/>
              <a:gd name="connsiteY64" fmla="*/ 862793 h 6858000"/>
              <a:gd name="connsiteX65" fmla="*/ 6453434 w 7171413"/>
              <a:gd name="connsiteY65" fmla="*/ 851897 h 6858000"/>
              <a:gd name="connsiteX66" fmla="*/ 6451965 w 7171413"/>
              <a:gd name="connsiteY66" fmla="*/ 853368 h 6858000"/>
              <a:gd name="connsiteX67" fmla="*/ 6451965 w 7171413"/>
              <a:gd name="connsiteY67" fmla="*/ 925339 h 6858000"/>
              <a:gd name="connsiteX68" fmla="*/ 6453434 w 7171413"/>
              <a:gd name="connsiteY68" fmla="*/ 926810 h 6858000"/>
              <a:gd name="connsiteX69" fmla="*/ 6464620 w 7171413"/>
              <a:gd name="connsiteY69" fmla="*/ 926810 h 6858000"/>
              <a:gd name="connsiteX70" fmla="*/ 6466130 w 7171413"/>
              <a:gd name="connsiteY70" fmla="*/ 925339 h 6858000"/>
              <a:gd name="connsiteX71" fmla="*/ 6466130 w 7171413"/>
              <a:gd name="connsiteY71" fmla="*/ 853368 h 6858000"/>
              <a:gd name="connsiteX72" fmla="*/ 6464620 w 7171413"/>
              <a:gd name="connsiteY72" fmla="*/ 851897 h 6858000"/>
              <a:gd name="connsiteX73" fmla="*/ 6453434 w 7171413"/>
              <a:gd name="connsiteY73" fmla="*/ 851897 h 6858000"/>
              <a:gd name="connsiteX74" fmla="*/ 6080925 w 7171413"/>
              <a:gd name="connsiteY74" fmla="*/ 851897 h 6858000"/>
              <a:gd name="connsiteX75" fmla="*/ 6079577 w 7171413"/>
              <a:gd name="connsiteY75" fmla="*/ 852918 h 6858000"/>
              <a:gd name="connsiteX76" fmla="*/ 6079740 w 7171413"/>
              <a:gd name="connsiteY76" fmla="*/ 853490 h 6858000"/>
              <a:gd name="connsiteX77" fmla="*/ 6104334 w 7171413"/>
              <a:gd name="connsiteY77" fmla="*/ 926462 h 6858000"/>
              <a:gd name="connsiteX78" fmla="*/ 6104334 w 7171413"/>
              <a:gd name="connsiteY78" fmla="*/ 927361 h 6858000"/>
              <a:gd name="connsiteX79" fmla="*/ 6100085 w 7171413"/>
              <a:gd name="connsiteY79" fmla="*/ 938182 h 6858000"/>
              <a:gd name="connsiteX80" fmla="*/ 6094488 w 7171413"/>
              <a:gd name="connsiteY80" fmla="*/ 943123 h 6858000"/>
              <a:gd name="connsiteX81" fmla="*/ 6085174 w 7171413"/>
              <a:gd name="connsiteY81" fmla="*/ 944593 h 6858000"/>
              <a:gd name="connsiteX82" fmla="*/ 6084888 w 7171413"/>
              <a:gd name="connsiteY82" fmla="*/ 944593 h 6858000"/>
              <a:gd name="connsiteX83" fmla="*/ 6083417 w 7171413"/>
              <a:gd name="connsiteY83" fmla="*/ 946063 h 6858000"/>
              <a:gd name="connsiteX84" fmla="*/ 6083417 w 7171413"/>
              <a:gd name="connsiteY84" fmla="*/ 954761 h 6858000"/>
              <a:gd name="connsiteX85" fmla="*/ 6083417 w 7171413"/>
              <a:gd name="connsiteY85" fmla="*/ 956231 h 6858000"/>
              <a:gd name="connsiteX86" fmla="*/ 6084438 w 7171413"/>
              <a:gd name="connsiteY86" fmla="*/ 956231 h 6858000"/>
              <a:gd name="connsiteX87" fmla="*/ 6085460 w 7171413"/>
              <a:gd name="connsiteY87" fmla="*/ 956231 h 6858000"/>
              <a:gd name="connsiteX88" fmla="*/ 6100820 w 7171413"/>
              <a:gd name="connsiteY88" fmla="*/ 954189 h 6858000"/>
              <a:gd name="connsiteX89" fmla="*/ 6109645 w 7171413"/>
              <a:gd name="connsiteY89" fmla="*/ 947166 h 6858000"/>
              <a:gd name="connsiteX90" fmla="*/ 6116426 w 7171413"/>
              <a:gd name="connsiteY90" fmla="*/ 932057 h 6858000"/>
              <a:gd name="connsiteX91" fmla="*/ 6143308 w 7171413"/>
              <a:gd name="connsiteY91" fmla="*/ 853490 h 6858000"/>
              <a:gd name="connsiteX92" fmla="*/ 6142123 w 7171413"/>
              <a:gd name="connsiteY92" fmla="*/ 851897 h 6858000"/>
              <a:gd name="connsiteX93" fmla="*/ 6130439 w 7171413"/>
              <a:gd name="connsiteY93" fmla="*/ 851897 h 6858000"/>
              <a:gd name="connsiteX94" fmla="*/ 6128682 w 7171413"/>
              <a:gd name="connsiteY94" fmla="*/ 853040 h 6858000"/>
              <a:gd name="connsiteX95" fmla="*/ 6112178 w 7171413"/>
              <a:gd name="connsiteY95" fmla="*/ 908617 h 6858000"/>
              <a:gd name="connsiteX96" fmla="*/ 6111728 w 7171413"/>
              <a:gd name="connsiteY96" fmla="*/ 908944 h 6858000"/>
              <a:gd name="connsiteX97" fmla="*/ 6111279 w 7171413"/>
              <a:gd name="connsiteY97" fmla="*/ 908617 h 6858000"/>
              <a:gd name="connsiteX98" fmla="*/ 6094611 w 7171413"/>
              <a:gd name="connsiteY98" fmla="*/ 853040 h 6858000"/>
              <a:gd name="connsiteX99" fmla="*/ 6092854 w 7171413"/>
              <a:gd name="connsiteY99" fmla="*/ 851897 h 6858000"/>
              <a:gd name="connsiteX100" fmla="*/ 6080925 w 7171413"/>
              <a:gd name="connsiteY100" fmla="*/ 851897 h 6858000"/>
              <a:gd name="connsiteX101" fmla="*/ 5118109 w 7171413"/>
              <a:gd name="connsiteY101" fmla="*/ 851897 h 6858000"/>
              <a:gd name="connsiteX102" fmla="*/ 5116599 w 7171413"/>
              <a:gd name="connsiteY102" fmla="*/ 853366 h 6858000"/>
              <a:gd name="connsiteX103" fmla="*/ 5116599 w 7171413"/>
              <a:gd name="connsiteY103" fmla="*/ 903613 h 6858000"/>
              <a:gd name="connsiteX104" fmla="*/ 5120313 w 7171413"/>
              <a:gd name="connsiteY104" fmla="*/ 916839 h 6858000"/>
              <a:gd name="connsiteX105" fmla="*/ 5130106 w 7171413"/>
              <a:gd name="connsiteY105" fmla="*/ 925125 h 6858000"/>
              <a:gd name="connsiteX106" fmla="*/ 5143409 w 7171413"/>
              <a:gd name="connsiteY106" fmla="*/ 927900 h 6858000"/>
              <a:gd name="connsiteX107" fmla="*/ 5161526 w 7171413"/>
              <a:gd name="connsiteY107" fmla="*/ 919818 h 6858000"/>
              <a:gd name="connsiteX108" fmla="*/ 5162057 w 7171413"/>
              <a:gd name="connsiteY108" fmla="*/ 919573 h 6858000"/>
              <a:gd name="connsiteX109" fmla="*/ 5162261 w 7171413"/>
              <a:gd name="connsiteY109" fmla="*/ 919941 h 6858000"/>
              <a:gd name="connsiteX110" fmla="*/ 5162261 w 7171413"/>
              <a:gd name="connsiteY110" fmla="*/ 925410 h 6858000"/>
              <a:gd name="connsiteX111" fmla="*/ 5163771 w 7171413"/>
              <a:gd name="connsiteY111" fmla="*/ 926880 h 6858000"/>
              <a:gd name="connsiteX112" fmla="*/ 5174789 w 7171413"/>
              <a:gd name="connsiteY112" fmla="*/ 926880 h 6858000"/>
              <a:gd name="connsiteX113" fmla="*/ 5176257 w 7171413"/>
              <a:gd name="connsiteY113" fmla="*/ 925410 h 6858000"/>
              <a:gd name="connsiteX114" fmla="*/ 5176257 w 7171413"/>
              <a:gd name="connsiteY114" fmla="*/ 853366 h 6858000"/>
              <a:gd name="connsiteX115" fmla="*/ 5174789 w 7171413"/>
              <a:gd name="connsiteY115" fmla="*/ 851897 h 6858000"/>
              <a:gd name="connsiteX116" fmla="*/ 5163771 w 7171413"/>
              <a:gd name="connsiteY116" fmla="*/ 851897 h 6858000"/>
              <a:gd name="connsiteX117" fmla="*/ 5162261 w 7171413"/>
              <a:gd name="connsiteY117" fmla="*/ 853366 h 6858000"/>
              <a:gd name="connsiteX118" fmla="*/ 5162261 w 7171413"/>
              <a:gd name="connsiteY118" fmla="*/ 899164 h 6858000"/>
              <a:gd name="connsiteX119" fmla="*/ 5157854 w 7171413"/>
              <a:gd name="connsiteY119" fmla="*/ 911165 h 6858000"/>
              <a:gd name="connsiteX120" fmla="*/ 5146061 w 7171413"/>
              <a:gd name="connsiteY120" fmla="*/ 915696 h 6858000"/>
              <a:gd name="connsiteX121" fmla="*/ 5134676 w 7171413"/>
              <a:gd name="connsiteY121" fmla="*/ 911246 h 6858000"/>
              <a:gd name="connsiteX122" fmla="*/ 5130595 w 7171413"/>
              <a:gd name="connsiteY122" fmla="*/ 899164 h 6858000"/>
              <a:gd name="connsiteX123" fmla="*/ 5130595 w 7171413"/>
              <a:gd name="connsiteY123" fmla="*/ 853366 h 6858000"/>
              <a:gd name="connsiteX124" fmla="*/ 5129127 w 7171413"/>
              <a:gd name="connsiteY124" fmla="*/ 851897 h 6858000"/>
              <a:gd name="connsiteX125" fmla="*/ 5118109 w 7171413"/>
              <a:gd name="connsiteY125" fmla="*/ 851897 h 6858000"/>
              <a:gd name="connsiteX126" fmla="*/ 6349626 w 7171413"/>
              <a:gd name="connsiteY126" fmla="*/ 851080 h 6858000"/>
              <a:gd name="connsiteX127" fmla="*/ 6331547 w 7171413"/>
              <a:gd name="connsiteY127" fmla="*/ 861403 h 6858000"/>
              <a:gd name="connsiteX128" fmla="*/ 6331181 w 7171413"/>
              <a:gd name="connsiteY128" fmla="*/ 861648 h 6858000"/>
              <a:gd name="connsiteX129" fmla="*/ 6330936 w 7171413"/>
              <a:gd name="connsiteY129" fmla="*/ 861117 h 6858000"/>
              <a:gd name="connsiteX130" fmla="*/ 6330936 w 7171413"/>
              <a:gd name="connsiteY130" fmla="*/ 853324 h 6858000"/>
              <a:gd name="connsiteX131" fmla="*/ 6329470 w 7171413"/>
              <a:gd name="connsiteY131" fmla="*/ 851855 h 6858000"/>
              <a:gd name="connsiteX132" fmla="*/ 6318314 w 7171413"/>
              <a:gd name="connsiteY132" fmla="*/ 851855 h 6858000"/>
              <a:gd name="connsiteX133" fmla="*/ 6316848 w 7171413"/>
              <a:gd name="connsiteY133" fmla="*/ 853324 h 6858000"/>
              <a:gd name="connsiteX134" fmla="*/ 6316848 w 7171413"/>
              <a:gd name="connsiteY134" fmla="*/ 925341 h 6858000"/>
              <a:gd name="connsiteX135" fmla="*/ 6318314 w 7171413"/>
              <a:gd name="connsiteY135" fmla="*/ 926810 h 6858000"/>
              <a:gd name="connsiteX136" fmla="*/ 6329470 w 7171413"/>
              <a:gd name="connsiteY136" fmla="*/ 926810 h 6858000"/>
              <a:gd name="connsiteX137" fmla="*/ 6330936 w 7171413"/>
              <a:gd name="connsiteY137" fmla="*/ 925341 h 6858000"/>
              <a:gd name="connsiteX138" fmla="*/ 6330936 w 7171413"/>
              <a:gd name="connsiteY138" fmla="*/ 882335 h 6858000"/>
              <a:gd name="connsiteX139" fmla="*/ 6335415 w 7171413"/>
              <a:gd name="connsiteY139" fmla="*/ 870624 h 6858000"/>
              <a:gd name="connsiteX140" fmla="*/ 6346816 w 7171413"/>
              <a:gd name="connsiteY140" fmla="*/ 865850 h 6858000"/>
              <a:gd name="connsiteX141" fmla="*/ 6348893 w 7171413"/>
              <a:gd name="connsiteY141" fmla="*/ 865687 h 6858000"/>
              <a:gd name="connsiteX142" fmla="*/ 6354756 w 7171413"/>
              <a:gd name="connsiteY142" fmla="*/ 866707 h 6858000"/>
              <a:gd name="connsiteX143" fmla="*/ 6356507 w 7171413"/>
              <a:gd name="connsiteY143" fmla="*/ 865850 h 6858000"/>
              <a:gd name="connsiteX144" fmla="*/ 6358868 w 7171413"/>
              <a:gd name="connsiteY144" fmla="*/ 854793 h 6858000"/>
              <a:gd name="connsiteX145" fmla="*/ 6358136 w 7171413"/>
              <a:gd name="connsiteY145" fmla="*/ 852997 h 6858000"/>
              <a:gd name="connsiteX146" fmla="*/ 6349626 w 7171413"/>
              <a:gd name="connsiteY146" fmla="*/ 851080 h 6858000"/>
              <a:gd name="connsiteX147" fmla="*/ 6044456 w 7171413"/>
              <a:gd name="connsiteY147" fmla="*/ 851080 h 6858000"/>
              <a:gd name="connsiteX148" fmla="*/ 6023898 w 7171413"/>
              <a:gd name="connsiteY148" fmla="*/ 856929 h 6858000"/>
              <a:gd name="connsiteX149" fmla="*/ 6016132 w 7171413"/>
              <a:gd name="connsiteY149" fmla="*/ 872678 h 6858000"/>
              <a:gd name="connsiteX150" fmla="*/ 6020056 w 7171413"/>
              <a:gd name="connsiteY150" fmla="*/ 884254 h 6858000"/>
              <a:gd name="connsiteX151" fmla="*/ 6029620 w 7171413"/>
              <a:gd name="connsiteY151" fmla="*/ 891208 h 6858000"/>
              <a:gd name="connsiteX152" fmla="*/ 6043720 w 7171413"/>
              <a:gd name="connsiteY152" fmla="*/ 895994 h 6858000"/>
              <a:gd name="connsiteX153" fmla="*/ 6056145 w 7171413"/>
              <a:gd name="connsiteY153" fmla="*/ 900493 h 6858000"/>
              <a:gd name="connsiteX154" fmla="*/ 6059946 w 7171413"/>
              <a:gd name="connsiteY154" fmla="*/ 906916 h 6858000"/>
              <a:gd name="connsiteX155" fmla="*/ 6055818 w 7171413"/>
              <a:gd name="connsiteY155" fmla="*/ 914238 h 6858000"/>
              <a:gd name="connsiteX156" fmla="*/ 6045069 w 7171413"/>
              <a:gd name="connsiteY156" fmla="*/ 917101 h 6858000"/>
              <a:gd name="connsiteX157" fmla="*/ 6033625 w 7171413"/>
              <a:gd name="connsiteY157" fmla="*/ 913992 h 6858000"/>
              <a:gd name="connsiteX158" fmla="*/ 6029129 w 7171413"/>
              <a:gd name="connsiteY158" fmla="*/ 906752 h 6858000"/>
              <a:gd name="connsiteX159" fmla="*/ 6029129 w 7171413"/>
              <a:gd name="connsiteY159" fmla="*/ 906016 h 6858000"/>
              <a:gd name="connsiteX160" fmla="*/ 6027658 w 7171413"/>
              <a:gd name="connsiteY160" fmla="*/ 904543 h 6858000"/>
              <a:gd name="connsiteX161" fmla="*/ 6017031 w 7171413"/>
              <a:gd name="connsiteY161" fmla="*/ 904543 h 6858000"/>
              <a:gd name="connsiteX162" fmla="*/ 6015560 w 7171413"/>
              <a:gd name="connsiteY162" fmla="*/ 906016 h 6858000"/>
              <a:gd name="connsiteX163" fmla="*/ 6015560 w 7171413"/>
              <a:gd name="connsiteY163" fmla="*/ 907652 h 6858000"/>
              <a:gd name="connsiteX164" fmla="*/ 6019238 w 7171413"/>
              <a:gd name="connsiteY164" fmla="*/ 917919 h 6858000"/>
              <a:gd name="connsiteX165" fmla="*/ 6029620 w 7171413"/>
              <a:gd name="connsiteY165" fmla="*/ 925241 h 6858000"/>
              <a:gd name="connsiteX166" fmla="*/ 6045192 w 7171413"/>
              <a:gd name="connsiteY166" fmla="*/ 927900 h 6858000"/>
              <a:gd name="connsiteX167" fmla="*/ 6066240 w 7171413"/>
              <a:gd name="connsiteY167" fmla="*/ 921969 h 6858000"/>
              <a:gd name="connsiteX168" fmla="*/ 6074129 w 7171413"/>
              <a:gd name="connsiteY168" fmla="*/ 906016 h 6858000"/>
              <a:gd name="connsiteX169" fmla="*/ 6070123 w 7171413"/>
              <a:gd name="connsiteY169" fmla="*/ 894276 h 6858000"/>
              <a:gd name="connsiteX170" fmla="*/ 6060478 w 7171413"/>
              <a:gd name="connsiteY170" fmla="*/ 887485 h 6858000"/>
              <a:gd name="connsiteX171" fmla="*/ 6046254 w 7171413"/>
              <a:gd name="connsiteY171" fmla="*/ 882863 h 6858000"/>
              <a:gd name="connsiteX172" fmla="*/ 6033625 w 7171413"/>
              <a:gd name="connsiteY172" fmla="*/ 878118 h 6858000"/>
              <a:gd name="connsiteX173" fmla="*/ 6029701 w 7171413"/>
              <a:gd name="connsiteY173" fmla="*/ 871614 h 6858000"/>
              <a:gd name="connsiteX174" fmla="*/ 6033748 w 7171413"/>
              <a:gd name="connsiteY174" fmla="*/ 864824 h 6858000"/>
              <a:gd name="connsiteX175" fmla="*/ 6044333 w 7171413"/>
              <a:gd name="connsiteY175" fmla="*/ 862329 h 6858000"/>
              <a:gd name="connsiteX176" fmla="*/ 6055737 w 7171413"/>
              <a:gd name="connsiteY176" fmla="*/ 865192 h 6858000"/>
              <a:gd name="connsiteX177" fmla="*/ 6059946 w 7171413"/>
              <a:gd name="connsiteY177" fmla="*/ 872350 h 6858000"/>
              <a:gd name="connsiteX178" fmla="*/ 6059946 w 7171413"/>
              <a:gd name="connsiteY178" fmla="*/ 872800 h 6858000"/>
              <a:gd name="connsiteX179" fmla="*/ 6061418 w 7171413"/>
              <a:gd name="connsiteY179" fmla="*/ 874273 h 6858000"/>
              <a:gd name="connsiteX180" fmla="*/ 6071758 w 7171413"/>
              <a:gd name="connsiteY180" fmla="*/ 874273 h 6858000"/>
              <a:gd name="connsiteX181" fmla="*/ 6073230 w 7171413"/>
              <a:gd name="connsiteY181" fmla="*/ 872800 h 6858000"/>
              <a:gd name="connsiteX182" fmla="*/ 6073230 w 7171413"/>
              <a:gd name="connsiteY182" fmla="*/ 872350 h 6858000"/>
              <a:gd name="connsiteX183" fmla="*/ 6069714 w 7171413"/>
              <a:gd name="connsiteY183" fmla="*/ 861429 h 6858000"/>
              <a:gd name="connsiteX184" fmla="*/ 6059578 w 7171413"/>
              <a:gd name="connsiteY184" fmla="*/ 853820 h 6858000"/>
              <a:gd name="connsiteX185" fmla="*/ 6044456 w 7171413"/>
              <a:gd name="connsiteY185" fmla="*/ 851080 h 6858000"/>
              <a:gd name="connsiteX186" fmla="*/ 5444066 w 7171413"/>
              <a:gd name="connsiteY186" fmla="*/ 851080 h 6858000"/>
              <a:gd name="connsiteX187" fmla="*/ 5425870 w 7171413"/>
              <a:gd name="connsiteY187" fmla="*/ 861403 h 6858000"/>
              <a:gd name="connsiteX188" fmla="*/ 5425502 w 7171413"/>
              <a:gd name="connsiteY188" fmla="*/ 861648 h 6858000"/>
              <a:gd name="connsiteX189" fmla="*/ 5425297 w 7171413"/>
              <a:gd name="connsiteY189" fmla="*/ 861117 h 6858000"/>
              <a:gd name="connsiteX190" fmla="*/ 5425297 w 7171413"/>
              <a:gd name="connsiteY190" fmla="*/ 853324 h 6858000"/>
              <a:gd name="connsiteX191" fmla="*/ 5423822 w 7171413"/>
              <a:gd name="connsiteY191" fmla="*/ 851855 h 6858000"/>
              <a:gd name="connsiteX192" fmla="*/ 5412552 w 7171413"/>
              <a:gd name="connsiteY192" fmla="*/ 851855 h 6858000"/>
              <a:gd name="connsiteX193" fmla="*/ 5411077 w 7171413"/>
              <a:gd name="connsiteY193" fmla="*/ 853324 h 6858000"/>
              <a:gd name="connsiteX194" fmla="*/ 5411077 w 7171413"/>
              <a:gd name="connsiteY194" fmla="*/ 925341 h 6858000"/>
              <a:gd name="connsiteX195" fmla="*/ 5412552 w 7171413"/>
              <a:gd name="connsiteY195" fmla="*/ 926810 h 6858000"/>
              <a:gd name="connsiteX196" fmla="*/ 5423822 w 7171413"/>
              <a:gd name="connsiteY196" fmla="*/ 926810 h 6858000"/>
              <a:gd name="connsiteX197" fmla="*/ 5425297 w 7171413"/>
              <a:gd name="connsiteY197" fmla="*/ 925341 h 6858000"/>
              <a:gd name="connsiteX198" fmla="*/ 5425297 w 7171413"/>
              <a:gd name="connsiteY198" fmla="*/ 882335 h 6858000"/>
              <a:gd name="connsiteX199" fmla="*/ 5429805 w 7171413"/>
              <a:gd name="connsiteY199" fmla="*/ 870624 h 6858000"/>
              <a:gd name="connsiteX200" fmla="*/ 5441279 w 7171413"/>
              <a:gd name="connsiteY200" fmla="*/ 865850 h 6858000"/>
              <a:gd name="connsiteX201" fmla="*/ 5443328 w 7171413"/>
              <a:gd name="connsiteY201" fmla="*/ 865687 h 6858000"/>
              <a:gd name="connsiteX202" fmla="*/ 5449270 w 7171413"/>
              <a:gd name="connsiteY202" fmla="*/ 866707 h 6858000"/>
              <a:gd name="connsiteX203" fmla="*/ 5451032 w 7171413"/>
              <a:gd name="connsiteY203" fmla="*/ 865850 h 6858000"/>
              <a:gd name="connsiteX204" fmla="*/ 5453409 w 7171413"/>
              <a:gd name="connsiteY204" fmla="*/ 854793 h 6858000"/>
              <a:gd name="connsiteX205" fmla="*/ 5452672 w 7171413"/>
              <a:gd name="connsiteY205" fmla="*/ 852997 h 6858000"/>
              <a:gd name="connsiteX206" fmla="*/ 5444066 w 7171413"/>
              <a:gd name="connsiteY206" fmla="*/ 851080 h 6858000"/>
              <a:gd name="connsiteX207" fmla="*/ 6602291 w 7171413"/>
              <a:gd name="connsiteY207" fmla="*/ 850807 h 6858000"/>
              <a:gd name="connsiteX208" fmla="*/ 6583561 w 7171413"/>
              <a:gd name="connsiteY208" fmla="*/ 858926 h 6858000"/>
              <a:gd name="connsiteX209" fmla="*/ 6583193 w 7171413"/>
              <a:gd name="connsiteY209" fmla="*/ 859048 h 6858000"/>
              <a:gd name="connsiteX210" fmla="*/ 6582989 w 7171413"/>
              <a:gd name="connsiteY210" fmla="*/ 858640 h 6858000"/>
              <a:gd name="connsiteX211" fmla="*/ 6582989 w 7171413"/>
              <a:gd name="connsiteY211" fmla="*/ 853337 h 6858000"/>
              <a:gd name="connsiteX212" fmla="*/ 6581520 w 7171413"/>
              <a:gd name="connsiteY212" fmla="*/ 851868 h 6858000"/>
              <a:gd name="connsiteX213" fmla="*/ 6570340 w 7171413"/>
              <a:gd name="connsiteY213" fmla="*/ 851868 h 6858000"/>
              <a:gd name="connsiteX214" fmla="*/ 6568830 w 7171413"/>
              <a:gd name="connsiteY214" fmla="*/ 853337 h 6858000"/>
              <a:gd name="connsiteX215" fmla="*/ 6568830 w 7171413"/>
              <a:gd name="connsiteY215" fmla="*/ 925342 h 6858000"/>
              <a:gd name="connsiteX216" fmla="*/ 6570340 w 7171413"/>
              <a:gd name="connsiteY216" fmla="*/ 926810 h 6858000"/>
              <a:gd name="connsiteX217" fmla="*/ 6581520 w 7171413"/>
              <a:gd name="connsiteY217" fmla="*/ 926810 h 6858000"/>
              <a:gd name="connsiteX218" fmla="*/ 6582989 w 7171413"/>
              <a:gd name="connsiteY218" fmla="*/ 925342 h 6858000"/>
              <a:gd name="connsiteX219" fmla="*/ 6582989 w 7171413"/>
              <a:gd name="connsiteY219" fmla="*/ 879405 h 6858000"/>
              <a:gd name="connsiteX220" fmla="*/ 6587396 w 7171413"/>
              <a:gd name="connsiteY220" fmla="*/ 867615 h 6858000"/>
              <a:gd name="connsiteX221" fmla="*/ 6598740 w 7171413"/>
              <a:gd name="connsiteY221" fmla="*/ 863046 h 6858000"/>
              <a:gd name="connsiteX222" fmla="*/ 6610085 w 7171413"/>
              <a:gd name="connsiteY222" fmla="*/ 867615 h 6858000"/>
              <a:gd name="connsiteX223" fmla="*/ 6614369 w 7171413"/>
              <a:gd name="connsiteY223" fmla="*/ 879528 h 6858000"/>
              <a:gd name="connsiteX224" fmla="*/ 6614369 w 7171413"/>
              <a:gd name="connsiteY224" fmla="*/ 925342 h 6858000"/>
              <a:gd name="connsiteX225" fmla="*/ 6615838 w 7171413"/>
              <a:gd name="connsiteY225" fmla="*/ 926810 h 6858000"/>
              <a:gd name="connsiteX226" fmla="*/ 6627019 w 7171413"/>
              <a:gd name="connsiteY226" fmla="*/ 926810 h 6858000"/>
              <a:gd name="connsiteX227" fmla="*/ 6628488 w 7171413"/>
              <a:gd name="connsiteY227" fmla="*/ 925342 h 6858000"/>
              <a:gd name="connsiteX228" fmla="*/ 6628488 w 7171413"/>
              <a:gd name="connsiteY228" fmla="*/ 876754 h 6858000"/>
              <a:gd name="connsiteX229" fmla="*/ 6621429 w 7171413"/>
              <a:gd name="connsiteY229" fmla="*/ 857824 h 6858000"/>
              <a:gd name="connsiteX230" fmla="*/ 6602291 w 7171413"/>
              <a:gd name="connsiteY230" fmla="*/ 850807 h 6858000"/>
              <a:gd name="connsiteX231" fmla="*/ 6518604 w 7171413"/>
              <a:gd name="connsiteY231" fmla="*/ 850807 h 6858000"/>
              <a:gd name="connsiteX232" fmla="*/ 6499330 w 7171413"/>
              <a:gd name="connsiteY232" fmla="*/ 856677 h 6858000"/>
              <a:gd name="connsiteX233" fmla="*/ 6488736 w 7171413"/>
              <a:gd name="connsiteY233" fmla="*/ 872737 h 6858000"/>
              <a:gd name="connsiteX234" fmla="*/ 6487106 w 7171413"/>
              <a:gd name="connsiteY234" fmla="*/ 889041 h 6858000"/>
              <a:gd name="connsiteX235" fmla="*/ 6490651 w 7171413"/>
              <a:gd name="connsiteY235" fmla="*/ 910074 h 6858000"/>
              <a:gd name="connsiteX236" fmla="*/ 6501653 w 7171413"/>
              <a:gd name="connsiteY236" fmla="*/ 923485 h 6858000"/>
              <a:gd name="connsiteX237" fmla="*/ 6519745 w 7171413"/>
              <a:gd name="connsiteY237" fmla="*/ 928172 h 6858000"/>
              <a:gd name="connsiteX238" fmla="*/ 6536900 w 7171413"/>
              <a:gd name="connsiteY238" fmla="*/ 924341 h 6858000"/>
              <a:gd name="connsiteX239" fmla="*/ 6548594 w 7171413"/>
              <a:gd name="connsiteY239" fmla="*/ 913906 h 6858000"/>
              <a:gd name="connsiteX240" fmla="*/ 6548146 w 7171413"/>
              <a:gd name="connsiteY240" fmla="*/ 911990 h 6858000"/>
              <a:gd name="connsiteX241" fmla="*/ 6539752 w 7171413"/>
              <a:gd name="connsiteY241" fmla="*/ 906406 h 6858000"/>
              <a:gd name="connsiteX242" fmla="*/ 6537837 w 7171413"/>
              <a:gd name="connsiteY242" fmla="*/ 906854 h 6858000"/>
              <a:gd name="connsiteX243" fmla="*/ 6521089 w 7171413"/>
              <a:gd name="connsiteY243" fmla="*/ 915822 h 6858000"/>
              <a:gd name="connsiteX244" fmla="*/ 6508661 w 7171413"/>
              <a:gd name="connsiteY244" fmla="*/ 912520 h 6858000"/>
              <a:gd name="connsiteX245" fmla="*/ 6502101 w 7171413"/>
              <a:gd name="connsiteY245" fmla="*/ 903308 h 6858000"/>
              <a:gd name="connsiteX246" fmla="*/ 6501245 w 7171413"/>
              <a:gd name="connsiteY246" fmla="*/ 895686 h 6858000"/>
              <a:gd name="connsiteX247" fmla="*/ 6501816 w 7171413"/>
              <a:gd name="connsiteY247" fmla="*/ 895074 h 6858000"/>
              <a:gd name="connsiteX248" fmla="*/ 6548757 w 7171413"/>
              <a:gd name="connsiteY248" fmla="*/ 895074 h 6858000"/>
              <a:gd name="connsiteX249" fmla="*/ 6550224 w 7171413"/>
              <a:gd name="connsiteY249" fmla="*/ 893607 h 6858000"/>
              <a:gd name="connsiteX250" fmla="*/ 6549776 w 7171413"/>
              <a:gd name="connsiteY250" fmla="*/ 880074 h 6858000"/>
              <a:gd name="connsiteX251" fmla="*/ 6540811 w 7171413"/>
              <a:gd name="connsiteY251" fmla="*/ 858226 h 6858000"/>
              <a:gd name="connsiteX252" fmla="*/ 6518604 w 7171413"/>
              <a:gd name="connsiteY252" fmla="*/ 850807 h 6858000"/>
              <a:gd name="connsiteX253" fmla="*/ 6396278 w 7171413"/>
              <a:gd name="connsiteY253" fmla="*/ 850807 h 6858000"/>
              <a:gd name="connsiteX254" fmla="*/ 6379413 w 7171413"/>
              <a:gd name="connsiteY254" fmla="*/ 856152 h 6858000"/>
              <a:gd name="connsiteX255" fmla="*/ 6369449 w 7171413"/>
              <a:gd name="connsiteY255" fmla="*/ 870391 h 6858000"/>
              <a:gd name="connsiteX256" fmla="*/ 6367244 w 7171413"/>
              <a:gd name="connsiteY256" fmla="*/ 889240 h 6858000"/>
              <a:gd name="connsiteX257" fmla="*/ 6369164 w 7171413"/>
              <a:gd name="connsiteY257" fmla="*/ 907191 h 6858000"/>
              <a:gd name="connsiteX258" fmla="*/ 6379822 w 7171413"/>
              <a:gd name="connsiteY258" fmla="*/ 921919 h 6858000"/>
              <a:gd name="connsiteX259" fmla="*/ 6397177 w 7171413"/>
              <a:gd name="connsiteY259" fmla="*/ 926938 h 6858000"/>
              <a:gd name="connsiteX260" fmla="*/ 6415308 w 7171413"/>
              <a:gd name="connsiteY260" fmla="*/ 919716 h 6858000"/>
              <a:gd name="connsiteX261" fmla="*/ 6415798 w 7171413"/>
              <a:gd name="connsiteY261" fmla="*/ 919553 h 6858000"/>
              <a:gd name="connsiteX262" fmla="*/ 6416043 w 7171413"/>
              <a:gd name="connsiteY262" fmla="*/ 920002 h 6858000"/>
              <a:gd name="connsiteX263" fmla="*/ 6416043 w 7171413"/>
              <a:gd name="connsiteY263" fmla="*/ 922654 h 6858000"/>
              <a:gd name="connsiteX264" fmla="*/ 6410448 w 7171413"/>
              <a:gd name="connsiteY264" fmla="*/ 938361 h 6858000"/>
              <a:gd name="connsiteX265" fmla="*/ 6392317 w 7171413"/>
              <a:gd name="connsiteY265" fmla="*/ 942972 h 6858000"/>
              <a:gd name="connsiteX266" fmla="*/ 6386274 w 7171413"/>
              <a:gd name="connsiteY266" fmla="*/ 942849 h 6858000"/>
              <a:gd name="connsiteX267" fmla="*/ 6385089 w 7171413"/>
              <a:gd name="connsiteY267" fmla="*/ 943135 h 6858000"/>
              <a:gd name="connsiteX268" fmla="*/ 6384640 w 7171413"/>
              <a:gd name="connsiteY268" fmla="*/ 944155 h 6858000"/>
              <a:gd name="connsiteX269" fmla="*/ 6384191 w 7171413"/>
              <a:gd name="connsiteY269" fmla="*/ 954314 h 6858000"/>
              <a:gd name="connsiteX270" fmla="*/ 6385661 w 7171413"/>
              <a:gd name="connsiteY270" fmla="*/ 955946 h 6858000"/>
              <a:gd name="connsiteX271" fmla="*/ 6393052 w 7171413"/>
              <a:gd name="connsiteY271" fmla="*/ 956231 h 6858000"/>
              <a:gd name="connsiteX272" fmla="*/ 6420085 w 7171413"/>
              <a:gd name="connsiteY272" fmla="*/ 948602 h 6858000"/>
              <a:gd name="connsiteX273" fmla="*/ 6430172 w 7171413"/>
              <a:gd name="connsiteY273" fmla="*/ 923103 h 6858000"/>
              <a:gd name="connsiteX274" fmla="*/ 6430172 w 7171413"/>
              <a:gd name="connsiteY274" fmla="*/ 853459 h 6858000"/>
              <a:gd name="connsiteX275" fmla="*/ 6428702 w 7171413"/>
              <a:gd name="connsiteY275" fmla="*/ 851990 h 6858000"/>
              <a:gd name="connsiteX276" fmla="*/ 6417513 w 7171413"/>
              <a:gd name="connsiteY276" fmla="*/ 851990 h 6858000"/>
              <a:gd name="connsiteX277" fmla="*/ 6416043 w 7171413"/>
              <a:gd name="connsiteY277" fmla="*/ 853459 h 6858000"/>
              <a:gd name="connsiteX278" fmla="*/ 6416043 w 7171413"/>
              <a:gd name="connsiteY278" fmla="*/ 858029 h 6858000"/>
              <a:gd name="connsiteX279" fmla="*/ 6415798 w 7171413"/>
              <a:gd name="connsiteY279" fmla="*/ 858396 h 6858000"/>
              <a:gd name="connsiteX280" fmla="*/ 6415308 w 7171413"/>
              <a:gd name="connsiteY280" fmla="*/ 858151 h 6858000"/>
              <a:gd name="connsiteX281" fmla="*/ 6396278 w 7171413"/>
              <a:gd name="connsiteY281" fmla="*/ 850807 h 6858000"/>
              <a:gd name="connsiteX282" fmla="*/ 6266717 w 7171413"/>
              <a:gd name="connsiteY282" fmla="*/ 850807 h 6858000"/>
              <a:gd name="connsiteX283" fmla="*/ 6247401 w 7171413"/>
              <a:gd name="connsiteY283" fmla="*/ 856677 h 6858000"/>
              <a:gd name="connsiteX284" fmla="*/ 6236761 w 7171413"/>
              <a:gd name="connsiteY284" fmla="*/ 872737 h 6858000"/>
              <a:gd name="connsiteX285" fmla="*/ 6235124 w 7171413"/>
              <a:gd name="connsiteY285" fmla="*/ 889041 h 6858000"/>
              <a:gd name="connsiteX286" fmla="*/ 6238685 w 7171413"/>
              <a:gd name="connsiteY286" fmla="*/ 910074 h 6858000"/>
              <a:gd name="connsiteX287" fmla="*/ 6249734 w 7171413"/>
              <a:gd name="connsiteY287" fmla="*/ 923485 h 6858000"/>
              <a:gd name="connsiteX288" fmla="*/ 6267904 w 7171413"/>
              <a:gd name="connsiteY288" fmla="*/ 928172 h 6858000"/>
              <a:gd name="connsiteX289" fmla="*/ 6285133 w 7171413"/>
              <a:gd name="connsiteY289" fmla="*/ 924341 h 6858000"/>
              <a:gd name="connsiteX290" fmla="*/ 6296878 w 7171413"/>
              <a:gd name="connsiteY290" fmla="*/ 913906 h 6858000"/>
              <a:gd name="connsiteX291" fmla="*/ 6296428 w 7171413"/>
              <a:gd name="connsiteY291" fmla="*/ 911990 h 6858000"/>
              <a:gd name="connsiteX292" fmla="*/ 6287997 w 7171413"/>
              <a:gd name="connsiteY292" fmla="*/ 906406 h 6858000"/>
              <a:gd name="connsiteX293" fmla="*/ 6286074 w 7171413"/>
              <a:gd name="connsiteY293" fmla="*/ 906854 h 6858000"/>
              <a:gd name="connsiteX294" fmla="*/ 6269254 w 7171413"/>
              <a:gd name="connsiteY294" fmla="*/ 915822 h 6858000"/>
              <a:gd name="connsiteX295" fmla="*/ 6256773 w 7171413"/>
              <a:gd name="connsiteY295" fmla="*/ 912520 h 6858000"/>
              <a:gd name="connsiteX296" fmla="*/ 6250184 w 7171413"/>
              <a:gd name="connsiteY296" fmla="*/ 903308 h 6858000"/>
              <a:gd name="connsiteX297" fmla="*/ 6249325 w 7171413"/>
              <a:gd name="connsiteY297" fmla="*/ 895686 h 6858000"/>
              <a:gd name="connsiteX298" fmla="*/ 6249898 w 7171413"/>
              <a:gd name="connsiteY298" fmla="*/ 895074 h 6858000"/>
              <a:gd name="connsiteX299" fmla="*/ 6297000 w 7171413"/>
              <a:gd name="connsiteY299" fmla="*/ 895074 h 6858000"/>
              <a:gd name="connsiteX300" fmla="*/ 6298515 w 7171413"/>
              <a:gd name="connsiteY300" fmla="*/ 893607 h 6858000"/>
              <a:gd name="connsiteX301" fmla="*/ 6298065 w 7171413"/>
              <a:gd name="connsiteY301" fmla="*/ 880074 h 6858000"/>
              <a:gd name="connsiteX302" fmla="*/ 6289061 w 7171413"/>
              <a:gd name="connsiteY302" fmla="*/ 858226 h 6858000"/>
              <a:gd name="connsiteX303" fmla="*/ 6266717 w 7171413"/>
              <a:gd name="connsiteY303" fmla="*/ 850807 h 6858000"/>
              <a:gd name="connsiteX304" fmla="*/ 6190907 w 7171413"/>
              <a:gd name="connsiteY304" fmla="*/ 850807 h 6858000"/>
              <a:gd name="connsiteX305" fmla="*/ 6172218 w 7171413"/>
              <a:gd name="connsiteY305" fmla="*/ 858926 h 6858000"/>
              <a:gd name="connsiteX306" fmla="*/ 6171850 w 7171413"/>
              <a:gd name="connsiteY306" fmla="*/ 859048 h 6858000"/>
              <a:gd name="connsiteX307" fmla="*/ 6171606 w 7171413"/>
              <a:gd name="connsiteY307" fmla="*/ 858640 h 6858000"/>
              <a:gd name="connsiteX308" fmla="*/ 6171606 w 7171413"/>
              <a:gd name="connsiteY308" fmla="*/ 853337 h 6858000"/>
              <a:gd name="connsiteX309" fmla="*/ 6170137 w 7171413"/>
              <a:gd name="connsiteY309" fmla="*/ 851868 h 6858000"/>
              <a:gd name="connsiteX310" fmla="*/ 6158956 w 7171413"/>
              <a:gd name="connsiteY310" fmla="*/ 851868 h 6858000"/>
              <a:gd name="connsiteX311" fmla="*/ 6157487 w 7171413"/>
              <a:gd name="connsiteY311" fmla="*/ 853337 h 6858000"/>
              <a:gd name="connsiteX312" fmla="*/ 6157487 w 7171413"/>
              <a:gd name="connsiteY312" fmla="*/ 925342 h 6858000"/>
              <a:gd name="connsiteX313" fmla="*/ 6158956 w 7171413"/>
              <a:gd name="connsiteY313" fmla="*/ 926810 h 6858000"/>
              <a:gd name="connsiteX314" fmla="*/ 6170137 w 7171413"/>
              <a:gd name="connsiteY314" fmla="*/ 926810 h 6858000"/>
              <a:gd name="connsiteX315" fmla="*/ 6171606 w 7171413"/>
              <a:gd name="connsiteY315" fmla="*/ 925342 h 6858000"/>
              <a:gd name="connsiteX316" fmla="*/ 6171606 w 7171413"/>
              <a:gd name="connsiteY316" fmla="*/ 879405 h 6858000"/>
              <a:gd name="connsiteX317" fmla="*/ 6176013 w 7171413"/>
              <a:gd name="connsiteY317" fmla="*/ 867615 h 6858000"/>
              <a:gd name="connsiteX318" fmla="*/ 6187357 w 7171413"/>
              <a:gd name="connsiteY318" fmla="*/ 863046 h 6858000"/>
              <a:gd name="connsiteX319" fmla="*/ 6198701 w 7171413"/>
              <a:gd name="connsiteY319" fmla="*/ 867615 h 6858000"/>
              <a:gd name="connsiteX320" fmla="*/ 6202985 w 7171413"/>
              <a:gd name="connsiteY320" fmla="*/ 879528 h 6858000"/>
              <a:gd name="connsiteX321" fmla="*/ 6202985 w 7171413"/>
              <a:gd name="connsiteY321" fmla="*/ 925342 h 6858000"/>
              <a:gd name="connsiteX322" fmla="*/ 6204454 w 7171413"/>
              <a:gd name="connsiteY322" fmla="*/ 926810 h 6858000"/>
              <a:gd name="connsiteX323" fmla="*/ 6215635 w 7171413"/>
              <a:gd name="connsiteY323" fmla="*/ 926810 h 6858000"/>
              <a:gd name="connsiteX324" fmla="*/ 6217145 w 7171413"/>
              <a:gd name="connsiteY324" fmla="*/ 925342 h 6858000"/>
              <a:gd name="connsiteX325" fmla="*/ 6217145 w 7171413"/>
              <a:gd name="connsiteY325" fmla="*/ 876754 h 6858000"/>
              <a:gd name="connsiteX326" fmla="*/ 6210045 w 7171413"/>
              <a:gd name="connsiteY326" fmla="*/ 857824 h 6858000"/>
              <a:gd name="connsiteX327" fmla="*/ 6190907 w 7171413"/>
              <a:gd name="connsiteY327" fmla="*/ 850807 h 6858000"/>
              <a:gd name="connsiteX328" fmla="*/ 5941418 w 7171413"/>
              <a:gd name="connsiteY328" fmla="*/ 850807 h 6858000"/>
              <a:gd name="connsiteX329" fmla="*/ 5922688 w 7171413"/>
              <a:gd name="connsiteY329" fmla="*/ 858926 h 6858000"/>
              <a:gd name="connsiteX330" fmla="*/ 5922320 w 7171413"/>
              <a:gd name="connsiteY330" fmla="*/ 859048 h 6858000"/>
              <a:gd name="connsiteX331" fmla="*/ 5922116 w 7171413"/>
              <a:gd name="connsiteY331" fmla="*/ 858640 h 6858000"/>
              <a:gd name="connsiteX332" fmla="*/ 5922116 w 7171413"/>
              <a:gd name="connsiteY332" fmla="*/ 853337 h 6858000"/>
              <a:gd name="connsiteX333" fmla="*/ 5920648 w 7171413"/>
              <a:gd name="connsiteY333" fmla="*/ 851868 h 6858000"/>
              <a:gd name="connsiteX334" fmla="*/ 5909426 w 7171413"/>
              <a:gd name="connsiteY334" fmla="*/ 851868 h 6858000"/>
              <a:gd name="connsiteX335" fmla="*/ 5907957 w 7171413"/>
              <a:gd name="connsiteY335" fmla="*/ 853337 h 6858000"/>
              <a:gd name="connsiteX336" fmla="*/ 5907957 w 7171413"/>
              <a:gd name="connsiteY336" fmla="*/ 925342 h 6858000"/>
              <a:gd name="connsiteX337" fmla="*/ 5909426 w 7171413"/>
              <a:gd name="connsiteY337" fmla="*/ 926810 h 6858000"/>
              <a:gd name="connsiteX338" fmla="*/ 5920648 w 7171413"/>
              <a:gd name="connsiteY338" fmla="*/ 926810 h 6858000"/>
              <a:gd name="connsiteX339" fmla="*/ 5922116 w 7171413"/>
              <a:gd name="connsiteY339" fmla="*/ 925342 h 6858000"/>
              <a:gd name="connsiteX340" fmla="*/ 5922116 w 7171413"/>
              <a:gd name="connsiteY340" fmla="*/ 879405 h 6858000"/>
              <a:gd name="connsiteX341" fmla="*/ 5926524 w 7171413"/>
              <a:gd name="connsiteY341" fmla="*/ 867615 h 6858000"/>
              <a:gd name="connsiteX342" fmla="*/ 5937868 w 7171413"/>
              <a:gd name="connsiteY342" fmla="*/ 863046 h 6858000"/>
              <a:gd name="connsiteX343" fmla="*/ 5949212 w 7171413"/>
              <a:gd name="connsiteY343" fmla="*/ 867615 h 6858000"/>
              <a:gd name="connsiteX344" fmla="*/ 5953496 w 7171413"/>
              <a:gd name="connsiteY344" fmla="*/ 879528 h 6858000"/>
              <a:gd name="connsiteX345" fmla="*/ 5953496 w 7171413"/>
              <a:gd name="connsiteY345" fmla="*/ 925342 h 6858000"/>
              <a:gd name="connsiteX346" fmla="*/ 5954965 w 7171413"/>
              <a:gd name="connsiteY346" fmla="*/ 926810 h 6858000"/>
              <a:gd name="connsiteX347" fmla="*/ 5966146 w 7171413"/>
              <a:gd name="connsiteY347" fmla="*/ 926810 h 6858000"/>
              <a:gd name="connsiteX348" fmla="*/ 5967615 w 7171413"/>
              <a:gd name="connsiteY348" fmla="*/ 925342 h 6858000"/>
              <a:gd name="connsiteX349" fmla="*/ 5967615 w 7171413"/>
              <a:gd name="connsiteY349" fmla="*/ 876754 h 6858000"/>
              <a:gd name="connsiteX350" fmla="*/ 5960556 w 7171413"/>
              <a:gd name="connsiteY350" fmla="*/ 857824 h 6858000"/>
              <a:gd name="connsiteX351" fmla="*/ 5941418 w 7171413"/>
              <a:gd name="connsiteY351" fmla="*/ 850807 h 6858000"/>
              <a:gd name="connsiteX352" fmla="*/ 5857983 w 7171413"/>
              <a:gd name="connsiteY352" fmla="*/ 850807 h 6858000"/>
              <a:gd name="connsiteX353" fmla="*/ 5838697 w 7171413"/>
              <a:gd name="connsiteY353" fmla="*/ 856677 h 6858000"/>
              <a:gd name="connsiteX354" fmla="*/ 5828096 w 7171413"/>
              <a:gd name="connsiteY354" fmla="*/ 872737 h 6858000"/>
              <a:gd name="connsiteX355" fmla="*/ 5826506 w 7171413"/>
              <a:gd name="connsiteY355" fmla="*/ 889041 h 6858000"/>
              <a:gd name="connsiteX356" fmla="*/ 5830013 w 7171413"/>
              <a:gd name="connsiteY356" fmla="*/ 910074 h 6858000"/>
              <a:gd name="connsiteX357" fmla="*/ 5841062 w 7171413"/>
              <a:gd name="connsiteY357" fmla="*/ 923485 h 6858000"/>
              <a:gd name="connsiteX358" fmla="*/ 5859166 w 7171413"/>
              <a:gd name="connsiteY358" fmla="*/ 928172 h 6858000"/>
              <a:gd name="connsiteX359" fmla="*/ 5876291 w 7171413"/>
              <a:gd name="connsiteY359" fmla="*/ 924341 h 6858000"/>
              <a:gd name="connsiteX360" fmla="*/ 5888034 w 7171413"/>
              <a:gd name="connsiteY360" fmla="*/ 913906 h 6858000"/>
              <a:gd name="connsiteX361" fmla="*/ 5887585 w 7171413"/>
              <a:gd name="connsiteY361" fmla="*/ 911990 h 6858000"/>
              <a:gd name="connsiteX362" fmla="*/ 5879186 w 7171413"/>
              <a:gd name="connsiteY362" fmla="*/ 906406 h 6858000"/>
              <a:gd name="connsiteX363" fmla="*/ 5877269 w 7171413"/>
              <a:gd name="connsiteY363" fmla="*/ 906854 h 6858000"/>
              <a:gd name="connsiteX364" fmla="*/ 5860471 w 7171413"/>
              <a:gd name="connsiteY364" fmla="*/ 915822 h 6858000"/>
              <a:gd name="connsiteX365" fmla="*/ 5848034 w 7171413"/>
              <a:gd name="connsiteY365" fmla="*/ 912520 h 6858000"/>
              <a:gd name="connsiteX366" fmla="*/ 5841511 w 7171413"/>
              <a:gd name="connsiteY366" fmla="*/ 903308 h 6858000"/>
              <a:gd name="connsiteX367" fmla="*/ 5840614 w 7171413"/>
              <a:gd name="connsiteY367" fmla="*/ 895686 h 6858000"/>
              <a:gd name="connsiteX368" fmla="*/ 5841225 w 7171413"/>
              <a:gd name="connsiteY368" fmla="*/ 895074 h 6858000"/>
              <a:gd name="connsiteX369" fmla="*/ 5888156 w 7171413"/>
              <a:gd name="connsiteY369" fmla="*/ 895074 h 6858000"/>
              <a:gd name="connsiteX370" fmla="*/ 5889624 w 7171413"/>
              <a:gd name="connsiteY370" fmla="*/ 893607 h 6858000"/>
              <a:gd name="connsiteX371" fmla="*/ 5889175 w 7171413"/>
              <a:gd name="connsiteY371" fmla="*/ 880074 h 6858000"/>
              <a:gd name="connsiteX372" fmla="*/ 5880205 w 7171413"/>
              <a:gd name="connsiteY372" fmla="*/ 858226 h 6858000"/>
              <a:gd name="connsiteX373" fmla="*/ 5857983 w 7171413"/>
              <a:gd name="connsiteY373" fmla="*/ 850807 h 6858000"/>
              <a:gd name="connsiteX374" fmla="*/ 5740410 w 7171413"/>
              <a:gd name="connsiteY374" fmla="*/ 850807 h 6858000"/>
              <a:gd name="connsiteX375" fmla="*/ 5721547 w 7171413"/>
              <a:gd name="connsiteY375" fmla="*/ 858640 h 6858000"/>
              <a:gd name="connsiteX376" fmla="*/ 5721016 w 7171413"/>
              <a:gd name="connsiteY376" fmla="*/ 858763 h 6858000"/>
              <a:gd name="connsiteX377" fmla="*/ 5720812 w 7171413"/>
              <a:gd name="connsiteY377" fmla="*/ 858314 h 6858000"/>
              <a:gd name="connsiteX378" fmla="*/ 5720812 w 7171413"/>
              <a:gd name="connsiteY378" fmla="*/ 853337 h 6858000"/>
              <a:gd name="connsiteX379" fmla="*/ 5719342 w 7171413"/>
              <a:gd name="connsiteY379" fmla="*/ 851868 h 6858000"/>
              <a:gd name="connsiteX380" fmla="*/ 5708155 w 7171413"/>
              <a:gd name="connsiteY380" fmla="*/ 851868 h 6858000"/>
              <a:gd name="connsiteX381" fmla="*/ 5706644 w 7171413"/>
              <a:gd name="connsiteY381" fmla="*/ 853337 h 6858000"/>
              <a:gd name="connsiteX382" fmla="*/ 5706644 w 7171413"/>
              <a:gd name="connsiteY382" fmla="*/ 925342 h 6858000"/>
              <a:gd name="connsiteX383" fmla="*/ 5708155 w 7171413"/>
              <a:gd name="connsiteY383" fmla="*/ 926810 h 6858000"/>
              <a:gd name="connsiteX384" fmla="*/ 5719342 w 7171413"/>
              <a:gd name="connsiteY384" fmla="*/ 926810 h 6858000"/>
              <a:gd name="connsiteX385" fmla="*/ 5720812 w 7171413"/>
              <a:gd name="connsiteY385" fmla="*/ 925342 h 6858000"/>
              <a:gd name="connsiteX386" fmla="*/ 5720812 w 7171413"/>
              <a:gd name="connsiteY386" fmla="*/ 878793 h 6858000"/>
              <a:gd name="connsiteX387" fmla="*/ 5724854 w 7171413"/>
              <a:gd name="connsiteY387" fmla="*/ 867330 h 6858000"/>
              <a:gd name="connsiteX388" fmla="*/ 5735715 w 7171413"/>
              <a:gd name="connsiteY388" fmla="*/ 863046 h 6858000"/>
              <a:gd name="connsiteX389" fmla="*/ 5746535 w 7171413"/>
              <a:gd name="connsiteY389" fmla="*/ 867370 h 6858000"/>
              <a:gd name="connsiteX390" fmla="*/ 5750577 w 7171413"/>
              <a:gd name="connsiteY390" fmla="*/ 879079 h 6858000"/>
              <a:gd name="connsiteX391" fmla="*/ 5750577 w 7171413"/>
              <a:gd name="connsiteY391" fmla="*/ 925342 h 6858000"/>
              <a:gd name="connsiteX392" fmla="*/ 5752047 w 7171413"/>
              <a:gd name="connsiteY392" fmla="*/ 926810 h 6858000"/>
              <a:gd name="connsiteX393" fmla="*/ 5763111 w 7171413"/>
              <a:gd name="connsiteY393" fmla="*/ 926810 h 6858000"/>
              <a:gd name="connsiteX394" fmla="*/ 5764581 w 7171413"/>
              <a:gd name="connsiteY394" fmla="*/ 925342 h 6858000"/>
              <a:gd name="connsiteX395" fmla="*/ 5764581 w 7171413"/>
              <a:gd name="connsiteY395" fmla="*/ 878793 h 6858000"/>
              <a:gd name="connsiteX396" fmla="*/ 5768868 w 7171413"/>
              <a:gd name="connsiteY396" fmla="*/ 867330 h 6858000"/>
              <a:gd name="connsiteX397" fmla="*/ 5779892 w 7171413"/>
              <a:gd name="connsiteY397" fmla="*/ 863046 h 6858000"/>
              <a:gd name="connsiteX398" fmla="*/ 5790753 w 7171413"/>
              <a:gd name="connsiteY398" fmla="*/ 867370 h 6858000"/>
              <a:gd name="connsiteX399" fmla="*/ 5794795 w 7171413"/>
              <a:gd name="connsiteY399" fmla="*/ 879079 h 6858000"/>
              <a:gd name="connsiteX400" fmla="*/ 5794795 w 7171413"/>
              <a:gd name="connsiteY400" fmla="*/ 925342 h 6858000"/>
              <a:gd name="connsiteX401" fmla="*/ 5796265 w 7171413"/>
              <a:gd name="connsiteY401" fmla="*/ 926810 h 6858000"/>
              <a:gd name="connsiteX402" fmla="*/ 5807329 w 7171413"/>
              <a:gd name="connsiteY402" fmla="*/ 926810 h 6858000"/>
              <a:gd name="connsiteX403" fmla="*/ 5808799 w 7171413"/>
              <a:gd name="connsiteY403" fmla="*/ 925342 h 6858000"/>
              <a:gd name="connsiteX404" fmla="*/ 5808799 w 7171413"/>
              <a:gd name="connsiteY404" fmla="*/ 876142 h 6858000"/>
              <a:gd name="connsiteX405" fmla="*/ 5802307 w 7171413"/>
              <a:gd name="connsiteY405" fmla="*/ 857539 h 6858000"/>
              <a:gd name="connsiteX406" fmla="*/ 5784628 w 7171413"/>
              <a:gd name="connsiteY406" fmla="*/ 850807 h 6858000"/>
              <a:gd name="connsiteX407" fmla="*/ 5771726 w 7171413"/>
              <a:gd name="connsiteY407" fmla="*/ 853622 h 6858000"/>
              <a:gd name="connsiteX408" fmla="*/ 5762376 w 7171413"/>
              <a:gd name="connsiteY408" fmla="*/ 862148 h 6858000"/>
              <a:gd name="connsiteX409" fmla="*/ 5761478 w 7171413"/>
              <a:gd name="connsiteY409" fmla="*/ 862148 h 6858000"/>
              <a:gd name="connsiteX410" fmla="*/ 5753231 w 7171413"/>
              <a:gd name="connsiteY410" fmla="*/ 853704 h 6858000"/>
              <a:gd name="connsiteX411" fmla="*/ 5740410 w 7171413"/>
              <a:gd name="connsiteY411" fmla="*/ 850807 h 6858000"/>
              <a:gd name="connsiteX412" fmla="*/ 5575920 w 7171413"/>
              <a:gd name="connsiteY412" fmla="*/ 850807 h 6858000"/>
              <a:gd name="connsiteX413" fmla="*/ 5556564 w 7171413"/>
              <a:gd name="connsiteY413" fmla="*/ 856677 h 6858000"/>
              <a:gd name="connsiteX414" fmla="*/ 5545924 w 7171413"/>
              <a:gd name="connsiteY414" fmla="*/ 872737 h 6858000"/>
              <a:gd name="connsiteX415" fmla="*/ 5544287 w 7171413"/>
              <a:gd name="connsiteY415" fmla="*/ 889041 h 6858000"/>
              <a:gd name="connsiteX416" fmla="*/ 5547847 w 7171413"/>
              <a:gd name="connsiteY416" fmla="*/ 910074 h 6858000"/>
              <a:gd name="connsiteX417" fmla="*/ 5558937 w 7171413"/>
              <a:gd name="connsiteY417" fmla="*/ 923485 h 6858000"/>
              <a:gd name="connsiteX418" fmla="*/ 5577107 w 7171413"/>
              <a:gd name="connsiteY418" fmla="*/ 928172 h 6858000"/>
              <a:gd name="connsiteX419" fmla="*/ 5594295 w 7171413"/>
              <a:gd name="connsiteY419" fmla="*/ 924341 h 6858000"/>
              <a:gd name="connsiteX420" fmla="*/ 5606040 w 7171413"/>
              <a:gd name="connsiteY420" fmla="*/ 913906 h 6858000"/>
              <a:gd name="connsiteX421" fmla="*/ 5605590 w 7171413"/>
              <a:gd name="connsiteY421" fmla="*/ 911990 h 6858000"/>
              <a:gd name="connsiteX422" fmla="*/ 5597201 w 7171413"/>
              <a:gd name="connsiteY422" fmla="*/ 906406 h 6858000"/>
              <a:gd name="connsiteX423" fmla="*/ 5595277 w 7171413"/>
              <a:gd name="connsiteY423" fmla="*/ 906854 h 6858000"/>
              <a:gd name="connsiteX424" fmla="*/ 5578417 w 7171413"/>
              <a:gd name="connsiteY424" fmla="*/ 915822 h 6858000"/>
              <a:gd name="connsiteX425" fmla="*/ 5565935 w 7171413"/>
              <a:gd name="connsiteY425" fmla="*/ 912520 h 6858000"/>
              <a:gd name="connsiteX426" fmla="*/ 5559387 w 7171413"/>
              <a:gd name="connsiteY426" fmla="*/ 903308 h 6858000"/>
              <a:gd name="connsiteX427" fmla="*/ 5558487 w 7171413"/>
              <a:gd name="connsiteY427" fmla="*/ 895686 h 6858000"/>
              <a:gd name="connsiteX428" fmla="*/ 5559060 w 7171413"/>
              <a:gd name="connsiteY428" fmla="*/ 895074 h 6858000"/>
              <a:gd name="connsiteX429" fmla="*/ 5606204 w 7171413"/>
              <a:gd name="connsiteY429" fmla="*/ 895074 h 6858000"/>
              <a:gd name="connsiteX430" fmla="*/ 5607677 w 7171413"/>
              <a:gd name="connsiteY430" fmla="*/ 893607 h 6858000"/>
              <a:gd name="connsiteX431" fmla="*/ 5607227 w 7171413"/>
              <a:gd name="connsiteY431" fmla="*/ 880074 h 6858000"/>
              <a:gd name="connsiteX432" fmla="*/ 5598224 w 7171413"/>
              <a:gd name="connsiteY432" fmla="*/ 858226 h 6858000"/>
              <a:gd name="connsiteX433" fmla="*/ 5575920 w 7171413"/>
              <a:gd name="connsiteY433" fmla="*/ 850807 h 6858000"/>
              <a:gd name="connsiteX434" fmla="*/ 5500110 w 7171413"/>
              <a:gd name="connsiteY434" fmla="*/ 850807 h 6858000"/>
              <a:gd name="connsiteX435" fmla="*/ 5481380 w 7171413"/>
              <a:gd name="connsiteY435" fmla="*/ 858926 h 6858000"/>
              <a:gd name="connsiteX436" fmla="*/ 5481054 w 7171413"/>
              <a:gd name="connsiteY436" fmla="*/ 859048 h 6858000"/>
              <a:gd name="connsiteX437" fmla="*/ 5480809 w 7171413"/>
              <a:gd name="connsiteY437" fmla="*/ 858640 h 6858000"/>
              <a:gd name="connsiteX438" fmla="*/ 5480809 w 7171413"/>
              <a:gd name="connsiteY438" fmla="*/ 853337 h 6858000"/>
              <a:gd name="connsiteX439" fmla="*/ 5479340 w 7171413"/>
              <a:gd name="connsiteY439" fmla="*/ 851868 h 6858000"/>
              <a:gd name="connsiteX440" fmla="*/ 5468159 w 7171413"/>
              <a:gd name="connsiteY440" fmla="*/ 851868 h 6858000"/>
              <a:gd name="connsiteX441" fmla="*/ 5466649 w 7171413"/>
              <a:gd name="connsiteY441" fmla="*/ 853337 h 6858000"/>
              <a:gd name="connsiteX442" fmla="*/ 5466649 w 7171413"/>
              <a:gd name="connsiteY442" fmla="*/ 925342 h 6858000"/>
              <a:gd name="connsiteX443" fmla="*/ 5468159 w 7171413"/>
              <a:gd name="connsiteY443" fmla="*/ 926810 h 6858000"/>
              <a:gd name="connsiteX444" fmla="*/ 5479340 w 7171413"/>
              <a:gd name="connsiteY444" fmla="*/ 926810 h 6858000"/>
              <a:gd name="connsiteX445" fmla="*/ 5480809 w 7171413"/>
              <a:gd name="connsiteY445" fmla="*/ 925342 h 6858000"/>
              <a:gd name="connsiteX446" fmla="*/ 5480809 w 7171413"/>
              <a:gd name="connsiteY446" fmla="*/ 879405 h 6858000"/>
              <a:gd name="connsiteX447" fmla="*/ 5485216 w 7171413"/>
              <a:gd name="connsiteY447" fmla="*/ 867615 h 6858000"/>
              <a:gd name="connsiteX448" fmla="*/ 5496560 w 7171413"/>
              <a:gd name="connsiteY448" fmla="*/ 863046 h 6858000"/>
              <a:gd name="connsiteX449" fmla="*/ 5507904 w 7171413"/>
              <a:gd name="connsiteY449" fmla="*/ 867615 h 6858000"/>
              <a:gd name="connsiteX450" fmla="*/ 5512189 w 7171413"/>
              <a:gd name="connsiteY450" fmla="*/ 879528 h 6858000"/>
              <a:gd name="connsiteX451" fmla="*/ 5512189 w 7171413"/>
              <a:gd name="connsiteY451" fmla="*/ 925342 h 6858000"/>
              <a:gd name="connsiteX452" fmla="*/ 5513658 w 7171413"/>
              <a:gd name="connsiteY452" fmla="*/ 926810 h 6858000"/>
              <a:gd name="connsiteX453" fmla="*/ 5524838 w 7171413"/>
              <a:gd name="connsiteY453" fmla="*/ 926810 h 6858000"/>
              <a:gd name="connsiteX454" fmla="*/ 5526308 w 7171413"/>
              <a:gd name="connsiteY454" fmla="*/ 925342 h 6858000"/>
              <a:gd name="connsiteX455" fmla="*/ 5526308 w 7171413"/>
              <a:gd name="connsiteY455" fmla="*/ 876754 h 6858000"/>
              <a:gd name="connsiteX456" fmla="*/ 5519248 w 7171413"/>
              <a:gd name="connsiteY456" fmla="*/ 857824 h 6858000"/>
              <a:gd name="connsiteX457" fmla="*/ 5500110 w 7171413"/>
              <a:gd name="connsiteY457" fmla="*/ 850807 h 6858000"/>
              <a:gd name="connsiteX458" fmla="*/ 5361103 w 7171413"/>
              <a:gd name="connsiteY458" fmla="*/ 850807 h 6858000"/>
              <a:gd name="connsiteX459" fmla="*/ 5341817 w 7171413"/>
              <a:gd name="connsiteY459" fmla="*/ 856677 h 6858000"/>
              <a:gd name="connsiteX460" fmla="*/ 5331216 w 7171413"/>
              <a:gd name="connsiteY460" fmla="*/ 872737 h 6858000"/>
              <a:gd name="connsiteX461" fmla="*/ 5329626 w 7171413"/>
              <a:gd name="connsiteY461" fmla="*/ 889041 h 6858000"/>
              <a:gd name="connsiteX462" fmla="*/ 5333132 w 7171413"/>
              <a:gd name="connsiteY462" fmla="*/ 910074 h 6858000"/>
              <a:gd name="connsiteX463" fmla="*/ 5344182 w 7171413"/>
              <a:gd name="connsiteY463" fmla="*/ 923485 h 6858000"/>
              <a:gd name="connsiteX464" fmla="*/ 5362285 w 7171413"/>
              <a:gd name="connsiteY464" fmla="*/ 928172 h 6858000"/>
              <a:gd name="connsiteX465" fmla="*/ 5379410 w 7171413"/>
              <a:gd name="connsiteY465" fmla="*/ 924341 h 6858000"/>
              <a:gd name="connsiteX466" fmla="*/ 5391113 w 7171413"/>
              <a:gd name="connsiteY466" fmla="*/ 913906 h 6858000"/>
              <a:gd name="connsiteX467" fmla="*/ 5390664 w 7171413"/>
              <a:gd name="connsiteY467" fmla="*/ 911990 h 6858000"/>
              <a:gd name="connsiteX468" fmla="*/ 5382306 w 7171413"/>
              <a:gd name="connsiteY468" fmla="*/ 906406 h 6858000"/>
              <a:gd name="connsiteX469" fmla="*/ 5380389 w 7171413"/>
              <a:gd name="connsiteY469" fmla="*/ 906854 h 6858000"/>
              <a:gd name="connsiteX470" fmla="*/ 5363590 w 7171413"/>
              <a:gd name="connsiteY470" fmla="*/ 915822 h 6858000"/>
              <a:gd name="connsiteX471" fmla="*/ 5351154 w 7171413"/>
              <a:gd name="connsiteY471" fmla="*/ 912520 h 6858000"/>
              <a:gd name="connsiteX472" fmla="*/ 5344630 w 7171413"/>
              <a:gd name="connsiteY472" fmla="*/ 903308 h 6858000"/>
              <a:gd name="connsiteX473" fmla="*/ 5343733 w 7171413"/>
              <a:gd name="connsiteY473" fmla="*/ 895686 h 6858000"/>
              <a:gd name="connsiteX474" fmla="*/ 5344304 w 7171413"/>
              <a:gd name="connsiteY474" fmla="*/ 895074 h 6858000"/>
              <a:gd name="connsiteX475" fmla="*/ 5391276 w 7171413"/>
              <a:gd name="connsiteY475" fmla="*/ 895074 h 6858000"/>
              <a:gd name="connsiteX476" fmla="*/ 5392744 w 7171413"/>
              <a:gd name="connsiteY476" fmla="*/ 893607 h 6858000"/>
              <a:gd name="connsiteX477" fmla="*/ 5392295 w 7171413"/>
              <a:gd name="connsiteY477" fmla="*/ 880074 h 6858000"/>
              <a:gd name="connsiteX478" fmla="*/ 5383325 w 7171413"/>
              <a:gd name="connsiteY478" fmla="*/ 858226 h 6858000"/>
              <a:gd name="connsiteX479" fmla="*/ 5361103 w 7171413"/>
              <a:gd name="connsiteY479" fmla="*/ 850807 h 6858000"/>
              <a:gd name="connsiteX480" fmla="*/ 5230966 w 7171413"/>
              <a:gd name="connsiteY480" fmla="*/ 850807 h 6858000"/>
              <a:gd name="connsiteX481" fmla="*/ 5212236 w 7171413"/>
              <a:gd name="connsiteY481" fmla="*/ 858926 h 6858000"/>
              <a:gd name="connsiteX482" fmla="*/ 5211869 w 7171413"/>
              <a:gd name="connsiteY482" fmla="*/ 859048 h 6858000"/>
              <a:gd name="connsiteX483" fmla="*/ 5211665 w 7171413"/>
              <a:gd name="connsiteY483" fmla="*/ 858640 h 6858000"/>
              <a:gd name="connsiteX484" fmla="*/ 5211665 w 7171413"/>
              <a:gd name="connsiteY484" fmla="*/ 853337 h 6858000"/>
              <a:gd name="connsiteX485" fmla="*/ 5210196 w 7171413"/>
              <a:gd name="connsiteY485" fmla="*/ 851868 h 6858000"/>
              <a:gd name="connsiteX486" fmla="*/ 5198974 w 7171413"/>
              <a:gd name="connsiteY486" fmla="*/ 851868 h 6858000"/>
              <a:gd name="connsiteX487" fmla="*/ 5197505 w 7171413"/>
              <a:gd name="connsiteY487" fmla="*/ 853337 h 6858000"/>
              <a:gd name="connsiteX488" fmla="*/ 5197505 w 7171413"/>
              <a:gd name="connsiteY488" fmla="*/ 925342 h 6858000"/>
              <a:gd name="connsiteX489" fmla="*/ 5198974 w 7171413"/>
              <a:gd name="connsiteY489" fmla="*/ 926810 h 6858000"/>
              <a:gd name="connsiteX490" fmla="*/ 5210196 w 7171413"/>
              <a:gd name="connsiteY490" fmla="*/ 926810 h 6858000"/>
              <a:gd name="connsiteX491" fmla="*/ 5211665 w 7171413"/>
              <a:gd name="connsiteY491" fmla="*/ 925342 h 6858000"/>
              <a:gd name="connsiteX492" fmla="*/ 5211665 w 7171413"/>
              <a:gd name="connsiteY492" fmla="*/ 879405 h 6858000"/>
              <a:gd name="connsiteX493" fmla="*/ 5216072 w 7171413"/>
              <a:gd name="connsiteY493" fmla="*/ 867615 h 6858000"/>
              <a:gd name="connsiteX494" fmla="*/ 5227416 w 7171413"/>
              <a:gd name="connsiteY494" fmla="*/ 863046 h 6858000"/>
              <a:gd name="connsiteX495" fmla="*/ 5238760 w 7171413"/>
              <a:gd name="connsiteY495" fmla="*/ 867615 h 6858000"/>
              <a:gd name="connsiteX496" fmla="*/ 5243045 w 7171413"/>
              <a:gd name="connsiteY496" fmla="*/ 879528 h 6858000"/>
              <a:gd name="connsiteX497" fmla="*/ 5243045 w 7171413"/>
              <a:gd name="connsiteY497" fmla="*/ 925342 h 6858000"/>
              <a:gd name="connsiteX498" fmla="*/ 5244514 w 7171413"/>
              <a:gd name="connsiteY498" fmla="*/ 926810 h 6858000"/>
              <a:gd name="connsiteX499" fmla="*/ 5255695 w 7171413"/>
              <a:gd name="connsiteY499" fmla="*/ 926810 h 6858000"/>
              <a:gd name="connsiteX500" fmla="*/ 5257164 w 7171413"/>
              <a:gd name="connsiteY500" fmla="*/ 925342 h 6858000"/>
              <a:gd name="connsiteX501" fmla="*/ 5257164 w 7171413"/>
              <a:gd name="connsiteY501" fmla="*/ 876754 h 6858000"/>
              <a:gd name="connsiteX502" fmla="*/ 5250104 w 7171413"/>
              <a:gd name="connsiteY502" fmla="*/ 857824 h 6858000"/>
              <a:gd name="connsiteX503" fmla="*/ 5230966 w 7171413"/>
              <a:gd name="connsiteY503" fmla="*/ 850807 h 6858000"/>
              <a:gd name="connsiteX504" fmla="*/ 5284995 w 7171413"/>
              <a:gd name="connsiteY504" fmla="*/ 832283 h 6858000"/>
              <a:gd name="connsiteX505" fmla="*/ 5283521 w 7171413"/>
              <a:gd name="connsiteY505" fmla="*/ 833754 h 6858000"/>
              <a:gd name="connsiteX506" fmla="*/ 5283521 w 7171413"/>
              <a:gd name="connsiteY506" fmla="*/ 851153 h 6858000"/>
              <a:gd name="connsiteX507" fmla="*/ 5282947 w 7171413"/>
              <a:gd name="connsiteY507" fmla="*/ 851725 h 6858000"/>
              <a:gd name="connsiteX508" fmla="*/ 5273935 w 7171413"/>
              <a:gd name="connsiteY508" fmla="*/ 851725 h 6858000"/>
              <a:gd name="connsiteX509" fmla="*/ 5272419 w 7171413"/>
              <a:gd name="connsiteY509" fmla="*/ 853236 h 6858000"/>
              <a:gd name="connsiteX510" fmla="*/ 5272419 w 7171413"/>
              <a:gd name="connsiteY510" fmla="*/ 861936 h 6858000"/>
              <a:gd name="connsiteX511" fmla="*/ 5273935 w 7171413"/>
              <a:gd name="connsiteY511" fmla="*/ 863406 h 6858000"/>
              <a:gd name="connsiteX512" fmla="*/ 5282947 w 7171413"/>
              <a:gd name="connsiteY512" fmla="*/ 863406 h 6858000"/>
              <a:gd name="connsiteX513" fmla="*/ 5283521 w 7171413"/>
              <a:gd name="connsiteY513" fmla="*/ 863978 h 6858000"/>
              <a:gd name="connsiteX514" fmla="*/ 5283521 w 7171413"/>
              <a:gd name="connsiteY514" fmla="*/ 908050 h 6858000"/>
              <a:gd name="connsiteX515" fmla="*/ 5289215 w 7171413"/>
              <a:gd name="connsiteY515" fmla="*/ 923039 h 6858000"/>
              <a:gd name="connsiteX516" fmla="*/ 5306175 w 7171413"/>
              <a:gd name="connsiteY516" fmla="*/ 927083 h 6858000"/>
              <a:gd name="connsiteX517" fmla="*/ 5312976 w 7171413"/>
              <a:gd name="connsiteY517" fmla="*/ 926797 h 6858000"/>
              <a:gd name="connsiteX518" fmla="*/ 5314450 w 7171413"/>
              <a:gd name="connsiteY518" fmla="*/ 925327 h 6858000"/>
              <a:gd name="connsiteX519" fmla="*/ 5314450 w 7171413"/>
              <a:gd name="connsiteY519" fmla="*/ 916177 h 6858000"/>
              <a:gd name="connsiteX520" fmla="*/ 5312976 w 7171413"/>
              <a:gd name="connsiteY520" fmla="*/ 914707 h 6858000"/>
              <a:gd name="connsiteX521" fmla="*/ 5308674 w 7171413"/>
              <a:gd name="connsiteY521" fmla="*/ 914707 h 6858000"/>
              <a:gd name="connsiteX522" fmla="*/ 5299948 w 7171413"/>
              <a:gd name="connsiteY522" fmla="*/ 911971 h 6858000"/>
              <a:gd name="connsiteX523" fmla="*/ 5297121 w 7171413"/>
              <a:gd name="connsiteY523" fmla="*/ 903066 h 6858000"/>
              <a:gd name="connsiteX524" fmla="*/ 5297121 w 7171413"/>
              <a:gd name="connsiteY524" fmla="*/ 863978 h 6858000"/>
              <a:gd name="connsiteX525" fmla="*/ 5297736 w 7171413"/>
              <a:gd name="connsiteY525" fmla="*/ 863406 h 6858000"/>
              <a:gd name="connsiteX526" fmla="*/ 5313713 w 7171413"/>
              <a:gd name="connsiteY526" fmla="*/ 863406 h 6858000"/>
              <a:gd name="connsiteX527" fmla="*/ 5315188 w 7171413"/>
              <a:gd name="connsiteY527" fmla="*/ 861936 h 6858000"/>
              <a:gd name="connsiteX528" fmla="*/ 5315188 w 7171413"/>
              <a:gd name="connsiteY528" fmla="*/ 853236 h 6858000"/>
              <a:gd name="connsiteX529" fmla="*/ 5313713 w 7171413"/>
              <a:gd name="connsiteY529" fmla="*/ 851725 h 6858000"/>
              <a:gd name="connsiteX530" fmla="*/ 5297736 w 7171413"/>
              <a:gd name="connsiteY530" fmla="*/ 851725 h 6858000"/>
              <a:gd name="connsiteX531" fmla="*/ 5297121 w 7171413"/>
              <a:gd name="connsiteY531" fmla="*/ 851153 h 6858000"/>
              <a:gd name="connsiteX532" fmla="*/ 5297121 w 7171413"/>
              <a:gd name="connsiteY532" fmla="*/ 833754 h 6858000"/>
              <a:gd name="connsiteX533" fmla="*/ 5295647 w 7171413"/>
              <a:gd name="connsiteY533" fmla="*/ 832283 h 6858000"/>
              <a:gd name="connsiteX534" fmla="*/ 5284995 w 7171413"/>
              <a:gd name="connsiteY534" fmla="*/ 832283 h 6858000"/>
              <a:gd name="connsiteX535" fmla="*/ 5627752 w 7171413"/>
              <a:gd name="connsiteY535" fmla="*/ 823838 h 6858000"/>
              <a:gd name="connsiteX536" fmla="*/ 5626283 w 7171413"/>
              <a:gd name="connsiteY536" fmla="*/ 825305 h 6858000"/>
              <a:gd name="connsiteX537" fmla="*/ 5626283 w 7171413"/>
              <a:gd name="connsiteY537" fmla="*/ 925343 h 6858000"/>
              <a:gd name="connsiteX538" fmla="*/ 5627752 w 7171413"/>
              <a:gd name="connsiteY538" fmla="*/ 926810 h 6858000"/>
              <a:gd name="connsiteX539" fmla="*/ 5638933 w 7171413"/>
              <a:gd name="connsiteY539" fmla="*/ 926810 h 6858000"/>
              <a:gd name="connsiteX540" fmla="*/ 5640402 w 7171413"/>
              <a:gd name="connsiteY540" fmla="*/ 925343 h 6858000"/>
              <a:gd name="connsiteX541" fmla="*/ 5640402 w 7171413"/>
              <a:gd name="connsiteY541" fmla="*/ 879460 h 6858000"/>
              <a:gd name="connsiteX542" fmla="*/ 5644849 w 7171413"/>
              <a:gd name="connsiteY542" fmla="*/ 867684 h 6858000"/>
              <a:gd name="connsiteX543" fmla="*/ 5656194 w 7171413"/>
              <a:gd name="connsiteY543" fmla="*/ 863120 h 6858000"/>
              <a:gd name="connsiteX544" fmla="*/ 5667538 w 7171413"/>
              <a:gd name="connsiteY544" fmla="*/ 867684 h 6858000"/>
              <a:gd name="connsiteX545" fmla="*/ 5671782 w 7171413"/>
              <a:gd name="connsiteY545" fmla="*/ 879583 h 6858000"/>
              <a:gd name="connsiteX546" fmla="*/ 5671782 w 7171413"/>
              <a:gd name="connsiteY546" fmla="*/ 925343 h 6858000"/>
              <a:gd name="connsiteX547" fmla="*/ 5673251 w 7171413"/>
              <a:gd name="connsiteY547" fmla="*/ 926810 h 6858000"/>
              <a:gd name="connsiteX548" fmla="*/ 5684472 w 7171413"/>
              <a:gd name="connsiteY548" fmla="*/ 926810 h 6858000"/>
              <a:gd name="connsiteX549" fmla="*/ 5685941 w 7171413"/>
              <a:gd name="connsiteY549" fmla="*/ 925343 h 6858000"/>
              <a:gd name="connsiteX550" fmla="*/ 5685941 w 7171413"/>
              <a:gd name="connsiteY550" fmla="*/ 876812 h 6858000"/>
              <a:gd name="connsiteX551" fmla="*/ 5678882 w 7171413"/>
              <a:gd name="connsiteY551" fmla="*/ 857904 h 6858000"/>
              <a:gd name="connsiteX552" fmla="*/ 5659703 w 7171413"/>
              <a:gd name="connsiteY552" fmla="*/ 850895 h 6858000"/>
              <a:gd name="connsiteX553" fmla="*/ 5641014 w 7171413"/>
              <a:gd name="connsiteY553" fmla="*/ 859005 h 6858000"/>
              <a:gd name="connsiteX554" fmla="*/ 5640646 w 7171413"/>
              <a:gd name="connsiteY554" fmla="*/ 859127 h 6858000"/>
              <a:gd name="connsiteX555" fmla="*/ 5640402 w 7171413"/>
              <a:gd name="connsiteY555" fmla="*/ 858719 h 6858000"/>
              <a:gd name="connsiteX556" fmla="*/ 5640402 w 7171413"/>
              <a:gd name="connsiteY556" fmla="*/ 825305 h 6858000"/>
              <a:gd name="connsiteX557" fmla="*/ 5638933 w 7171413"/>
              <a:gd name="connsiteY557" fmla="*/ 823838 h 6858000"/>
              <a:gd name="connsiteX558" fmla="*/ 5627752 w 7171413"/>
              <a:gd name="connsiteY558" fmla="*/ 823838 h 6858000"/>
              <a:gd name="connsiteX559" fmla="*/ 6459320 w 7171413"/>
              <a:gd name="connsiteY559" fmla="*/ 821114 h 6858000"/>
              <a:gd name="connsiteX560" fmla="*/ 6452468 w 7171413"/>
              <a:gd name="connsiteY560" fmla="*/ 823797 h 6858000"/>
              <a:gd name="connsiteX561" fmla="*/ 6449785 w 7171413"/>
              <a:gd name="connsiteY561" fmla="*/ 830648 h 6858000"/>
              <a:gd name="connsiteX562" fmla="*/ 6452468 w 7171413"/>
              <a:gd name="connsiteY562" fmla="*/ 837500 h 6858000"/>
              <a:gd name="connsiteX563" fmla="*/ 6459320 w 7171413"/>
              <a:gd name="connsiteY563" fmla="*/ 840183 h 6858000"/>
              <a:gd name="connsiteX564" fmla="*/ 6466213 w 7171413"/>
              <a:gd name="connsiteY564" fmla="*/ 837500 h 6858000"/>
              <a:gd name="connsiteX565" fmla="*/ 6468854 w 7171413"/>
              <a:gd name="connsiteY565" fmla="*/ 830648 h 6858000"/>
              <a:gd name="connsiteX566" fmla="*/ 6466213 w 7171413"/>
              <a:gd name="connsiteY566" fmla="*/ 823797 h 6858000"/>
              <a:gd name="connsiteX567" fmla="*/ 6459320 w 7171413"/>
              <a:gd name="connsiteY567" fmla="*/ 821114 h 6858000"/>
              <a:gd name="connsiteX568" fmla="*/ 4611164 w 7171413"/>
              <a:gd name="connsiteY568" fmla="*/ 615715 h 6858000"/>
              <a:gd name="connsiteX569" fmla="*/ 4648928 w 7171413"/>
              <a:gd name="connsiteY569" fmla="*/ 615715 h 6858000"/>
              <a:gd name="connsiteX570" fmla="*/ 4653770 w 7171413"/>
              <a:gd name="connsiteY570" fmla="*/ 620167 h 6858000"/>
              <a:gd name="connsiteX571" fmla="*/ 4653770 w 7171413"/>
              <a:gd name="connsiteY571" fmla="*/ 716580 h 6858000"/>
              <a:gd name="connsiteX572" fmla="*/ 4646975 w 7171413"/>
              <a:gd name="connsiteY572" fmla="*/ 723237 h 6858000"/>
              <a:gd name="connsiteX573" fmla="*/ 4626017 w 7171413"/>
              <a:gd name="connsiteY573" fmla="*/ 722992 h 6858000"/>
              <a:gd name="connsiteX574" fmla="*/ 4611164 w 7171413"/>
              <a:gd name="connsiteY574" fmla="*/ 722992 h 6858000"/>
              <a:gd name="connsiteX575" fmla="*/ 4593096 w 7171413"/>
              <a:gd name="connsiteY575" fmla="*/ 717724 h 6858000"/>
              <a:gd name="connsiteX576" fmla="*/ 4587847 w 7171413"/>
              <a:gd name="connsiteY576" fmla="*/ 699593 h 6858000"/>
              <a:gd name="connsiteX577" fmla="*/ 4587847 w 7171413"/>
              <a:gd name="connsiteY577" fmla="*/ 639523 h 6858000"/>
              <a:gd name="connsiteX578" fmla="*/ 4593096 w 7171413"/>
              <a:gd name="connsiteY578" fmla="*/ 621147 h 6858000"/>
              <a:gd name="connsiteX579" fmla="*/ 4611164 w 7171413"/>
              <a:gd name="connsiteY579" fmla="*/ 615715 h 6858000"/>
              <a:gd name="connsiteX580" fmla="*/ 5546694 w 7171413"/>
              <a:gd name="connsiteY580" fmla="*/ 598281 h 6858000"/>
              <a:gd name="connsiteX581" fmla="*/ 5574841 w 7171413"/>
              <a:gd name="connsiteY581" fmla="*/ 598281 h 6858000"/>
              <a:gd name="connsiteX582" fmla="*/ 5608576 w 7171413"/>
              <a:gd name="connsiteY582" fmla="*/ 632832 h 6858000"/>
              <a:gd name="connsiteX583" fmla="*/ 5608576 w 7171413"/>
              <a:gd name="connsiteY583" fmla="*/ 717330 h 6858000"/>
              <a:gd name="connsiteX584" fmla="*/ 5574841 w 7171413"/>
              <a:gd name="connsiteY584" fmla="*/ 751921 h 6858000"/>
              <a:gd name="connsiteX585" fmla="*/ 5546694 w 7171413"/>
              <a:gd name="connsiteY585" fmla="*/ 751921 h 6858000"/>
              <a:gd name="connsiteX586" fmla="*/ 5512959 w 7171413"/>
              <a:gd name="connsiteY586" fmla="*/ 717330 h 6858000"/>
              <a:gd name="connsiteX587" fmla="*/ 5512959 w 7171413"/>
              <a:gd name="connsiteY587" fmla="*/ 632832 h 6858000"/>
              <a:gd name="connsiteX588" fmla="*/ 5546694 w 7171413"/>
              <a:gd name="connsiteY588" fmla="*/ 598281 h 6858000"/>
              <a:gd name="connsiteX589" fmla="*/ 6144850 w 7171413"/>
              <a:gd name="connsiteY589" fmla="*/ 598009 h 6858000"/>
              <a:gd name="connsiteX590" fmla="*/ 6201158 w 7171413"/>
              <a:gd name="connsiteY590" fmla="*/ 598009 h 6858000"/>
              <a:gd name="connsiteX591" fmla="*/ 6205159 w 7171413"/>
              <a:gd name="connsiteY591" fmla="*/ 601649 h 6858000"/>
              <a:gd name="connsiteX592" fmla="*/ 6205159 w 7171413"/>
              <a:gd name="connsiteY592" fmla="*/ 714865 h 6858000"/>
              <a:gd name="connsiteX593" fmla="*/ 6195523 w 7171413"/>
              <a:gd name="connsiteY593" fmla="*/ 742269 h 6858000"/>
              <a:gd name="connsiteX594" fmla="*/ 6167757 w 7171413"/>
              <a:gd name="connsiteY594" fmla="*/ 751921 h 6858000"/>
              <a:gd name="connsiteX595" fmla="*/ 6144850 w 7171413"/>
              <a:gd name="connsiteY595" fmla="*/ 751921 h 6858000"/>
              <a:gd name="connsiteX596" fmla="*/ 6111449 w 7171413"/>
              <a:gd name="connsiteY596" fmla="*/ 716869 h 6858000"/>
              <a:gd name="connsiteX597" fmla="*/ 6111449 w 7171413"/>
              <a:gd name="connsiteY597" fmla="*/ 633061 h 6858000"/>
              <a:gd name="connsiteX598" fmla="*/ 6144850 w 7171413"/>
              <a:gd name="connsiteY598" fmla="*/ 598009 h 6858000"/>
              <a:gd name="connsiteX599" fmla="*/ 6598221 w 7171413"/>
              <a:gd name="connsiteY599" fmla="*/ 572402 h 6858000"/>
              <a:gd name="connsiteX600" fmla="*/ 6588586 w 7171413"/>
              <a:gd name="connsiteY600" fmla="*/ 577629 h 6858000"/>
              <a:gd name="connsiteX601" fmla="*/ 6531467 w 7171413"/>
              <a:gd name="connsiteY601" fmla="*/ 667716 h 6858000"/>
              <a:gd name="connsiteX602" fmla="*/ 6531467 w 7171413"/>
              <a:gd name="connsiteY602" fmla="*/ 676170 h 6858000"/>
              <a:gd name="connsiteX603" fmla="*/ 6593404 w 7171413"/>
              <a:gd name="connsiteY603" fmla="*/ 771893 h 6858000"/>
              <a:gd name="connsiteX604" fmla="*/ 6604672 w 7171413"/>
              <a:gd name="connsiteY604" fmla="*/ 777528 h 6858000"/>
              <a:gd name="connsiteX605" fmla="*/ 6623535 w 7171413"/>
              <a:gd name="connsiteY605" fmla="*/ 777528 h 6858000"/>
              <a:gd name="connsiteX606" fmla="*/ 6627985 w 7171413"/>
              <a:gd name="connsiteY606" fmla="*/ 775731 h 6858000"/>
              <a:gd name="connsiteX607" fmla="*/ 6627577 w 7171413"/>
              <a:gd name="connsiteY607" fmla="*/ 771117 h 6858000"/>
              <a:gd name="connsiteX608" fmla="*/ 6562415 w 7171413"/>
              <a:gd name="connsiteY608" fmla="*/ 672168 h 6858000"/>
              <a:gd name="connsiteX609" fmla="*/ 6562415 w 7171413"/>
              <a:gd name="connsiteY609" fmla="*/ 670534 h 6858000"/>
              <a:gd name="connsiteX610" fmla="*/ 6621534 w 7171413"/>
              <a:gd name="connsiteY610" fmla="*/ 578854 h 6858000"/>
              <a:gd name="connsiteX611" fmla="*/ 6622555 w 7171413"/>
              <a:gd name="connsiteY611" fmla="*/ 574199 h 6858000"/>
              <a:gd name="connsiteX612" fmla="*/ 6618309 w 7171413"/>
              <a:gd name="connsiteY612" fmla="*/ 572402 h 6858000"/>
              <a:gd name="connsiteX613" fmla="*/ 6598221 w 7171413"/>
              <a:gd name="connsiteY613" fmla="*/ 572402 h 6858000"/>
              <a:gd name="connsiteX614" fmla="*/ 6419882 w 7171413"/>
              <a:gd name="connsiteY614" fmla="*/ 572402 h 6858000"/>
              <a:gd name="connsiteX615" fmla="*/ 6414644 w 7171413"/>
              <a:gd name="connsiteY615" fmla="*/ 578037 h 6858000"/>
              <a:gd name="connsiteX616" fmla="*/ 6414644 w 7171413"/>
              <a:gd name="connsiteY616" fmla="*/ 771934 h 6858000"/>
              <a:gd name="connsiteX617" fmla="*/ 6420291 w 7171413"/>
              <a:gd name="connsiteY617" fmla="*/ 777528 h 6858000"/>
              <a:gd name="connsiteX618" fmla="*/ 6438459 w 7171413"/>
              <a:gd name="connsiteY618" fmla="*/ 777528 h 6858000"/>
              <a:gd name="connsiteX619" fmla="*/ 6444065 w 7171413"/>
              <a:gd name="connsiteY619" fmla="*/ 771934 h 6858000"/>
              <a:gd name="connsiteX620" fmla="*/ 6444065 w 7171413"/>
              <a:gd name="connsiteY620" fmla="*/ 578037 h 6858000"/>
              <a:gd name="connsiteX621" fmla="*/ 6438459 w 7171413"/>
              <a:gd name="connsiteY621" fmla="*/ 572402 h 6858000"/>
              <a:gd name="connsiteX622" fmla="*/ 6419882 w 7171413"/>
              <a:gd name="connsiteY622" fmla="*/ 572402 h 6858000"/>
              <a:gd name="connsiteX623" fmla="*/ 6141611 w 7171413"/>
              <a:gd name="connsiteY623" fmla="*/ 572402 h 6858000"/>
              <a:gd name="connsiteX624" fmla="*/ 6097966 w 7171413"/>
              <a:gd name="connsiteY624" fmla="*/ 588084 h 6858000"/>
              <a:gd name="connsiteX625" fmla="*/ 6082029 w 7171413"/>
              <a:gd name="connsiteY625" fmla="*/ 631943 h 6858000"/>
              <a:gd name="connsiteX626" fmla="*/ 6082029 w 7171413"/>
              <a:gd name="connsiteY626" fmla="*/ 718028 h 6858000"/>
              <a:gd name="connsiteX627" fmla="*/ 6097966 w 7171413"/>
              <a:gd name="connsiteY627" fmla="*/ 761847 h 6858000"/>
              <a:gd name="connsiteX628" fmla="*/ 6141611 w 7171413"/>
              <a:gd name="connsiteY628" fmla="*/ 777528 h 6858000"/>
              <a:gd name="connsiteX629" fmla="*/ 6162534 w 7171413"/>
              <a:gd name="connsiteY629" fmla="*/ 777528 h 6858000"/>
              <a:gd name="connsiteX630" fmla="*/ 6203604 w 7171413"/>
              <a:gd name="connsiteY630" fmla="*/ 756211 h 6858000"/>
              <a:gd name="connsiteX631" fmla="*/ 6205197 w 7171413"/>
              <a:gd name="connsiteY631" fmla="*/ 756211 h 6858000"/>
              <a:gd name="connsiteX632" fmla="*/ 6205197 w 7171413"/>
              <a:gd name="connsiteY632" fmla="*/ 771934 h 6858000"/>
              <a:gd name="connsiteX633" fmla="*/ 6210837 w 7171413"/>
              <a:gd name="connsiteY633" fmla="*/ 777528 h 6858000"/>
              <a:gd name="connsiteX634" fmla="*/ 6228981 w 7171413"/>
              <a:gd name="connsiteY634" fmla="*/ 777528 h 6858000"/>
              <a:gd name="connsiteX635" fmla="*/ 6234580 w 7171413"/>
              <a:gd name="connsiteY635" fmla="*/ 771934 h 6858000"/>
              <a:gd name="connsiteX636" fmla="*/ 6234580 w 7171413"/>
              <a:gd name="connsiteY636" fmla="*/ 578037 h 6858000"/>
              <a:gd name="connsiteX637" fmla="*/ 6228981 w 7171413"/>
              <a:gd name="connsiteY637" fmla="*/ 572402 h 6858000"/>
              <a:gd name="connsiteX638" fmla="*/ 6141611 w 7171413"/>
              <a:gd name="connsiteY638" fmla="*/ 572402 h 6858000"/>
              <a:gd name="connsiteX639" fmla="*/ 5796178 w 7171413"/>
              <a:gd name="connsiteY639" fmla="*/ 572402 h 6858000"/>
              <a:gd name="connsiteX640" fmla="*/ 5790547 w 7171413"/>
              <a:gd name="connsiteY640" fmla="*/ 578037 h 6858000"/>
              <a:gd name="connsiteX641" fmla="*/ 5790547 w 7171413"/>
              <a:gd name="connsiteY641" fmla="*/ 771893 h 6858000"/>
              <a:gd name="connsiteX642" fmla="*/ 5796178 w 7171413"/>
              <a:gd name="connsiteY642" fmla="*/ 777528 h 6858000"/>
              <a:gd name="connsiteX643" fmla="*/ 5814252 w 7171413"/>
              <a:gd name="connsiteY643" fmla="*/ 777528 h 6858000"/>
              <a:gd name="connsiteX644" fmla="*/ 5819882 w 7171413"/>
              <a:gd name="connsiteY644" fmla="*/ 771893 h 6858000"/>
              <a:gd name="connsiteX645" fmla="*/ 5819882 w 7171413"/>
              <a:gd name="connsiteY645" fmla="*/ 635169 h 6858000"/>
              <a:gd name="connsiteX646" fmla="*/ 5829511 w 7171413"/>
              <a:gd name="connsiteY646" fmla="*/ 607808 h 6858000"/>
              <a:gd name="connsiteX647" fmla="*/ 5857255 w 7171413"/>
              <a:gd name="connsiteY647" fmla="*/ 598170 h 6858000"/>
              <a:gd name="connsiteX648" fmla="*/ 5872106 w 7171413"/>
              <a:gd name="connsiteY648" fmla="*/ 598170 h 6858000"/>
              <a:gd name="connsiteX649" fmla="*/ 5905888 w 7171413"/>
              <a:gd name="connsiteY649" fmla="*/ 633127 h 6858000"/>
              <a:gd name="connsiteX650" fmla="*/ 5905888 w 7171413"/>
              <a:gd name="connsiteY650" fmla="*/ 771893 h 6858000"/>
              <a:gd name="connsiteX651" fmla="*/ 5911518 w 7171413"/>
              <a:gd name="connsiteY651" fmla="*/ 777528 h 6858000"/>
              <a:gd name="connsiteX652" fmla="*/ 5929592 w 7171413"/>
              <a:gd name="connsiteY652" fmla="*/ 777528 h 6858000"/>
              <a:gd name="connsiteX653" fmla="*/ 5935223 w 7171413"/>
              <a:gd name="connsiteY653" fmla="*/ 771893 h 6858000"/>
              <a:gd name="connsiteX654" fmla="*/ 5935223 w 7171413"/>
              <a:gd name="connsiteY654" fmla="*/ 636353 h 6858000"/>
              <a:gd name="connsiteX655" fmla="*/ 5945055 w 7171413"/>
              <a:gd name="connsiteY655" fmla="*/ 608420 h 6858000"/>
              <a:gd name="connsiteX656" fmla="*/ 5973003 w 7171413"/>
              <a:gd name="connsiteY656" fmla="*/ 598170 h 6858000"/>
              <a:gd name="connsiteX657" fmla="*/ 5986263 w 7171413"/>
              <a:gd name="connsiteY657" fmla="*/ 598170 h 6858000"/>
              <a:gd name="connsiteX658" fmla="*/ 6020004 w 7171413"/>
              <a:gd name="connsiteY658" fmla="*/ 633127 h 6858000"/>
              <a:gd name="connsiteX659" fmla="*/ 6020004 w 7171413"/>
              <a:gd name="connsiteY659" fmla="*/ 771893 h 6858000"/>
              <a:gd name="connsiteX660" fmla="*/ 6025635 w 7171413"/>
              <a:gd name="connsiteY660" fmla="*/ 777528 h 6858000"/>
              <a:gd name="connsiteX661" fmla="*/ 6043709 w 7171413"/>
              <a:gd name="connsiteY661" fmla="*/ 777528 h 6858000"/>
              <a:gd name="connsiteX662" fmla="*/ 6049339 w 7171413"/>
              <a:gd name="connsiteY662" fmla="*/ 771893 h 6858000"/>
              <a:gd name="connsiteX663" fmla="*/ 6049339 w 7171413"/>
              <a:gd name="connsiteY663" fmla="*/ 631943 h 6858000"/>
              <a:gd name="connsiteX664" fmla="*/ 6034080 w 7171413"/>
              <a:gd name="connsiteY664" fmla="*/ 588084 h 6858000"/>
              <a:gd name="connsiteX665" fmla="*/ 5991485 w 7171413"/>
              <a:gd name="connsiteY665" fmla="*/ 572402 h 6858000"/>
              <a:gd name="connsiteX666" fmla="*/ 5977409 w 7171413"/>
              <a:gd name="connsiteY666" fmla="*/ 572402 h 6858000"/>
              <a:gd name="connsiteX667" fmla="*/ 5948278 w 7171413"/>
              <a:gd name="connsiteY667" fmla="*/ 579426 h 6858000"/>
              <a:gd name="connsiteX668" fmla="*/ 5928001 w 7171413"/>
              <a:gd name="connsiteY668" fmla="*/ 599763 h 6858000"/>
              <a:gd name="connsiteX669" fmla="*/ 5878960 w 7171413"/>
              <a:gd name="connsiteY669" fmla="*/ 572402 h 6858000"/>
              <a:gd name="connsiteX670" fmla="*/ 5864068 w 7171413"/>
              <a:gd name="connsiteY670" fmla="*/ 572402 h 6858000"/>
              <a:gd name="connsiteX671" fmla="*/ 5821474 w 7171413"/>
              <a:gd name="connsiteY671" fmla="*/ 593719 h 6858000"/>
              <a:gd name="connsiteX672" fmla="*/ 5819882 w 7171413"/>
              <a:gd name="connsiteY672" fmla="*/ 593719 h 6858000"/>
              <a:gd name="connsiteX673" fmla="*/ 5819882 w 7171413"/>
              <a:gd name="connsiteY673" fmla="*/ 578037 h 6858000"/>
              <a:gd name="connsiteX674" fmla="*/ 5814252 w 7171413"/>
              <a:gd name="connsiteY674" fmla="*/ 572402 h 6858000"/>
              <a:gd name="connsiteX675" fmla="*/ 5796178 w 7171413"/>
              <a:gd name="connsiteY675" fmla="*/ 572402 h 6858000"/>
              <a:gd name="connsiteX676" fmla="*/ 5675174 w 7171413"/>
              <a:gd name="connsiteY676" fmla="*/ 572402 h 6858000"/>
              <a:gd name="connsiteX677" fmla="*/ 5669596 w 7171413"/>
              <a:gd name="connsiteY677" fmla="*/ 578037 h 6858000"/>
              <a:gd name="connsiteX678" fmla="*/ 5669596 w 7171413"/>
              <a:gd name="connsiteY678" fmla="*/ 771893 h 6858000"/>
              <a:gd name="connsiteX679" fmla="*/ 5675174 w 7171413"/>
              <a:gd name="connsiteY679" fmla="*/ 777528 h 6858000"/>
              <a:gd name="connsiteX680" fmla="*/ 5693251 w 7171413"/>
              <a:gd name="connsiteY680" fmla="*/ 777528 h 6858000"/>
              <a:gd name="connsiteX681" fmla="*/ 5698829 w 7171413"/>
              <a:gd name="connsiteY681" fmla="*/ 771893 h 6858000"/>
              <a:gd name="connsiteX682" fmla="*/ 5698829 w 7171413"/>
              <a:gd name="connsiteY682" fmla="*/ 638763 h 6858000"/>
              <a:gd name="connsiteX683" fmla="*/ 5708478 w 7171413"/>
              <a:gd name="connsiteY683" fmla="*/ 609033 h 6858000"/>
              <a:gd name="connsiteX684" fmla="*/ 5736163 w 7171413"/>
              <a:gd name="connsiteY684" fmla="*/ 598170 h 6858000"/>
              <a:gd name="connsiteX685" fmla="*/ 5757822 w 7171413"/>
              <a:gd name="connsiteY685" fmla="*/ 598170 h 6858000"/>
              <a:gd name="connsiteX686" fmla="*/ 5761812 w 7171413"/>
              <a:gd name="connsiteY686" fmla="*/ 597149 h 6858000"/>
              <a:gd name="connsiteX687" fmla="*/ 5763034 w 7171413"/>
              <a:gd name="connsiteY687" fmla="*/ 592902 h 6858000"/>
              <a:gd name="connsiteX688" fmla="*/ 5763034 w 7171413"/>
              <a:gd name="connsiteY688" fmla="*/ 578037 h 6858000"/>
              <a:gd name="connsiteX689" fmla="*/ 5757822 w 7171413"/>
              <a:gd name="connsiteY689" fmla="*/ 572402 h 6858000"/>
              <a:gd name="connsiteX690" fmla="*/ 5742148 w 7171413"/>
              <a:gd name="connsiteY690" fmla="*/ 572402 h 6858000"/>
              <a:gd name="connsiteX691" fmla="*/ 5715684 w 7171413"/>
              <a:gd name="connsiteY691" fmla="*/ 578854 h 6858000"/>
              <a:gd name="connsiteX692" fmla="*/ 5700457 w 7171413"/>
              <a:gd name="connsiteY692" fmla="*/ 594127 h 6858000"/>
              <a:gd name="connsiteX693" fmla="*/ 5698829 w 7171413"/>
              <a:gd name="connsiteY693" fmla="*/ 594127 h 6858000"/>
              <a:gd name="connsiteX694" fmla="*/ 5698829 w 7171413"/>
              <a:gd name="connsiteY694" fmla="*/ 578037 h 6858000"/>
              <a:gd name="connsiteX695" fmla="*/ 5693251 w 7171413"/>
              <a:gd name="connsiteY695" fmla="*/ 572402 h 6858000"/>
              <a:gd name="connsiteX696" fmla="*/ 5675174 w 7171413"/>
              <a:gd name="connsiteY696" fmla="*/ 572402 h 6858000"/>
              <a:gd name="connsiteX697" fmla="*/ 5543482 w 7171413"/>
              <a:gd name="connsiteY697" fmla="*/ 572402 h 6858000"/>
              <a:gd name="connsiteX698" fmla="*/ 5499942 w 7171413"/>
              <a:gd name="connsiteY698" fmla="*/ 588084 h 6858000"/>
              <a:gd name="connsiteX699" fmla="*/ 5484083 w 7171413"/>
              <a:gd name="connsiteY699" fmla="*/ 631943 h 6858000"/>
              <a:gd name="connsiteX700" fmla="*/ 5484083 w 7171413"/>
              <a:gd name="connsiteY700" fmla="*/ 718028 h 6858000"/>
              <a:gd name="connsiteX701" fmla="*/ 5499942 w 7171413"/>
              <a:gd name="connsiteY701" fmla="*/ 761847 h 6858000"/>
              <a:gd name="connsiteX702" fmla="*/ 5543482 w 7171413"/>
              <a:gd name="connsiteY702" fmla="*/ 777528 h 6858000"/>
              <a:gd name="connsiteX703" fmla="*/ 5578012 w 7171413"/>
              <a:gd name="connsiteY703" fmla="*/ 777528 h 6858000"/>
              <a:gd name="connsiteX704" fmla="*/ 5621593 w 7171413"/>
              <a:gd name="connsiteY704" fmla="*/ 761847 h 6858000"/>
              <a:gd name="connsiteX705" fmla="*/ 5637452 w 7171413"/>
              <a:gd name="connsiteY705" fmla="*/ 718028 h 6858000"/>
              <a:gd name="connsiteX706" fmla="*/ 5637452 w 7171413"/>
              <a:gd name="connsiteY706" fmla="*/ 631943 h 6858000"/>
              <a:gd name="connsiteX707" fmla="*/ 5621593 w 7171413"/>
              <a:gd name="connsiteY707" fmla="*/ 588084 h 6858000"/>
              <a:gd name="connsiteX708" fmla="*/ 5578012 w 7171413"/>
              <a:gd name="connsiteY708" fmla="*/ 572402 h 6858000"/>
              <a:gd name="connsiteX709" fmla="*/ 5543482 w 7171413"/>
              <a:gd name="connsiteY709" fmla="*/ 572402 h 6858000"/>
              <a:gd name="connsiteX710" fmla="*/ 5190876 w 7171413"/>
              <a:gd name="connsiteY710" fmla="*/ 572402 h 6858000"/>
              <a:gd name="connsiteX711" fmla="*/ 5185247 w 7171413"/>
              <a:gd name="connsiteY711" fmla="*/ 578037 h 6858000"/>
              <a:gd name="connsiteX712" fmla="*/ 5185247 w 7171413"/>
              <a:gd name="connsiteY712" fmla="*/ 771893 h 6858000"/>
              <a:gd name="connsiteX713" fmla="*/ 5190876 w 7171413"/>
              <a:gd name="connsiteY713" fmla="*/ 777528 h 6858000"/>
              <a:gd name="connsiteX714" fmla="*/ 5208947 w 7171413"/>
              <a:gd name="connsiteY714" fmla="*/ 777528 h 6858000"/>
              <a:gd name="connsiteX715" fmla="*/ 5214577 w 7171413"/>
              <a:gd name="connsiteY715" fmla="*/ 771893 h 6858000"/>
              <a:gd name="connsiteX716" fmla="*/ 5214577 w 7171413"/>
              <a:gd name="connsiteY716" fmla="*/ 635169 h 6858000"/>
              <a:gd name="connsiteX717" fmla="*/ 5224204 w 7171413"/>
              <a:gd name="connsiteY717" fmla="*/ 607808 h 6858000"/>
              <a:gd name="connsiteX718" fmla="*/ 5251943 w 7171413"/>
              <a:gd name="connsiteY718" fmla="*/ 598170 h 6858000"/>
              <a:gd name="connsiteX719" fmla="*/ 5274460 w 7171413"/>
              <a:gd name="connsiteY719" fmla="*/ 598170 h 6858000"/>
              <a:gd name="connsiteX720" fmla="*/ 5308196 w 7171413"/>
              <a:gd name="connsiteY720" fmla="*/ 633127 h 6858000"/>
              <a:gd name="connsiteX721" fmla="*/ 5308196 w 7171413"/>
              <a:gd name="connsiteY721" fmla="*/ 771893 h 6858000"/>
              <a:gd name="connsiteX722" fmla="*/ 5313825 w 7171413"/>
              <a:gd name="connsiteY722" fmla="*/ 777528 h 6858000"/>
              <a:gd name="connsiteX723" fmla="*/ 5331896 w 7171413"/>
              <a:gd name="connsiteY723" fmla="*/ 777528 h 6858000"/>
              <a:gd name="connsiteX724" fmla="*/ 5337525 w 7171413"/>
              <a:gd name="connsiteY724" fmla="*/ 771893 h 6858000"/>
              <a:gd name="connsiteX725" fmla="*/ 5337525 w 7171413"/>
              <a:gd name="connsiteY725" fmla="*/ 631943 h 6858000"/>
              <a:gd name="connsiteX726" fmla="*/ 5322269 w 7171413"/>
              <a:gd name="connsiteY726" fmla="*/ 588084 h 6858000"/>
              <a:gd name="connsiteX727" fmla="*/ 5279682 w 7171413"/>
              <a:gd name="connsiteY727" fmla="*/ 572402 h 6858000"/>
              <a:gd name="connsiteX728" fmla="*/ 5257164 w 7171413"/>
              <a:gd name="connsiteY728" fmla="*/ 572402 h 6858000"/>
              <a:gd name="connsiteX729" fmla="*/ 5216168 w 7171413"/>
              <a:gd name="connsiteY729" fmla="*/ 593719 h 6858000"/>
              <a:gd name="connsiteX730" fmla="*/ 5214577 w 7171413"/>
              <a:gd name="connsiteY730" fmla="*/ 593719 h 6858000"/>
              <a:gd name="connsiteX731" fmla="*/ 5214577 w 7171413"/>
              <a:gd name="connsiteY731" fmla="*/ 578037 h 6858000"/>
              <a:gd name="connsiteX732" fmla="*/ 5208947 w 7171413"/>
              <a:gd name="connsiteY732" fmla="*/ 572402 h 6858000"/>
              <a:gd name="connsiteX733" fmla="*/ 5190876 w 7171413"/>
              <a:gd name="connsiteY733" fmla="*/ 572402 h 6858000"/>
              <a:gd name="connsiteX734" fmla="*/ 5123199 w 7171413"/>
              <a:gd name="connsiteY734" fmla="*/ 572402 h 6858000"/>
              <a:gd name="connsiteX735" fmla="*/ 5117961 w 7171413"/>
              <a:gd name="connsiteY735" fmla="*/ 578037 h 6858000"/>
              <a:gd name="connsiteX736" fmla="*/ 5117961 w 7171413"/>
              <a:gd name="connsiteY736" fmla="*/ 771934 h 6858000"/>
              <a:gd name="connsiteX737" fmla="*/ 5123608 w 7171413"/>
              <a:gd name="connsiteY737" fmla="*/ 777528 h 6858000"/>
              <a:gd name="connsiteX738" fmla="*/ 5141735 w 7171413"/>
              <a:gd name="connsiteY738" fmla="*/ 777528 h 6858000"/>
              <a:gd name="connsiteX739" fmla="*/ 5147382 w 7171413"/>
              <a:gd name="connsiteY739" fmla="*/ 771934 h 6858000"/>
              <a:gd name="connsiteX740" fmla="*/ 5147382 w 7171413"/>
              <a:gd name="connsiteY740" fmla="*/ 578037 h 6858000"/>
              <a:gd name="connsiteX741" fmla="*/ 5141735 w 7171413"/>
              <a:gd name="connsiteY741" fmla="*/ 572402 h 6858000"/>
              <a:gd name="connsiteX742" fmla="*/ 5123199 w 7171413"/>
              <a:gd name="connsiteY742" fmla="*/ 572402 h 6858000"/>
              <a:gd name="connsiteX743" fmla="*/ 4846645 w 7171413"/>
              <a:gd name="connsiteY743" fmla="*/ 571312 h 6858000"/>
              <a:gd name="connsiteX744" fmla="*/ 4840603 w 7171413"/>
              <a:gd name="connsiteY744" fmla="*/ 579766 h 6858000"/>
              <a:gd name="connsiteX745" fmla="*/ 4891021 w 7171413"/>
              <a:gd name="connsiteY745" fmla="*/ 768121 h 6858000"/>
              <a:gd name="connsiteX746" fmla="*/ 4901880 w 7171413"/>
              <a:gd name="connsiteY746" fmla="*/ 776984 h 6858000"/>
              <a:gd name="connsiteX747" fmla="*/ 4953074 w 7171413"/>
              <a:gd name="connsiteY747" fmla="*/ 776984 h 6858000"/>
              <a:gd name="connsiteX748" fmla="*/ 4963974 w 7171413"/>
              <a:gd name="connsiteY748" fmla="*/ 768121 h 6858000"/>
              <a:gd name="connsiteX749" fmla="*/ 5014759 w 7171413"/>
              <a:gd name="connsiteY749" fmla="*/ 579766 h 6858000"/>
              <a:gd name="connsiteX750" fmla="*/ 5008717 w 7171413"/>
              <a:gd name="connsiteY750" fmla="*/ 571312 h 6858000"/>
              <a:gd name="connsiteX751" fmla="*/ 4973241 w 7171413"/>
              <a:gd name="connsiteY751" fmla="*/ 571312 h 6858000"/>
              <a:gd name="connsiteX752" fmla="*/ 4963157 w 7171413"/>
              <a:gd name="connsiteY752" fmla="*/ 579766 h 6858000"/>
              <a:gd name="connsiteX753" fmla="*/ 4929314 w 7171413"/>
              <a:gd name="connsiteY753" fmla="*/ 731406 h 6858000"/>
              <a:gd name="connsiteX754" fmla="*/ 4926456 w 7171413"/>
              <a:gd name="connsiteY754" fmla="*/ 731406 h 6858000"/>
              <a:gd name="connsiteX755" fmla="*/ 4891797 w 7171413"/>
              <a:gd name="connsiteY755" fmla="*/ 579766 h 6858000"/>
              <a:gd name="connsiteX756" fmla="*/ 4882121 w 7171413"/>
              <a:gd name="connsiteY756" fmla="*/ 571312 h 6858000"/>
              <a:gd name="connsiteX757" fmla="*/ 4846645 w 7171413"/>
              <a:gd name="connsiteY757" fmla="*/ 571312 h 6858000"/>
              <a:gd name="connsiteX758" fmla="*/ 4782840 w 7171413"/>
              <a:gd name="connsiteY758" fmla="*/ 571312 h 6858000"/>
              <a:gd name="connsiteX759" fmla="*/ 4769162 w 7171413"/>
              <a:gd name="connsiteY759" fmla="*/ 579358 h 6858000"/>
              <a:gd name="connsiteX760" fmla="*/ 4720782 w 7171413"/>
              <a:gd name="connsiteY760" fmla="*/ 665286 h 6858000"/>
              <a:gd name="connsiteX761" fmla="*/ 4720782 w 7171413"/>
              <a:gd name="connsiteY761" fmla="*/ 678600 h 6858000"/>
              <a:gd name="connsiteX762" fmla="*/ 4771980 w 7171413"/>
              <a:gd name="connsiteY762" fmla="*/ 768489 h 6858000"/>
              <a:gd name="connsiteX763" fmla="*/ 4778226 w 7171413"/>
              <a:gd name="connsiteY763" fmla="*/ 775350 h 6858000"/>
              <a:gd name="connsiteX764" fmla="*/ 4788106 w 7171413"/>
              <a:gd name="connsiteY764" fmla="*/ 776984 h 6858000"/>
              <a:gd name="connsiteX765" fmla="*/ 4822769 w 7171413"/>
              <a:gd name="connsiteY765" fmla="*/ 776984 h 6858000"/>
              <a:gd name="connsiteX766" fmla="*/ 4830036 w 7171413"/>
              <a:gd name="connsiteY766" fmla="*/ 773962 h 6858000"/>
              <a:gd name="connsiteX767" fmla="*/ 4829628 w 7171413"/>
              <a:gd name="connsiteY767" fmla="*/ 766896 h 6858000"/>
              <a:gd name="connsiteX768" fmla="*/ 4773572 w 7171413"/>
              <a:gd name="connsiteY768" fmla="*/ 671330 h 6858000"/>
              <a:gd name="connsiteX769" fmla="*/ 4773572 w 7171413"/>
              <a:gd name="connsiteY769" fmla="*/ 669697 h 6858000"/>
              <a:gd name="connsiteX770" fmla="*/ 4827219 w 7171413"/>
              <a:gd name="connsiteY770" fmla="*/ 581400 h 6858000"/>
              <a:gd name="connsiteX771" fmla="*/ 4828403 w 7171413"/>
              <a:gd name="connsiteY771" fmla="*/ 574130 h 6858000"/>
              <a:gd name="connsiteX772" fmla="*/ 4821952 w 7171413"/>
              <a:gd name="connsiteY772" fmla="*/ 571312 h 6858000"/>
              <a:gd name="connsiteX773" fmla="*/ 4782840 w 7171413"/>
              <a:gd name="connsiteY773" fmla="*/ 571312 h 6858000"/>
              <a:gd name="connsiteX774" fmla="*/ 4603084 w 7171413"/>
              <a:gd name="connsiteY774" fmla="*/ 571312 h 6858000"/>
              <a:gd name="connsiteX775" fmla="*/ 4553929 w 7171413"/>
              <a:gd name="connsiteY775" fmla="*/ 588266 h 6858000"/>
              <a:gd name="connsiteX776" fmla="*/ 4536633 w 7171413"/>
              <a:gd name="connsiteY776" fmla="*/ 637043 h 6858000"/>
              <a:gd name="connsiteX777" fmla="*/ 4536633 w 7171413"/>
              <a:gd name="connsiteY777" fmla="*/ 701997 h 6858000"/>
              <a:gd name="connsiteX778" fmla="*/ 4552501 w 7171413"/>
              <a:gd name="connsiteY778" fmla="*/ 750815 h 6858000"/>
              <a:gd name="connsiteX779" fmla="*/ 4599453 w 7171413"/>
              <a:gd name="connsiteY779" fmla="*/ 767768 h 6858000"/>
              <a:gd name="connsiteX780" fmla="*/ 4612752 w 7171413"/>
              <a:gd name="connsiteY780" fmla="*/ 767932 h 6858000"/>
              <a:gd name="connsiteX781" fmla="*/ 4636493 w 7171413"/>
              <a:gd name="connsiteY781" fmla="*/ 767932 h 6858000"/>
              <a:gd name="connsiteX782" fmla="*/ 4652198 w 7171413"/>
              <a:gd name="connsiteY782" fmla="*/ 767891 h 6858000"/>
              <a:gd name="connsiteX783" fmla="*/ 4653830 w 7171413"/>
              <a:gd name="connsiteY783" fmla="*/ 767891 h 6858000"/>
              <a:gd name="connsiteX784" fmla="*/ 4653830 w 7171413"/>
              <a:gd name="connsiteY784" fmla="*/ 776224 h 6858000"/>
              <a:gd name="connsiteX785" fmla="*/ 4648405 w 7171413"/>
              <a:gd name="connsiteY785" fmla="*/ 794199 h 6858000"/>
              <a:gd name="connsiteX786" fmla="*/ 4630048 w 7171413"/>
              <a:gd name="connsiteY786" fmla="*/ 799632 h 6858000"/>
              <a:gd name="connsiteX787" fmla="*/ 4561190 w 7171413"/>
              <a:gd name="connsiteY787" fmla="*/ 799632 h 6858000"/>
              <a:gd name="connsiteX788" fmla="*/ 4552705 w 7171413"/>
              <a:gd name="connsiteY788" fmla="*/ 808089 h 6858000"/>
              <a:gd name="connsiteX789" fmla="*/ 4552705 w 7171413"/>
              <a:gd name="connsiteY789" fmla="*/ 835909 h 6858000"/>
              <a:gd name="connsiteX790" fmla="*/ 4554541 w 7171413"/>
              <a:gd name="connsiteY790" fmla="*/ 842159 h 6858000"/>
              <a:gd name="connsiteX791" fmla="*/ 4561190 w 7171413"/>
              <a:gd name="connsiteY791" fmla="*/ 843997 h 6858000"/>
              <a:gd name="connsiteX792" fmla="*/ 4638533 w 7171413"/>
              <a:gd name="connsiteY792" fmla="*/ 843997 h 6858000"/>
              <a:gd name="connsiteX793" fmla="*/ 4687443 w 7171413"/>
              <a:gd name="connsiteY793" fmla="*/ 827044 h 6858000"/>
              <a:gd name="connsiteX794" fmla="*/ 4704984 w 7171413"/>
              <a:gd name="connsiteY794" fmla="*/ 778635 h 6858000"/>
              <a:gd name="connsiteX795" fmla="*/ 4704984 w 7171413"/>
              <a:gd name="connsiteY795" fmla="*/ 579769 h 6858000"/>
              <a:gd name="connsiteX796" fmla="*/ 4696091 w 7171413"/>
              <a:gd name="connsiteY796" fmla="*/ 571312 h 6858000"/>
              <a:gd name="connsiteX797" fmla="*/ 4603084 w 7171413"/>
              <a:gd name="connsiteY797" fmla="*/ 571312 h 6858000"/>
              <a:gd name="connsiteX798" fmla="*/ 6301153 w 7171413"/>
              <a:gd name="connsiteY798" fmla="*/ 528543 h 6858000"/>
              <a:gd name="connsiteX799" fmla="*/ 6295556 w 7171413"/>
              <a:gd name="connsiteY799" fmla="*/ 534179 h 6858000"/>
              <a:gd name="connsiteX800" fmla="*/ 6295556 w 7171413"/>
              <a:gd name="connsiteY800" fmla="*/ 568768 h 6858000"/>
              <a:gd name="connsiteX801" fmla="*/ 6291511 w 7171413"/>
              <a:gd name="connsiteY801" fmla="*/ 572403 h 6858000"/>
              <a:gd name="connsiteX802" fmla="*/ 6269366 w 7171413"/>
              <a:gd name="connsiteY802" fmla="*/ 572403 h 6858000"/>
              <a:gd name="connsiteX803" fmla="*/ 6263728 w 7171413"/>
              <a:gd name="connsiteY803" fmla="*/ 578038 h 6858000"/>
              <a:gd name="connsiteX804" fmla="*/ 6263728 w 7171413"/>
              <a:gd name="connsiteY804" fmla="*/ 592903 h 6858000"/>
              <a:gd name="connsiteX805" fmla="*/ 6269366 w 7171413"/>
              <a:gd name="connsiteY805" fmla="*/ 598130 h 6858000"/>
              <a:gd name="connsiteX806" fmla="*/ 6291511 w 7171413"/>
              <a:gd name="connsiteY806" fmla="*/ 598130 h 6858000"/>
              <a:gd name="connsiteX807" fmla="*/ 6295556 w 7171413"/>
              <a:gd name="connsiteY807" fmla="*/ 601764 h 6858000"/>
              <a:gd name="connsiteX808" fmla="*/ 6295556 w 7171413"/>
              <a:gd name="connsiteY808" fmla="*/ 718804 h 6858000"/>
              <a:gd name="connsiteX809" fmla="*/ 6312062 w 7171413"/>
              <a:gd name="connsiteY809" fmla="*/ 762051 h 6858000"/>
              <a:gd name="connsiteX810" fmla="*/ 6356310 w 7171413"/>
              <a:gd name="connsiteY810" fmla="*/ 777528 h 6858000"/>
              <a:gd name="connsiteX811" fmla="*/ 6375636 w 7171413"/>
              <a:gd name="connsiteY811" fmla="*/ 777528 h 6858000"/>
              <a:gd name="connsiteX812" fmla="*/ 6381682 w 7171413"/>
              <a:gd name="connsiteY812" fmla="*/ 772301 h 6858000"/>
              <a:gd name="connsiteX813" fmla="*/ 6381682 w 7171413"/>
              <a:gd name="connsiteY813" fmla="*/ 757436 h 6858000"/>
              <a:gd name="connsiteX814" fmla="*/ 6375636 w 7171413"/>
              <a:gd name="connsiteY814" fmla="*/ 751801 h 6858000"/>
              <a:gd name="connsiteX815" fmla="*/ 6359946 w 7171413"/>
              <a:gd name="connsiteY815" fmla="*/ 751801 h 6858000"/>
              <a:gd name="connsiteX816" fmla="*/ 6324523 w 7171413"/>
              <a:gd name="connsiteY816" fmla="*/ 717620 h 6858000"/>
              <a:gd name="connsiteX817" fmla="*/ 6324523 w 7171413"/>
              <a:gd name="connsiteY817" fmla="*/ 601764 h 6858000"/>
              <a:gd name="connsiteX818" fmla="*/ 6328936 w 7171413"/>
              <a:gd name="connsiteY818" fmla="*/ 598130 h 6858000"/>
              <a:gd name="connsiteX819" fmla="*/ 6371591 w 7171413"/>
              <a:gd name="connsiteY819" fmla="*/ 598130 h 6858000"/>
              <a:gd name="connsiteX820" fmla="*/ 6377638 w 7171413"/>
              <a:gd name="connsiteY820" fmla="*/ 592903 h 6858000"/>
              <a:gd name="connsiteX821" fmla="*/ 6377638 w 7171413"/>
              <a:gd name="connsiteY821" fmla="*/ 578038 h 6858000"/>
              <a:gd name="connsiteX822" fmla="*/ 6371591 w 7171413"/>
              <a:gd name="connsiteY822" fmla="*/ 572403 h 6858000"/>
              <a:gd name="connsiteX823" fmla="*/ 6328936 w 7171413"/>
              <a:gd name="connsiteY823" fmla="*/ 572403 h 6858000"/>
              <a:gd name="connsiteX824" fmla="*/ 6324523 w 7171413"/>
              <a:gd name="connsiteY824" fmla="*/ 568768 h 6858000"/>
              <a:gd name="connsiteX825" fmla="*/ 6324523 w 7171413"/>
              <a:gd name="connsiteY825" fmla="*/ 534179 h 6858000"/>
              <a:gd name="connsiteX826" fmla="*/ 6319294 w 7171413"/>
              <a:gd name="connsiteY826" fmla="*/ 528543 h 6858000"/>
              <a:gd name="connsiteX827" fmla="*/ 6301153 w 7171413"/>
              <a:gd name="connsiteY827" fmla="*/ 528543 h 6858000"/>
              <a:gd name="connsiteX828" fmla="*/ 6419882 w 7171413"/>
              <a:gd name="connsiteY828" fmla="*/ 495037 h 6858000"/>
              <a:gd name="connsiteX829" fmla="*/ 6414644 w 7171413"/>
              <a:gd name="connsiteY829" fmla="*/ 500698 h 6858000"/>
              <a:gd name="connsiteX830" fmla="*/ 6414644 w 7171413"/>
              <a:gd name="connsiteY830" fmla="*/ 538683 h 6858000"/>
              <a:gd name="connsiteX831" fmla="*/ 6419882 w 7171413"/>
              <a:gd name="connsiteY831" fmla="*/ 544343 h 6858000"/>
              <a:gd name="connsiteX832" fmla="*/ 6438459 w 7171413"/>
              <a:gd name="connsiteY832" fmla="*/ 544343 h 6858000"/>
              <a:gd name="connsiteX833" fmla="*/ 6444065 w 7171413"/>
              <a:gd name="connsiteY833" fmla="*/ 538683 h 6858000"/>
              <a:gd name="connsiteX834" fmla="*/ 6444065 w 7171413"/>
              <a:gd name="connsiteY834" fmla="*/ 500698 h 6858000"/>
              <a:gd name="connsiteX835" fmla="*/ 6438459 w 7171413"/>
              <a:gd name="connsiteY835" fmla="*/ 495037 h 6858000"/>
              <a:gd name="connsiteX836" fmla="*/ 6419882 w 7171413"/>
              <a:gd name="connsiteY836" fmla="*/ 495037 h 6858000"/>
              <a:gd name="connsiteX837" fmla="*/ 5123199 w 7171413"/>
              <a:gd name="connsiteY837" fmla="*/ 495037 h 6858000"/>
              <a:gd name="connsiteX838" fmla="*/ 5117961 w 7171413"/>
              <a:gd name="connsiteY838" fmla="*/ 500698 h 6858000"/>
              <a:gd name="connsiteX839" fmla="*/ 5117961 w 7171413"/>
              <a:gd name="connsiteY839" fmla="*/ 538683 h 6858000"/>
              <a:gd name="connsiteX840" fmla="*/ 5123199 w 7171413"/>
              <a:gd name="connsiteY840" fmla="*/ 544343 h 6858000"/>
              <a:gd name="connsiteX841" fmla="*/ 5141735 w 7171413"/>
              <a:gd name="connsiteY841" fmla="*/ 544343 h 6858000"/>
              <a:gd name="connsiteX842" fmla="*/ 5147382 w 7171413"/>
              <a:gd name="connsiteY842" fmla="*/ 538683 h 6858000"/>
              <a:gd name="connsiteX843" fmla="*/ 5147382 w 7171413"/>
              <a:gd name="connsiteY843" fmla="*/ 500698 h 6858000"/>
              <a:gd name="connsiteX844" fmla="*/ 5141735 w 7171413"/>
              <a:gd name="connsiteY844" fmla="*/ 495037 h 6858000"/>
              <a:gd name="connsiteX845" fmla="*/ 5123199 w 7171413"/>
              <a:gd name="connsiteY845" fmla="*/ 495037 h 6858000"/>
              <a:gd name="connsiteX846" fmla="*/ 6487577 w 7171413"/>
              <a:gd name="connsiteY846" fmla="*/ 494764 h 6858000"/>
              <a:gd name="connsiteX847" fmla="*/ 6481930 w 7171413"/>
              <a:gd name="connsiteY847" fmla="*/ 500400 h 6858000"/>
              <a:gd name="connsiteX848" fmla="*/ 6481930 w 7171413"/>
              <a:gd name="connsiteY848" fmla="*/ 771892 h 6858000"/>
              <a:gd name="connsiteX849" fmla="*/ 6487577 w 7171413"/>
              <a:gd name="connsiteY849" fmla="*/ 777528 h 6858000"/>
              <a:gd name="connsiteX850" fmla="*/ 6505745 w 7171413"/>
              <a:gd name="connsiteY850" fmla="*/ 777528 h 6858000"/>
              <a:gd name="connsiteX851" fmla="*/ 6511351 w 7171413"/>
              <a:gd name="connsiteY851" fmla="*/ 771892 h 6858000"/>
              <a:gd name="connsiteX852" fmla="*/ 6511351 w 7171413"/>
              <a:gd name="connsiteY852" fmla="*/ 500400 h 6858000"/>
              <a:gd name="connsiteX853" fmla="*/ 6505745 w 7171413"/>
              <a:gd name="connsiteY853" fmla="*/ 494764 h 6858000"/>
              <a:gd name="connsiteX854" fmla="*/ 6487577 w 7171413"/>
              <a:gd name="connsiteY854" fmla="*/ 494764 h 6858000"/>
              <a:gd name="connsiteX855" fmla="*/ 5447866 w 7171413"/>
              <a:gd name="connsiteY855" fmla="*/ 494764 h 6858000"/>
              <a:gd name="connsiteX856" fmla="*/ 5406800 w 7171413"/>
              <a:gd name="connsiteY856" fmla="*/ 510038 h 6858000"/>
              <a:gd name="connsiteX857" fmla="*/ 5392743 w 7171413"/>
              <a:gd name="connsiteY857" fmla="*/ 553898 h 6858000"/>
              <a:gd name="connsiteX858" fmla="*/ 5392743 w 7171413"/>
              <a:gd name="connsiteY858" fmla="*/ 568763 h 6858000"/>
              <a:gd name="connsiteX859" fmla="*/ 5388698 w 7171413"/>
              <a:gd name="connsiteY859" fmla="*/ 572398 h 6858000"/>
              <a:gd name="connsiteX860" fmla="*/ 5364957 w 7171413"/>
              <a:gd name="connsiteY860" fmla="*/ 572398 h 6858000"/>
              <a:gd name="connsiteX861" fmla="*/ 5359318 w 7171413"/>
              <a:gd name="connsiteY861" fmla="*/ 577625 h 6858000"/>
              <a:gd name="connsiteX862" fmla="*/ 5359318 w 7171413"/>
              <a:gd name="connsiteY862" fmla="*/ 592531 h 6858000"/>
              <a:gd name="connsiteX863" fmla="*/ 5364957 w 7171413"/>
              <a:gd name="connsiteY863" fmla="*/ 598126 h 6858000"/>
              <a:gd name="connsiteX864" fmla="*/ 5388698 w 7171413"/>
              <a:gd name="connsiteY864" fmla="*/ 598126 h 6858000"/>
              <a:gd name="connsiteX865" fmla="*/ 5392743 w 7171413"/>
              <a:gd name="connsiteY865" fmla="*/ 601760 h 6858000"/>
              <a:gd name="connsiteX866" fmla="*/ 5392743 w 7171413"/>
              <a:gd name="connsiteY866" fmla="*/ 771892 h 6858000"/>
              <a:gd name="connsiteX867" fmla="*/ 5398382 w 7171413"/>
              <a:gd name="connsiteY867" fmla="*/ 777528 h 6858000"/>
              <a:gd name="connsiteX868" fmla="*/ 5416076 w 7171413"/>
              <a:gd name="connsiteY868" fmla="*/ 777528 h 6858000"/>
              <a:gd name="connsiteX869" fmla="*/ 5422123 w 7171413"/>
              <a:gd name="connsiteY869" fmla="*/ 771892 h 6858000"/>
              <a:gd name="connsiteX870" fmla="*/ 5422123 w 7171413"/>
              <a:gd name="connsiteY870" fmla="*/ 601760 h 6858000"/>
              <a:gd name="connsiteX871" fmla="*/ 5425719 w 7171413"/>
              <a:gd name="connsiteY871" fmla="*/ 598126 h 6858000"/>
              <a:gd name="connsiteX872" fmla="*/ 5461146 w 7171413"/>
              <a:gd name="connsiteY872" fmla="*/ 598126 h 6858000"/>
              <a:gd name="connsiteX873" fmla="*/ 5467194 w 7171413"/>
              <a:gd name="connsiteY873" fmla="*/ 592531 h 6858000"/>
              <a:gd name="connsiteX874" fmla="*/ 5467194 w 7171413"/>
              <a:gd name="connsiteY874" fmla="*/ 577625 h 6858000"/>
              <a:gd name="connsiteX875" fmla="*/ 5461146 w 7171413"/>
              <a:gd name="connsiteY875" fmla="*/ 572398 h 6858000"/>
              <a:gd name="connsiteX876" fmla="*/ 5425719 w 7171413"/>
              <a:gd name="connsiteY876" fmla="*/ 572398 h 6858000"/>
              <a:gd name="connsiteX877" fmla="*/ 5422123 w 7171413"/>
              <a:gd name="connsiteY877" fmla="*/ 568763 h 6858000"/>
              <a:gd name="connsiteX878" fmla="*/ 5422123 w 7171413"/>
              <a:gd name="connsiteY878" fmla="*/ 555123 h 6858000"/>
              <a:gd name="connsiteX879" fmla="*/ 5428538 w 7171413"/>
              <a:gd name="connsiteY879" fmla="*/ 528742 h 6858000"/>
              <a:gd name="connsiteX880" fmla="*/ 5451503 w 7171413"/>
              <a:gd name="connsiteY880" fmla="*/ 520492 h 6858000"/>
              <a:gd name="connsiteX881" fmla="*/ 5461555 w 7171413"/>
              <a:gd name="connsiteY881" fmla="*/ 520492 h 6858000"/>
              <a:gd name="connsiteX882" fmla="*/ 5467194 w 7171413"/>
              <a:gd name="connsiteY882" fmla="*/ 514897 h 6858000"/>
              <a:gd name="connsiteX883" fmla="*/ 5467194 w 7171413"/>
              <a:gd name="connsiteY883" fmla="*/ 499992 h 6858000"/>
              <a:gd name="connsiteX884" fmla="*/ 5461555 w 7171413"/>
              <a:gd name="connsiteY884" fmla="*/ 494764 h 6858000"/>
              <a:gd name="connsiteX885" fmla="*/ 5447866 w 7171413"/>
              <a:gd name="connsiteY885" fmla="*/ 494764 h 6858000"/>
              <a:gd name="connsiteX886" fmla="*/ 2052832 w 7171413"/>
              <a:gd name="connsiteY886" fmla="*/ 0 h 6858000"/>
              <a:gd name="connsiteX887" fmla="*/ 7171413 w 7171413"/>
              <a:gd name="connsiteY887" fmla="*/ 0 h 6858000"/>
              <a:gd name="connsiteX888" fmla="*/ 7171413 w 7171413"/>
              <a:gd name="connsiteY888" fmla="*/ 6858000 h 6858000"/>
              <a:gd name="connsiteX889" fmla="*/ 6335118 w 7171413"/>
              <a:gd name="connsiteY889" fmla="*/ 6858000 h 6858000"/>
              <a:gd name="connsiteX890" fmla="*/ 6355927 w 7171413"/>
              <a:gd name="connsiteY890" fmla="*/ 6823698 h 6858000"/>
              <a:gd name="connsiteX891" fmla="*/ 6615638 w 7171413"/>
              <a:gd name="connsiteY891" fmla="*/ 6395583 h 6858000"/>
              <a:gd name="connsiteX892" fmla="*/ 6624324 w 7171413"/>
              <a:gd name="connsiteY892" fmla="*/ 6343543 h 6858000"/>
              <a:gd name="connsiteX893" fmla="*/ 6578085 w 7171413"/>
              <a:gd name="connsiteY893" fmla="*/ 6323213 h 6858000"/>
              <a:gd name="connsiteX894" fmla="*/ 6297458 w 7171413"/>
              <a:gd name="connsiteY894" fmla="*/ 6323213 h 6858000"/>
              <a:gd name="connsiteX895" fmla="*/ 6199104 w 7171413"/>
              <a:gd name="connsiteY895" fmla="*/ 6381135 h 6858000"/>
              <a:gd name="connsiteX896" fmla="*/ 5966524 w 7171413"/>
              <a:gd name="connsiteY896" fmla="*/ 6794349 h 6858000"/>
              <a:gd name="connsiteX897" fmla="*/ 5930697 w 7171413"/>
              <a:gd name="connsiteY897" fmla="*/ 6858000 h 6858000"/>
              <a:gd name="connsiteX898" fmla="*/ 1996824 w 7171413"/>
              <a:gd name="connsiteY898" fmla="*/ 6858000 h 6858000"/>
              <a:gd name="connsiteX899" fmla="*/ 1981352 w 7171413"/>
              <a:gd name="connsiteY899" fmla="*/ 6831589 h 6858000"/>
              <a:gd name="connsiteX900" fmla="*/ 0 w 7171413"/>
              <a:gd name="connsiteY900" fmla="*/ 3449512 h 6858000"/>
              <a:gd name="connsiteX901" fmla="*/ 0 w 7171413"/>
              <a:gd name="connsiteY901" fmla="*/ 3388733 h 6858000"/>
              <a:gd name="connsiteX902" fmla="*/ 2031993 w 7171413"/>
              <a:gd name="connsiteY902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</a:cxnLst>
            <a:rect l="l" t="t" r="r" b="b"/>
            <a:pathLst>
              <a:path w="7171413" h="6858000">
                <a:moveTo>
                  <a:pt x="6518644" y="862793"/>
                </a:moveTo>
                <a:cubicBezTo>
                  <a:pt x="6522927" y="862793"/>
                  <a:pt x="6526556" y="863989"/>
                  <a:pt x="6529452" y="866299"/>
                </a:cubicBezTo>
                <a:cubicBezTo>
                  <a:pt x="6532347" y="868650"/>
                  <a:pt x="6534264" y="871743"/>
                  <a:pt x="6535284" y="875620"/>
                </a:cubicBezTo>
                <a:cubicBezTo>
                  <a:pt x="6535651" y="877187"/>
                  <a:pt x="6535936" y="879620"/>
                  <a:pt x="6536140" y="882920"/>
                </a:cubicBezTo>
                <a:cubicBezTo>
                  <a:pt x="6536140" y="883291"/>
                  <a:pt x="6535936" y="883497"/>
                  <a:pt x="6535569" y="883497"/>
                </a:cubicBezTo>
                <a:cubicBezTo>
                  <a:pt x="6535569" y="883497"/>
                  <a:pt x="6535569" y="883497"/>
                  <a:pt x="6501842" y="883497"/>
                </a:cubicBezTo>
                <a:cubicBezTo>
                  <a:pt x="6501434" y="883497"/>
                  <a:pt x="6501271" y="883291"/>
                  <a:pt x="6501271" y="882920"/>
                </a:cubicBezTo>
                <a:cubicBezTo>
                  <a:pt x="6501434" y="879538"/>
                  <a:pt x="6501883" y="876733"/>
                  <a:pt x="6502576" y="874547"/>
                </a:cubicBezTo>
                <a:cubicBezTo>
                  <a:pt x="6503555" y="871001"/>
                  <a:pt x="6505431" y="868155"/>
                  <a:pt x="6508164" y="866010"/>
                </a:cubicBezTo>
                <a:cubicBezTo>
                  <a:pt x="6510936" y="863866"/>
                  <a:pt x="6514403" y="862793"/>
                  <a:pt x="6518644" y="862793"/>
                </a:cubicBezTo>
                <a:close/>
                <a:moveTo>
                  <a:pt x="6399574" y="862793"/>
                </a:moveTo>
                <a:cubicBezTo>
                  <a:pt x="6403709" y="862793"/>
                  <a:pt x="6407148" y="863983"/>
                  <a:pt x="6409892" y="866279"/>
                </a:cubicBezTo>
                <a:cubicBezTo>
                  <a:pt x="6412676" y="868617"/>
                  <a:pt x="6414436" y="871611"/>
                  <a:pt x="6415214" y="875261"/>
                </a:cubicBezTo>
                <a:cubicBezTo>
                  <a:pt x="6415624" y="876819"/>
                  <a:pt x="6415910" y="878459"/>
                  <a:pt x="6416033" y="880182"/>
                </a:cubicBezTo>
                <a:cubicBezTo>
                  <a:pt x="6416197" y="881946"/>
                  <a:pt x="6416279" y="884857"/>
                  <a:pt x="6416279" y="888999"/>
                </a:cubicBezTo>
                <a:cubicBezTo>
                  <a:pt x="6416279" y="893141"/>
                  <a:pt x="6416197" y="896094"/>
                  <a:pt x="6416033" y="897899"/>
                </a:cubicBezTo>
                <a:cubicBezTo>
                  <a:pt x="6415910" y="899662"/>
                  <a:pt x="6415665" y="901344"/>
                  <a:pt x="6415378" y="902943"/>
                </a:cubicBezTo>
                <a:cubicBezTo>
                  <a:pt x="6414600" y="906593"/>
                  <a:pt x="6412840" y="909546"/>
                  <a:pt x="6410137" y="911883"/>
                </a:cubicBezTo>
                <a:cubicBezTo>
                  <a:pt x="6407435" y="914221"/>
                  <a:pt x="6403914" y="915369"/>
                  <a:pt x="6399574" y="915369"/>
                </a:cubicBezTo>
                <a:cubicBezTo>
                  <a:pt x="6395439" y="915369"/>
                  <a:pt x="6391918" y="914221"/>
                  <a:pt x="6389011" y="911883"/>
                </a:cubicBezTo>
                <a:cubicBezTo>
                  <a:pt x="6386104" y="909546"/>
                  <a:pt x="6384139" y="906593"/>
                  <a:pt x="6383156" y="902943"/>
                </a:cubicBezTo>
                <a:cubicBezTo>
                  <a:pt x="6382174" y="900441"/>
                  <a:pt x="6381682" y="895807"/>
                  <a:pt x="6381682" y="888999"/>
                </a:cubicBezTo>
                <a:cubicBezTo>
                  <a:pt x="6381682" y="882807"/>
                  <a:pt x="6382215" y="878213"/>
                  <a:pt x="6383320" y="875261"/>
                </a:cubicBezTo>
                <a:cubicBezTo>
                  <a:pt x="6384507" y="871611"/>
                  <a:pt x="6386473" y="868617"/>
                  <a:pt x="6389216" y="866279"/>
                </a:cubicBezTo>
                <a:cubicBezTo>
                  <a:pt x="6391959" y="863983"/>
                  <a:pt x="6395439" y="862793"/>
                  <a:pt x="6399574" y="862793"/>
                </a:cubicBezTo>
                <a:close/>
                <a:moveTo>
                  <a:pt x="6266622" y="862793"/>
                </a:moveTo>
                <a:cubicBezTo>
                  <a:pt x="6270945" y="862793"/>
                  <a:pt x="6274575" y="863989"/>
                  <a:pt x="6277470" y="866299"/>
                </a:cubicBezTo>
                <a:cubicBezTo>
                  <a:pt x="6280366" y="868650"/>
                  <a:pt x="6282282" y="871743"/>
                  <a:pt x="6283261" y="875620"/>
                </a:cubicBezTo>
                <a:cubicBezTo>
                  <a:pt x="6283669" y="877187"/>
                  <a:pt x="6283955" y="879620"/>
                  <a:pt x="6284159" y="882920"/>
                </a:cubicBezTo>
                <a:cubicBezTo>
                  <a:pt x="6284159" y="883291"/>
                  <a:pt x="6283955" y="883497"/>
                  <a:pt x="6283588" y="883497"/>
                </a:cubicBezTo>
                <a:cubicBezTo>
                  <a:pt x="6283588" y="883497"/>
                  <a:pt x="6283588" y="883497"/>
                  <a:pt x="6249861" y="883497"/>
                </a:cubicBezTo>
                <a:cubicBezTo>
                  <a:pt x="6249453" y="883497"/>
                  <a:pt x="6249290" y="883291"/>
                  <a:pt x="6249290" y="882920"/>
                </a:cubicBezTo>
                <a:cubicBezTo>
                  <a:pt x="6249453" y="879538"/>
                  <a:pt x="6249902" y="876733"/>
                  <a:pt x="6250595" y="874547"/>
                </a:cubicBezTo>
                <a:cubicBezTo>
                  <a:pt x="6251574" y="871001"/>
                  <a:pt x="6253450" y="868155"/>
                  <a:pt x="6256182" y="866010"/>
                </a:cubicBezTo>
                <a:cubicBezTo>
                  <a:pt x="6258955" y="863866"/>
                  <a:pt x="6262422" y="862793"/>
                  <a:pt x="6266622" y="862793"/>
                </a:cubicBezTo>
                <a:close/>
                <a:moveTo>
                  <a:pt x="5858024" y="862793"/>
                </a:moveTo>
                <a:cubicBezTo>
                  <a:pt x="5862342" y="862793"/>
                  <a:pt x="5865927" y="863989"/>
                  <a:pt x="5868819" y="866299"/>
                </a:cubicBezTo>
                <a:cubicBezTo>
                  <a:pt x="5871711" y="868650"/>
                  <a:pt x="5873666" y="871743"/>
                  <a:pt x="5874644" y="875620"/>
                </a:cubicBezTo>
                <a:cubicBezTo>
                  <a:pt x="5875051" y="877187"/>
                  <a:pt x="5875336" y="879620"/>
                  <a:pt x="5875540" y="882920"/>
                </a:cubicBezTo>
                <a:cubicBezTo>
                  <a:pt x="5875540" y="883291"/>
                  <a:pt x="5875336" y="883497"/>
                  <a:pt x="5874929" y="883497"/>
                </a:cubicBezTo>
                <a:cubicBezTo>
                  <a:pt x="5874929" y="883497"/>
                  <a:pt x="5874929" y="883497"/>
                  <a:pt x="5841282" y="883497"/>
                </a:cubicBezTo>
                <a:cubicBezTo>
                  <a:pt x="5840875" y="883497"/>
                  <a:pt x="5840671" y="883291"/>
                  <a:pt x="5840671" y="882920"/>
                </a:cubicBezTo>
                <a:cubicBezTo>
                  <a:pt x="5840875" y="879538"/>
                  <a:pt x="5841323" y="876733"/>
                  <a:pt x="5842016" y="874547"/>
                </a:cubicBezTo>
                <a:cubicBezTo>
                  <a:pt x="5842993" y="871001"/>
                  <a:pt x="5844826" y="868155"/>
                  <a:pt x="5847596" y="866010"/>
                </a:cubicBezTo>
                <a:cubicBezTo>
                  <a:pt x="5850326" y="863866"/>
                  <a:pt x="5853829" y="862793"/>
                  <a:pt x="5858024" y="862793"/>
                </a:cubicBezTo>
                <a:close/>
                <a:moveTo>
                  <a:pt x="5575961" y="862793"/>
                </a:moveTo>
                <a:cubicBezTo>
                  <a:pt x="5580318" y="862793"/>
                  <a:pt x="5583935" y="863989"/>
                  <a:pt x="5586853" y="866299"/>
                </a:cubicBezTo>
                <a:cubicBezTo>
                  <a:pt x="5589771" y="868650"/>
                  <a:pt x="5591744" y="871743"/>
                  <a:pt x="5592730" y="875620"/>
                </a:cubicBezTo>
                <a:cubicBezTo>
                  <a:pt x="5593100" y="877187"/>
                  <a:pt x="5593429" y="879620"/>
                  <a:pt x="5593593" y="882920"/>
                </a:cubicBezTo>
                <a:cubicBezTo>
                  <a:pt x="5593593" y="883291"/>
                  <a:pt x="5593429" y="883497"/>
                  <a:pt x="5593018" y="883497"/>
                </a:cubicBezTo>
                <a:cubicBezTo>
                  <a:pt x="5593018" y="883497"/>
                  <a:pt x="5593018" y="883497"/>
                  <a:pt x="5559028" y="883497"/>
                </a:cubicBezTo>
                <a:cubicBezTo>
                  <a:pt x="5558658" y="883497"/>
                  <a:pt x="5558452" y="883291"/>
                  <a:pt x="5558452" y="882920"/>
                </a:cubicBezTo>
                <a:cubicBezTo>
                  <a:pt x="5558658" y="879538"/>
                  <a:pt x="5559110" y="876733"/>
                  <a:pt x="5559767" y="874547"/>
                </a:cubicBezTo>
                <a:cubicBezTo>
                  <a:pt x="5560795" y="871001"/>
                  <a:pt x="5562644" y="868155"/>
                  <a:pt x="5565439" y="866010"/>
                </a:cubicBezTo>
                <a:cubicBezTo>
                  <a:pt x="5568193" y="863866"/>
                  <a:pt x="5571687" y="862793"/>
                  <a:pt x="5575961" y="862793"/>
                </a:cubicBezTo>
                <a:close/>
                <a:moveTo>
                  <a:pt x="5361144" y="862793"/>
                </a:moveTo>
                <a:cubicBezTo>
                  <a:pt x="5365462" y="862793"/>
                  <a:pt x="5369046" y="863989"/>
                  <a:pt x="5371939" y="866299"/>
                </a:cubicBezTo>
                <a:cubicBezTo>
                  <a:pt x="5374831" y="868650"/>
                  <a:pt x="5376786" y="871743"/>
                  <a:pt x="5377763" y="875620"/>
                </a:cubicBezTo>
                <a:cubicBezTo>
                  <a:pt x="5378130" y="877187"/>
                  <a:pt x="5378456" y="879620"/>
                  <a:pt x="5378660" y="882920"/>
                </a:cubicBezTo>
                <a:cubicBezTo>
                  <a:pt x="5378660" y="883291"/>
                  <a:pt x="5378456" y="883497"/>
                  <a:pt x="5378049" y="883497"/>
                </a:cubicBezTo>
                <a:cubicBezTo>
                  <a:pt x="5378049" y="883497"/>
                  <a:pt x="5378049" y="883497"/>
                  <a:pt x="5344361" y="883497"/>
                </a:cubicBezTo>
                <a:cubicBezTo>
                  <a:pt x="5343995" y="883497"/>
                  <a:pt x="5343791" y="883291"/>
                  <a:pt x="5343791" y="882920"/>
                </a:cubicBezTo>
                <a:cubicBezTo>
                  <a:pt x="5343995" y="879538"/>
                  <a:pt x="5344443" y="876733"/>
                  <a:pt x="5345094" y="874547"/>
                </a:cubicBezTo>
                <a:cubicBezTo>
                  <a:pt x="5346113" y="871001"/>
                  <a:pt x="5347946" y="868155"/>
                  <a:pt x="5350716" y="866010"/>
                </a:cubicBezTo>
                <a:cubicBezTo>
                  <a:pt x="5353445" y="863866"/>
                  <a:pt x="5356948" y="862793"/>
                  <a:pt x="5361144" y="862793"/>
                </a:cubicBezTo>
                <a:close/>
                <a:moveTo>
                  <a:pt x="6453434" y="851897"/>
                </a:moveTo>
                <a:cubicBezTo>
                  <a:pt x="6452455" y="851897"/>
                  <a:pt x="6451965" y="852387"/>
                  <a:pt x="6451965" y="853368"/>
                </a:cubicBezTo>
                <a:cubicBezTo>
                  <a:pt x="6451965" y="853368"/>
                  <a:pt x="6451965" y="853368"/>
                  <a:pt x="6451965" y="925339"/>
                </a:cubicBezTo>
                <a:cubicBezTo>
                  <a:pt x="6451965" y="926320"/>
                  <a:pt x="6452455" y="926810"/>
                  <a:pt x="6453434" y="926810"/>
                </a:cubicBezTo>
                <a:cubicBezTo>
                  <a:pt x="6453434" y="926810"/>
                  <a:pt x="6453434" y="926810"/>
                  <a:pt x="6464620" y="926810"/>
                </a:cubicBezTo>
                <a:cubicBezTo>
                  <a:pt x="6465599" y="926810"/>
                  <a:pt x="6466130" y="926320"/>
                  <a:pt x="6466130" y="925339"/>
                </a:cubicBezTo>
                <a:cubicBezTo>
                  <a:pt x="6466130" y="925339"/>
                  <a:pt x="6466130" y="925339"/>
                  <a:pt x="6466130" y="853368"/>
                </a:cubicBezTo>
                <a:cubicBezTo>
                  <a:pt x="6466130" y="852387"/>
                  <a:pt x="6465599" y="851897"/>
                  <a:pt x="6464620" y="851897"/>
                </a:cubicBezTo>
                <a:cubicBezTo>
                  <a:pt x="6464620" y="851897"/>
                  <a:pt x="6464620" y="851897"/>
                  <a:pt x="6453434" y="851897"/>
                </a:cubicBezTo>
                <a:close/>
                <a:moveTo>
                  <a:pt x="6080925" y="851897"/>
                </a:moveTo>
                <a:cubicBezTo>
                  <a:pt x="6080026" y="851897"/>
                  <a:pt x="6079577" y="852224"/>
                  <a:pt x="6079577" y="852918"/>
                </a:cubicBezTo>
                <a:cubicBezTo>
                  <a:pt x="6079577" y="852918"/>
                  <a:pt x="6079577" y="852918"/>
                  <a:pt x="6079740" y="853490"/>
                </a:cubicBezTo>
                <a:cubicBezTo>
                  <a:pt x="6079740" y="853490"/>
                  <a:pt x="6079740" y="853490"/>
                  <a:pt x="6104334" y="926462"/>
                </a:cubicBezTo>
                <a:cubicBezTo>
                  <a:pt x="6104456" y="926952"/>
                  <a:pt x="6104456" y="927238"/>
                  <a:pt x="6104334" y="927361"/>
                </a:cubicBezTo>
                <a:cubicBezTo>
                  <a:pt x="6102986" y="932179"/>
                  <a:pt x="6101556" y="935773"/>
                  <a:pt x="6100085" y="938182"/>
                </a:cubicBezTo>
                <a:cubicBezTo>
                  <a:pt x="6098614" y="940591"/>
                  <a:pt x="6096735" y="942225"/>
                  <a:pt x="6094488" y="943123"/>
                </a:cubicBezTo>
                <a:cubicBezTo>
                  <a:pt x="6092200" y="944021"/>
                  <a:pt x="6089096" y="944511"/>
                  <a:pt x="6085174" y="944593"/>
                </a:cubicBezTo>
                <a:cubicBezTo>
                  <a:pt x="6085174" y="944593"/>
                  <a:pt x="6085174" y="944593"/>
                  <a:pt x="6084888" y="944593"/>
                </a:cubicBezTo>
                <a:cubicBezTo>
                  <a:pt x="6083907" y="944593"/>
                  <a:pt x="6083417" y="945083"/>
                  <a:pt x="6083417" y="946063"/>
                </a:cubicBezTo>
                <a:cubicBezTo>
                  <a:pt x="6083417" y="946063"/>
                  <a:pt x="6083417" y="946063"/>
                  <a:pt x="6083417" y="954761"/>
                </a:cubicBezTo>
                <a:cubicBezTo>
                  <a:pt x="6083417" y="954761"/>
                  <a:pt x="6083417" y="954761"/>
                  <a:pt x="6083417" y="956231"/>
                </a:cubicBezTo>
                <a:lnTo>
                  <a:pt x="6084438" y="956231"/>
                </a:lnTo>
                <a:cubicBezTo>
                  <a:pt x="6084438" y="956231"/>
                  <a:pt x="6084438" y="956231"/>
                  <a:pt x="6085460" y="956231"/>
                </a:cubicBezTo>
                <a:cubicBezTo>
                  <a:pt x="6092078" y="956231"/>
                  <a:pt x="6097184" y="955537"/>
                  <a:pt x="6100820" y="954189"/>
                </a:cubicBezTo>
                <a:cubicBezTo>
                  <a:pt x="6104456" y="952801"/>
                  <a:pt x="6107398" y="950473"/>
                  <a:pt x="6109645" y="947166"/>
                </a:cubicBezTo>
                <a:cubicBezTo>
                  <a:pt x="6111932" y="943899"/>
                  <a:pt x="6114179" y="938835"/>
                  <a:pt x="6116426" y="932057"/>
                </a:cubicBezTo>
                <a:cubicBezTo>
                  <a:pt x="6116426" y="932057"/>
                  <a:pt x="6116426" y="932057"/>
                  <a:pt x="6143308" y="853490"/>
                </a:cubicBezTo>
                <a:cubicBezTo>
                  <a:pt x="6143594" y="852428"/>
                  <a:pt x="6143185" y="851897"/>
                  <a:pt x="6142123" y="851897"/>
                </a:cubicBezTo>
                <a:cubicBezTo>
                  <a:pt x="6142123" y="851897"/>
                  <a:pt x="6142123" y="851897"/>
                  <a:pt x="6130439" y="851897"/>
                </a:cubicBezTo>
                <a:cubicBezTo>
                  <a:pt x="6129581" y="851897"/>
                  <a:pt x="6128968" y="852264"/>
                  <a:pt x="6128682" y="853040"/>
                </a:cubicBezTo>
                <a:cubicBezTo>
                  <a:pt x="6128682" y="853040"/>
                  <a:pt x="6128682" y="853040"/>
                  <a:pt x="6112178" y="908617"/>
                </a:cubicBezTo>
                <a:cubicBezTo>
                  <a:pt x="6112055" y="908821"/>
                  <a:pt x="6111932" y="908944"/>
                  <a:pt x="6111728" y="908944"/>
                </a:cubicBezTo>
                <a:cubicBezTo>
                  <a:pt x="6111524" y="908944"/>
                  <a:pt x="6111361" y="908821"/>
                  <a:pt x="6111279" y="908617"/>
                </a:cubicBezTo>
                <a:cubicBezTo>
                  <a:pt x="6111279" y="908617"/>
                  <a:pt x="6111279" y="908617"/>
                  <a:pt x="6094611" y="853040"/>
                </a:cubicBezTo>
                <a:cubicBezTo>
                  <a:pt x="6094325" y="852264"/>
                  <a:pt x="6093753" y="851897"/>
                  <a:pt x="6092854" y="851897"/>
                </a:cubicBezTo>
                <a:cubicBezTo>
                  <a:pt x="6092854" y="851897"/>
                  <a:pt x="6092854" y="851897"/>
                  <a:pt x="6080925" y="851897"/>
                </a:cubicBezTo>
                <a:close/>
                <a:moveTo>
                  <a:pt x="5118109" y="851897"/>
                </a:moveTo>
                <a:cubicBezTo>
                  <a:pt x="5117089" y="851897"/>
                  <a:pt x="5116599" y="852387"/>
                  <a:pt x="5116599" y="853366"/>
                </a:cubicBezTo>
                <a:cubicBezTo>
                  <a:pt x="5116599" y="853366"/>
                  <a:pt x="5116599" y="853366"/>
                  <a:pt x="5116599" y="903613"/>
                </a:cubicBezTo>
                <a:cubicBezTo>
                  <a:pt x="5116599" y="908797"/>
                  <a:pt x="5117823" y="913206"/>
                  <a:pt x="5120313" y="916839"/>
                </a:cubicBezTo>
                <a:cubicBezTo>
                  <a:pt x="5122761" y="920512"/>
                  <a:pt x="5126025" y="923247"/>
                  <a:pt x="5130106" y="925125"/>
                </a:cubicBezTo>
                <a:cubicBezTo>
                  <a:pt x="5134186" y="926961"/>
                  <a:pt x="5138593" y="927900"/>
                  <a:pt x="5143409" y="927900"/>
                </a:cubicBezTo>
                <a:cubicBezTo>
                  <a:pt x="5151570" y="927900"/>
                  <a:pt x="5157609" y="925206"/>
                  <a:pt x="5161526" y="919818"/>
                </a:cubicBezTo>
                <a:cubicBezTo>
                  <a:pt x="5161731" y="919614"/>
                  <a:pt x="5161894" y="919533"/>
                  <a:pt x="5162057" y="919573"/>
                </a:cubicBezTo>
                <a:cubicBezTo>
                  <a:pt x="5162220" y="919614"/>
                  <a:pt x="5162261" y="919737"/>
                  <a:pt x="5162261" y="919941"/>
                </a:cubicBezTo>
                <a:cubicBezTo>
                  <a:pt x="5162261" y="919941"/>
                  <a:pt x="5162261" y="919941"/>
                  <a:pt x="5162261" y="925410"/>
                </a:cubicBezTo>
                <a:cubicBezTo>
                  <a:pt x="5162261" y="926390"/>
                  <a:pt x="5162751" y="926880"/>
                  <a:pt x="5163771" y="926880"/>
                </a:cubicBezTo>
                <a:cubicBezTo>
                  <a:pt x="5163771" y="926880"/>
                  <a:pt x="5163771" y="926880"/>
                  <a:pt x="5174789" y="926880"/>
                </a:cubicBezTo>
                <a:cubicBezTo>
                  <a:pt x="5175768" y="926880"/>
                  <a:pt x="5176257" y="926390"/>
                  <a:pt x="5176257" y="925410"/>
                </a:cubicBezTo>
                <a:cubicBezTo>
                  <a:pt x="5176257" y="925410"/>
                  <a:pt x="5176257" y="925410"/>
                  <a:pt x="5176257" y="853366"/>
                </a:cubicBezTo>
                <a:cubicBezTo>
                  <a:pt x="5176257" y="852387"/>
                  <a:pt x="5175768" y="851897"/>
                  <a:pt x="5174789" y="851897"/>
                </a:cubicBezTo>
                <a:cubicBezTo>
                  <a:pt x="5174789" y="851897"/>
                  <a:pt x="5174789" y="851897"/>
                  <a:pt x="5163771" y="851897"/>
                </a:cubicBezTo>
                <a:cubicBezTo>
                  <a:pt x="5162751" y="851897"/>
                  <a:pt x="5162261" y="852387"/>
                  <a:pt x="5162261" y="853366"/>
                </a:cubicBezTo>
                <a:cubicBezTo>
                  <a:pt x="5162261" y="853366"/>
                  <a:pt x="5162261" y="853366"/>
                  <a:pt x="5162261" y="899164"/>
                </a:cubicBezTo>
                <a:cubicBezTo>
                  <a:pt x="5162261" y="904185"/>
                  <a:pt x="5160792" y="908185"/>
                  <a:pt x="5157854" y="911165"/>
                </a:cubicBezTo>
                <a:cubicBezTo>
                  <a:pt x="5154916" y="914185"/>
                  <a:pt x="5150998" y="915696"/>
                  <a:pt x="5146061" y="915696"/>
                </a:cubicBezTo>
                <a:cubicBezTo>
                  <a:pt x="5141165" y="915696"/>
                  <a:pt x="5137369" y="914185"/>
                  <a:pt x="5134676" y="911246"/>
                </a:cubicBezTo>
                <a:cubicBezTo>
                  <a:pt x="5131942" y="908308"/>
                  <a:pt x="5130595" y="904267"/>
                  <a:pt x="5130595" y="899164"/>
                </a:cubicBezTo>
                <a:cubicBezTo>
                  <a:pt x="5130595" y="899164"/>
                  <a:pt x="5130595" y="899164"/>
                  <a:pt x="5130595" y="853366"/>
                </a:cubicBezTo>
                <a:cubicBezTo>
                  <a:pt x="5130595" y="852387"/>
                  <a:pt x="5130106" y="851897"/>
                  <a:pt x="5129127" y="851897"/>
                </a:cubicBezTo>
                <a:cubicBezTo>
                  <a:pt x="5129127" y="851897"/>
                  <a:pt x="5129127" y="851897"/>
                  <a:pt x="5118109" y="851897"/>
                </a:cubicBezTo>
                <a:close/>
                <a:moveTo>
                  <a:pt x="6349626" y="851080"/>
                </a:moveTo>
                <a:cubicBezTo>
                  <a:pt x="6341971" y="851080"/>
                  <a:pt x="6335945" y="854548"/>
                  <a:pt x="6331547" y="861403"/>
                </a:cubicBezTo>
                <a:cubicBezTo>
                  <a:pt x="6331425" y="861607"/>
                  <a:pt x="6331303" y="861689"/>
                  <a:pt x="6331181" y="861648"/>
                </a:cubicBezTo>
                <a:cubicBezTo>
                  <a:pt x="6331018" y="861566"/>
                  <a:pt x="6330936" y="861403"/>
                  <a:pt x="6330936" y="861117"/>
                </a:cubicBezTo>
                <a:cubicBezTo>
                  <a:pt x="6330936" y="861117"/>
                  <a:pt x="6330936" y="861117"/>
                  <a:pt x="6330936" y="853324"/>
                </a:cubicBezTo>
                <a:cubicBezTo>
                  <a:pt x="6330936" y="852345"/>
                  <a:pt x="6330448" y="851855"/>
                  <a:pt x="6329470" y="851855"/>
                </a:cubicBezTo>
                <a:cubicBezTo>
                  <a:pt x="6329470" y="851855"/>
                  <a:pt x="6329470" y="851855"/>
                  <a:pt x="6318314" y="851855"/>
                </a:cubicBezTo>
                <a:cubicBezTo>
                  <a:pt x="6317337" y="851855"/>
                  <a:pt x="6316848" y="852345"/>
                  <a:pt x="6316848" y="853324"/>
                </a:cubicBezTo>
                <a:cubicBezTo>
                  <a:pt x="6316848" y="853324"/>
                  <a:pt x="6316848" y="853324"/>
                  <a:pt x="6316848" y="925341"/>
                </a:cubicBezTo>
                <a:cubicBezTo>
                  <a:pt x="6316848" y="926321"/>
                  <a:pt x="6317337" y="926810"/>
                  <a:pt x="6318314" y="926810"/>
                </a:cubicBezTo>
                <a:cubicBezTo>
                  <a:pt x="6318314" y="926810"/>
                  <a:pt x="6318314" y="926810"/>
                  <a:pt x="6329470" y="926810"/>
                </a:cubicBezTo>
                <a:cubicBezTo>
                  <a:pt x="6330448" y="926810"/>
                  <a:pt x="6330936" y="926321"/>
                  <a:pt x="6330936" y="925341"/>
                </a:cubicBezTo>
                <a:cubicBezTo>
                  <a:pt x="6330936" y="925341"/>
                  <a:pt x="6330936" y="925341"/>
                  <a:pt x="6330936" y="882335"/>
                </a:cubicBezTo>
                <a:cubicBezTo>
                  <a:pt x="6330936" y="877520"/>
                  <a:pt x="6332443" y="873603"/>
                  <a:pt x="6335415" y="870624"/>
                </a:cubicBezTo>
                <a:cubicBezTo>
                  <a:pt x="6338428" y="867605"/>
                  <a:pt x="6342215" y="866014"/>
                  <a:pt x="6346816" y="865850"/>
                </a:cubicBezTo>
                <a:cubicBezTo>
                  <a:pt x="6346816" y="865850"/>
                  <a:pt x="6346816" y="865850"/>
                  <a:pt x="6348893" y="865687"/>
                </a:cubicBezTo>
                <a:cubicBezTo>
                  <a:pt x="6351132" y="865687"/>
                  <a:pt x="6353087" y="866014"/>
                  <a:pt x="6354756" y="866707"/>
                </a:cubicBezTo>
                <a:cubicBezTo>
                  <a:pt x="6355855" y="866993"/>
                  <a:pt x="6356425" y="866707"/>
                  <a:pt x="6356507" y="865850"/>
                </a:cubicBezTo>
                <a:cubicBezTo>
                  <a:pt x="6356507" y="865850"/>
                  <a:pt x="6356507" y="865850"/>
                  <a:pt x="6358868" y="854793"/>
                </a:cubicBezTo>
                <a:cubicBezTo>
                  <a:pt x="6359072" y="853895"/>
                  <a:pt x="6358828" y="853324"/>
                  <a:pt x="6358136" y="852997"/>
                </a:cubicBezTo>
                <a:cubicBezTo>
                  <a:pt x="6355611" y="851733"/>
                  <a:pt x="6352761" y="851080"/>
                  <a:pt x="6349626" y="851080"/>
                </a:cubicBezTo>
                <a:close/>
                <a:moveTo>
                  <a:pt x="6044456" y="851080"/>
                </a:moveTo>
                <a:cubicBezTo>
                  <a:pt x="6035914" y="851080"/>
                  <a:pt x="6029048" y="853043"/>
                  <a:pt x="6023898" y="856929"/>
                </a:cubicBezTo>
                <a:cubicBezTo>
                  <a:pt x="6018707" y="860815"/>
                  <a:pt x="6016132" y="866051"/>
                  <a:pt x="6016132" y="872678"/>
                </a:cubicBezTo>
                <a:cubicBezTo>
                  <a:pt x="6016132" y="877382"/>
                  <a:pt x="6017440" y="881227"/>
                  <a:pt x="6020056" y="884254"/>
                </a:cubicBezTo>
                <a:cubicBezTo>
                  <a:pt x="6022672" y="887240"/>
                  <a:pt x="6025859" y="889572"/>
                  <a:pt x="6029620" y="891208"/>
                </a:cubicBezTo>
                <a:cubicBezTo>
                  <a:pt x="6033421" y="892803"/>
                  <a:pt x="6038121" y="894398"/>
                  <a:pt x="6043720" y="895994"/>
                </a:cubicBezTo>
                <a:cubicBezTo>
                  <a:pt x="6049442" y="897548"/>
                  <a:pt x="6053570" y="899062"/>
                  <a:pt x="6056145" y="900493"/>
                </a:cubicBezTo>
                <a:cubicBezTo>
                  <a:pt x="6058679" y="901925"/>
                  <a:pt x="6059946" y="904052"/>
                  <a:pt x="6059946" y="906916"/>
                </a:cubicBezTo>
                <a:cubicBezTo>
                  <a:pt x="6059946" y="909861"/>
                  <a:pt x="6058597" y="912315"/>
                  <a:pt x="6055818" y="914238"/>
                </a:cubicBezTo>
                <a:cubicBezTo>
                  <a:pt x="6053080" y="916160"/>
                  <a:pt x="6049483" y="917101"/>
                  <a:pt x="6045069" y="917101"/>
                </a:cubicBezTo>
                <a:cubicBezTo>
                  <a:pt x="6040451" y="917101"/>
                  <a:pt x="6036609" y="916078"/>
                  <a:pt x="6033625" y="913992"/>
                </a:cubicBezTo>
                <a:cubicBezTo>
                  <a:pt x="6030642" y="911947"/>
                  <a:pt x="6029129" y="909533"/>
                  <a:pt x="6029129" y="906752"/>
                </a:cubicBezTo>
                <a:cubicBezTo>
                  <a:pt x="6029129" y="906752"/>
                  <a:pt x="6029129" y="906752"/>
                  <a:pt x="6029129" y="906016"/>
                </a:cubicBezTo>
                <a:cubicBezTo>
                  <a:pt x="6029129" y="905034"/>
                  <a:pt x="6028639" y="904543"/>
                  <a:pt x="6027658" y="904543"/>
                </a:cubicBezTo>
                <a:cubicBezTo>
                  <a:pt x="6027658" y="904543"/>
                  <a:pt x="6027658" y="904543"/>
                  <a:pt x="6017031" y="904543"/>
                </a:cubicBezTo>
                <a:cubicBezTo>
                  <a:pt x="6016050" y="904543"/>
                  <a:pt x="6015560" y="905034"/>
                  <a:pt x="6015560" y="906016"/>
                </a:cubicBezTo>
                <a:cubicBezTo>
                  <a:pt x="6015560" y="906016"/>
                  <a:pt x="6015560" y="906016"/>
                  <a:pt x="6015560" y="907652"/>
                </a:cubicBezTo>
                <a:cubicBezTo>
                  <a:pt x="6015560" y="911374"/>
                  <a:pt x="6016786" y="914810"/>
                  <a:pt x="6019238" y="917919"/>
                </a:cubicBezTo>
                <a:cubicBezTo>
                  <a:pt x="6021691" y="921028"/>
                  <a:pt x="6025165" y="923441"/>
                  <a:pt x="6029620" y="925241"/>
                </a:cubicBezTo>
                <a:cubicBezTo>
                  <a:pt x="6034116" y="927000"/>
                  <a:pt x="6039306" y="927900"/>
                  <a:pt x="6045192" y="927900"/>
                </a:cubicBezTo>
                <a:cubicBezTo>
                  <a:pt x="6053979" y="927900"/>
                  <a:pt x="6060968" y="925896"/>
                  <a:pt x="6066240" y="921969"/>
                </a:cubicBezTo>
                <a:cubicBezTo>
                  <a:pt x="6071472" y="918042"/>
                  <a:pt x="6074129" y="912724"/>
                  <a:pt x="6074129" y="906016"/>
                </a:cubicBezTo>
                <a:cubicBezTo>
                  <a:pt x="6074129" y="901189"/>
                  <a:pt x="6072780" y="897303"/>
                  <a:pt x="6070123" y="894276"/>
                </a:cubicBezTo>
                <a:cubicBezTo>
                  <a:pt x="6067466" y="891290"/>
                  <a:pt x="6064279" y="889040"/>
                  <a:pt x="6060478" y="887485"/>
                </a:cubicBezTo>
                <a:cubicBezTo>
                  <a:pt x="6056677" y="885972"/>
                  <a:pt x="6051936" y="884418"/>
                  <a:pt x="6046254" y="882863"/>
                </a:cubicBezTo>
                <a:cubicBezTo>
                  <a:pt x="6040451" y="881186"/>
                  <a:pt x="6036241" y="879591"/>
                  <a:pt x="6033625" y="878118"/>
                </a:cubicBezTo>
                <a:cubicBezTo>
                  <a:pt x="6031009" y="876645"/>
                  <a:pt x="6029701" y="874478"/>
                  <a:pt x="6029701" y="871614"/>
                </a:cubicBezTo>
                <a:cubicBezTo>
                  <a:pt x="6029701" y="868751"/>
                  <a:pt x="6031050" y="866501"/>
                  <a:pt x="6033748" y="864824"/>
                </a:cubicBezTo>
                <a:cubicBezTo>
                  <a:pt x="6036486" y="863147"/>
                  <a:pt x="6040001" y="862329"/>
                  <a:pt x="6044333" y="862329"/>
                </a:cubicBezTo>
                <a:cubicBezTo>
                  <a:pt x="6049156" y="862329"/>
                  <a:pt x="6052957" y="863269"/>
                  <a:pt x="6055737" y="865192"/>
                </a:cubicBezTo>
                <a:cubicBezTo>
                  <a:pt x="6058557" y="867115"/>
                  <a:pt x="6059946" y="869487"/>
                  <a:pt x="6059946" y="872350"/>
                </a:cubicBezTo>
                <a:cubicBezTo>
                  <a:pt x="6059946" y="872350"/>
                  <a:pt x="6059946" y="872350"/>
                  <a:pt x="6059946" y="872800"/>
                </a:cubicBezTo>
                <a:cubicBezTo>
                  <a:pt x="6059946" y="873782"/>
                  <a:pt x="6060437" y="874273"/>
                  <a:pt x="6061418" y="874273"/>
                </a:cubicBezTo>
                <a:cubicBezTo>
                  <a:pt x="6061418" y="874273"/>
                  <a:pt x="6061418" y="874273"/>
                  <a:pt x="6071758" y="874273"/>
                </a:cubicBezTo>
                <a:cubicBezTo>
                  <a:pt x="6072739" y="874273"/>
                  <a:pt x="6073230" y="873782"/>
                  <a:pt x="6073230" y="872800"/>
                </a:cubicBezTo>
                <a:cubicBezTo>
                  <a:pt x="6073230" y="872800"/>
                  <a:pt x="6073230" y="872800"/>
                  <a:pt x="6073230" y="872350"/>
                </a:cubicBezTo>
                <a:cubicBezTo>
                  <a:pt x="6073230" y="868342"/>
                  <a:pt x="6072044" y="864660"/>
                  <a:pt x="6069714" y="861429"/>
                </a:cubicBezTo>
                <a:cubicBezTo>
                  <a:pt x="6067344" y="858197"/>
                  <a:pt x="6063952" y="855661"/>
                  <a:pt x="6059578" y="853820"/>
                </a:cubicBezTo>
                <a:cubicBezTo>
                  <a:pt x="6055205" y="852020"/>
                  <a:pt x="6050178" y="851080"/>
                  <a:pt x="6044456" y="851080"/>
                </a:cubicBezTo>
                <a:close/>
                <a:moveTo>
                  <a:pt x="5444066" y="851080"/>
                </a:moveTo>
                <a:cubicBezTo>
                  <a:pt x="5436402" y="851080"/>
                  <a:pt x="5430337" y="854548"/>
                  <a:pt x="5425870" y="861403"/>
                </a:cubicBezTo>
                <a:cubicBezTo>
                  <a:pt x="5425788" y="861607"/>
                  <a:pt x="5425666" y="861689"/>
                  <a:pt x="5425502" y="861648"/>
                </a:cubicBezTo>
                <a:cubicBezTo>
                  <a:pt x="5425379" y="861566"/>
                  <a:pt x="5425297" y="861403"/>
                  <a:pt x="5425297" y="861117"/>
                </a:cubicBezTo>
                <a:cubicBezTo>
                  <a:pt x="5425297" y="861117"/>
                  <a:pt x="5425297" y="861117"/>
                  <a:pt x="5425297" y="853324"/>
                </a:cubicBezTo>
                <a:cubicBezTo>
                  <a:pt x="5425297" y="852345"/>
                  <a:pt x="5424805" y="851855"/>
                  <a:pt x="5423822" y="851855"/>
                </a:cubicBezTo>
                <a:cubicBezTo>
                  <a:pt x="5423822" y="851855"/>
                  <a:pt x="5423822" y="851855"/>
                  <a:pt x="5412552" y="851855"/>
                </a:cubicBezTo>
                <a:cubicBezTo>
                  <a:pt x="5411568" y="851855"/>
                  <a:pt x="5411077" y="852345"/>
                  <a:pt x="5411077" y="853324"/>
                </a:cubicBezTo>
                <a:cubicBezTo>
                  <a:pt x="5411077" y="853324"/>
                  <a:pt x="5411077" y="853324"/>
                  <a:pt x="5411077" y="925341"/>
                </a:cubicBezTo>
                <a:cubicBezTo>
                  <a:pt x="5411077" y="926321"/>
                  <a:pt x="5411568" y="926810"/>
                  <a:pt x="5412552" y="926810"/>
                </a:cubicBezTo>
                <a:cubicBezTo>
                  <a:pt x="5412552" y="926810"/>
                  <a:pt x="5412552" y="926810"/>
                  <a:pt x="5423822" y="926810"/>
                </a:cubicBezTo>
                <a:cubicBezTo>
                  <a:pt x="5424805" y="926810"/>
                  <a:pt x="5425297" y="926321"/>
                  <a:pt x="5425297" y="925341"/>
                </a:cubicBezTo>
                <a:cubicBezTo>
                  <a:pt x="5425297" y="925341"/>
                  <a:pt x="5425297" y="925341"/>
                  <a:pt x="5425297" y="882335"/>
                </a:cubicBezTo>
                <a:cubicBezTo>
                  <a:pt x="5425297" y="877520"/>
                  <a:pt x="5426772" y="873603"/>
                  <a:pt x="5429805" y="870624"/>
                </a:cubicBezTo>
                <a:cubicBezTo>
                  <a:pt x="5432796" y="867605"/>
                  <a:pt x="5436648" y="866014"/>
                  <a:pt x="5441279" y="865850"/>
                </a:cubicBezTo>
                <a:cubicBezTo>
                  <a:pt x="5441279" y="865850"/>
                  <a:pt x="5441279" y="865850"/>
                  <a:pt x="5443328" y="865687"/>
                </a:cubicBezTo>
                <a:cubicBezTo>
                  <a:pt x="5445623" y="865687"/>
                  <a:pt x="5447590" y="866014"/>
                  <a:pt x="5449270" y="866707"/>
                </a:cubicBezTo>
                <a:cubicBezTo>
                  <a:pt x="5450336" y="866993"/>
                  <a:pt x="5450951" y="866707"/>
                  <a:pt x="5451032" y="865850"/>
                </a:cubicBezTo>
                <a:cubicBezTo>
                  <a:pt x="5451032" y="865850"/>
                  <a:pt x="5451032" y="865850"/>
                  <a:pt x="5453409" y="854793"/>
                </a:cubicBezTo>
                <a:cubicBezTo>
                  <a:pt x="5453573" y="853895"/>
                  <a:pt x="5453327" y="853324"/>
                  <a:pt x="5452672" y="852997"/>
                </a:cubicBezTo>
                <a:cubicBezTo>
                  <a:pt x="5450090" y="851733"/>
                  <a:pt x="5447221" y="851080"/>
                  <a:pt x="5444066" y="851080"/>
                </a:cubicBezTo>
                <a:close/>
                <a:moveTo>
                  <a:pt x="6602291" y="850807"/>
                </a:moveTo>
                <a:cubicBezTo>
                  <a:pt x="6594048" y="850807"/>
                  <a:pt x="6587804" y="853500"/>
                  <a:pt x="6583561" y="858926"/>
                </a:cubicBezTo>
                <a:cubicBezTo>
                  <a:pt x="6583479" y="859130"/>
                  <a:pt x="6583357" y="859170"/>
                  <a:pt x="6583193" y="859048"/>
                </a:cubicBezTo>
                <a:cubicBezTo>
                  <a:pt x="6583071" y="858967"/>
                  <a:pt x="6582989" y="858803"/>
                  <a:pt x="6582989" y="858640"/>
                </a:cubicBezTo>
                <a:cubicBezTo>
                  <a:pt x="6582989" y="858640"/>
                  <a:pt x="6582989" y="858640"/>
                  <a:pt x="6582989" y="853337"/>
                </a:cubicBezTo>
                <a:cubicBezTo>
                  <a:pt x="6582989" y="852357"/>
                  <a:pt x="6582500" y="851868"/>
                  <a:pt x="6581520" y="851868"/>
                </a:cubicBezTo>
                <a:cubicBezTo>
                  <a:pt x="6581520" y="851868"/>
                  <a:pt x="6581520" y="851868"/>
                  <a:pt x="6570340" y="851868"/>
                </a:cubicBezTo>
                <a:cubicBezTo>
                  <a:pt x="6569360" y="851868"/>
                  <a:pt x="6568830" y="852357"/>
                  <a:pt x="6568830" y="853337"/>
                </a:cubicBezTo>
                <a:cubicBezTo>
                  <a:pt x="6568830" y="853337"/>
                  <a:pt x="6568830" y="853337"/>
                  <a:pt x="6568830" y="925342"/>
                </a:cubicBezTo>
                <a:cubicBezTo>
                  <a:pt x="6568830" y="926321"/>
                  <a:pt x="6569360" y="926810"/>
                  <a:pt x="6570340" y="926810"/>
                </a:cubicBezTo>
                <a:cubicBezTo>
                  <a:pt x="6570340" y="926810"/>
                  <a:pt x="6570340" y="926810"/>
                  <a:pt x="6581520" y="926810"/>
                </a:cubicBezTo>
                <a:cubicBezTo>
                  <a:pt x="6582500" y="926810"/>
                  <a:pt x="6582989" y="926321"/>
                  <a:pt x="6582989" y="925342"/>
                </a:cubicBezTo>
                <a:cubicBezTo>
                  <a:pt x="6582989" y="925342"/>
                  <a:pt x="6582989" y="925342"/>
                  <a:pt x="6582989" y="879405"/>
                </a:cubicBezTo>
                <a:cubicBezTo>
                  <a:pt x="6582989" y="874592"/>
                  <a:pt x="6584458" y="870634"/>
                  <a:pt x="6587396" y="867615"/>
                </a:cubicBezTo>
                <a:cubicBezTo>
                  <a:pt x="6590375" y="864556"/>
                  <a:pt x="6594129" y="863046"/>
                  <a:pt x="6598740" y="863046"/>
                </a:cubicBezTo>
                <a:cubicBezTo>
                  <a:pt x="6603474" y="863046"/>
                  <a:pt x="6607228" y="864556"/>
                  <a:pt x="6610085" y="867615"/>
                </a:cubicBezTo>
                <a:cubicBezTo>
                  <a:pt x="6612941" y="870634"/>
                  <a:pt x="6614369" y="874632"/>
                  <a:pt x="6614369" y="879528"/>
                </a:cubicBezTo>
                <a:cubicBezTo>
                  <a:pt x="6614369" y="879528"/>
                  <a:pt x="6614369" y="879528"/>
                  <a:pt x="6614369" y="925342"/>
                </a:cubicBezTo>
                <a:cubicBezTo>
                  <a:pt x="6614369" y="926321"/>
                  <a:pt x="6614859" y="926810"/>
                  <a:pt x="6615838" y="926810"/>
                </a:cubicBezTo>
                <a:cubicBezTo>
                  <a:pt x="6615838" y="926810"/>
                  <a:pt x="6615838" y="926810"/>
                  <a:pt x="6627019" y="926810"/>
                </a:cubicBezTo>
                <a:cubicBezTo>
                  <a:pt x="6627998" y="926810"/>
                  <a:pt x="6628488" y="926321"/>
                  <a:pt x="6628488" y="925342"/>
                </a:cubicBezTo>
                <a:cubicBezTo>
                  <a:pt x="6628488" y="925342"/>
                  <a:pt x="6628488" y="925342"/>
                  <a:pt x="6628488" y="876754"/>
                </a:cubicBezTo>
                <a:cubicBezTo>
                  <a:pt x="6628488" y="868798"/>
                  <a:pt x="6626162" y="862475"/>
                  <a:pt x="6621429" y="857824"/>
                </a:cubicBezTo>
                <a:cubicBezTo>
                  <a:pt x="6616736" y="853133"/>
                  <a:pt x="6610329" y="850807"/>
                  <a:pt x="6602291" y="850807"/>
                </a:cubicBezTo>
                <a:close/>
                <a:moveTo>
                  <a:pt x="6518604" y="850807"/>
                </a:moveTo>
                <a:cubicBezTo>
                  <a:pt x="6511025" y="850807"/>
                  <a:pt x="6504627" y="852764"/>
                  <a:pt x="6499330" y="856677"/>
                </a:cubicBezTo>
                <a:cubicBezTo>
                  <a:pt x="6494033" y="860590"/>
                  <a:pt x="6490488" y="865930"/>
                  <a:pt x="6488736" y="872737"/>
                </a:cubicBezTo>
                <a:cubicBezTo>
                  <a:pt x="6487636" y="876446"/>
                  <a:pt x="6487106" y="881908"/>
                  <a:pt x="6487106" y="889041"/>
                </a:cubicBezTo>
                <a:cubicBezTo>
                  <a:pt x="6487106" y="897275"/>
                  <a:pt x="6488288" y="904286"/>
                  <a:pt x="6490651" y="910074"/>
                </a:cubicBezTo>
                <a:cubicBezTo>
                  <a:pt x="6493096" y="915863"/>
                  <a:pt x="6496763" y="920346"/>
                  <a:pt x="6501653" y="923485"/>
                </a:cubicBezTo>
                <a:cubicBezTo>
                  <a:pt x="6506583" y="926624"/>
                  <a:pt x="6512614" y="928172"/>
                  <a:pt x="6519745" y="928172"/>
                </a:cubicBezTo>
                <a:cubicBezTo>
                  <a:pt x="6526142" y="928172"/>
                  <a:pt x="6531847" y="926909"/>
                  <a:pt x="6536900" y="924341"/>
                </a:cubicBezTo>
                <a:cubicBezTo>
                  <a:pt x="6541952" y="921814"/>
                  <a:pt x="6545864" y="918349"/>
                  <a:pt x="6548594" y="913906"/>
                </a:cubicBezTo>
                <a:cubicBezTo>
                  <a:pt x="6549002" y="913213"/>
                  <a:pt x="6548838" y="912602"/>
                  <a:pt x="6548146" y="911990"/>
                </a:cubicBezTo>
                <a:cubicBezTo>
                  <a:pt x="6548146" y="911990"/>
                  <a:pt x="6548146" y="911990"/>
                  <a:pt x="6539752" y="906406"/>
                </a:cubicBezTo>
                <a:cubicBezTo>
                  <a:pt x="6538978" y="905713"/>
                  <a:pt x="6538326" y="905876"/>
                  <a:pt x="6537837" y="906854"/>
                </a:cubicBezTo>
                <a:cubicBezTo>
                  <a:pt x="6533925" y="912846"/>
                  <a:pt x="6528342" y="915822"/>
                  <a:pt x="6521089" y="915822"/>
                </a:cubicBezTo>
                <a:cubicBezTo>
                  <a:pt x="6516078" y="915822"/>
                  <a:pt x="6511962" y="914721"/>
                  <a:pt x="6508661" y="912520"/>
                </a:cubicBezTo>
                <a:cubicBezTo>
                  <a:pt x="6505361" y="910319"/>
                  <a:pt x="6503201" y="907262"/>
                  <a:pt x="6502101" y="903308"/>
                </a:cubicBezTo>
                <a:cubicBezTo>
                  <a:pt x="6501531" y="901555"/>
                  <a:pt x="6501245" y="898987"/>
                  <a:pt x="6501245" y="895686"/>
                </a:cubicBezTo>
                <a:cubicBezTo>
                  <a:pt x="6501245" y="895278"/>
                  <a:pt x="6501408" y="895074"/>
                  <a:pt x="6501816" y="895074"/>
                </a:cubicBezTo>
                <a:cubicBezTo>
                  <a:pt x="6501816" y="895074"/>
                  <a:pt x="6501816" y="895074"/>
                  <a:pt x="6548757" y="895074"/>
                </a:cubicBezTo>
                <a:cubicBezTo>
                  <a:pt x="6549735" y="895074"/>
                  <a:pt x="6550224" y="894585"/>
                  <a:pt x="6550224" y="893607"/>
                </a:cubicBezTo>
                <a:cubicBezTo>
                  <a:pt x="6550306" y="888593"/>
                  <a:pt x="6550183" y="884109"/>
                  <a:pt x="6549776" y="880074"/>
                </a:cubicBezTo>
                <a:cubicBezTo>
                  <a:pt x="6548676" y="870454"/>
                  <a:pt x="6545701" y="863199"/>
                  <a:pt x="6540811" y="858226"/>
                </a:cubicBezTo>
                <a:cubicBezTo>
                  <a:pt x="6535881" y="853253"/>
                  <a:pt x="6528506" y="850807"/>
                  <a:pt x="6518604" y="850807"/>
                </a:cubicBezTo>
                <a:close/>
                <a:moveTo>
                  <a:pt x="6396278" y="850807"/>
                </a:moveTo>
                <a:cubicBezTo>
                  <a:pt x="6389786" y="850807"/>
                  <a:pt x="6384150" y="852603"/>
                  <a:pt x="6379413" y="856152"/>
                </a:cubicBezTo>
                <a:cubicBezTo>
                  <a:pt x="6374636" y="859742"/>
                  <a:pt x="6371328" y="864475"/>
                  <a:pt x="6369449" y="870391"/>
                </a:cubicBezTo>
                <a:cubicBezTo>
                  <a:pt x="6367979" y="874797"/>
                  <a:pt x="6367244" y="881080"/>
                  <a:pt x="6367244" y="889240"/>
                </a:cubicBezTo>
                <a:cubicBezTo>
                  <a:pt x="6367244" y="896910"/>
                  <a:pt x="6367898" y="902867"/>
                  <a:pt x="6369164" y="907191"/>
                </a:cubicBezTo>
                <a:cubicBezTo>
                  <a:pt x="6371124" y="913678"/>
                  <a:pt x="6374676" y="918574"/>
                  <a:pt x="6379822" y="921919"/>
                </a:cubicBezTo>
                <a:cubicBezTo>
                  <a:pt x="6385008" y="925265"/>
                  <a:pt x="6390766" y="926938"/>
                  <a:pt x="6397177" y="926938"/>
                </a:cubicBezTo>
                <a:cubicBezTo>
                  <a:pt x="6405140" y="926938"/>
                  <a:pt x="6411183" y="924530"/>
                  <a:pt x="6415308" y="919716"/>
                </a:cubicBezTo>
                <a:cubicBezTo>
                  <a:pt x="6415512" y="919512"/>
                  <a:pt x="6415675" y="919472"/>
                  <a:pt x="6415798" y="919553"/>
                </a:cubicBezTo>
                <a:cubicBezTo>
                  <a:pt x="6415961" y="919675"/>
                  <a:pt x="6416043" y="919798"/>
                  <a:pt x="6416043" y="920002"/>
                </a:cubicBezTo>
                <a:cubicBezTo>
                  <a:pt x="6416043" y="920002"/>
                  <a:pt x="6416043" y="920002"/>
                  <a:pt x="6416043" y="922654"/>
                </a:cubicBezTo>
                <a:cubicBezTo>
                  <a:pt x="6416043" y="930039"/>
                  <a:pt x="6414164" y="935261"/>
                  <a:pt x="6410448" y="938361"/>
                </a:cubicBezTo>
                <a:cubicBezTo>
                  <a:pt x="6406691" y="941462"/>
                  <a:pt x="6400648" y="942972"/>
                  <a:pt x="6392317" y="942972"/>
                </a:cubicBezTo>
                <a:cubicBezTo>
                  <a:pt x="6389663" y="942972"/>
                  <a:pt x="6387621" y="942931"/>
                  <a:pt x="6386274" y="942849"/>
                </a:cubicBezTo>
                <a:cubicBezTo>
                  <a:pt x="6385743" y="942727"/>
                  <a:pt x="6385375" y="942849"/>
                  <a:pt x="6385089" y="943135"/>
                </a:cubicBezTo>
                <a:cubicBezTo>
                  <a:pt x="6384804" y="943420"/>
                  <a:pt x="6384640" y="943788"/>
                  <a:pt x="6384640" y="944155"/>
                </a:cubicBezTo>
                <a:cubicBezTo>
                  <a:pt x="6384640" y="944155"/>
                  <a:pt x="6384640" y="944155"/>
                  <a:pt x="6384191" y="954314"/>
                </a:cubicBezTo>
                <a:cubicBezTo>
                  <a:pt x="6384191" y="955293"/>
                  <a:pt x="6384681" y="955864"/>
                  <a:pt x="6385661" y="955946"/>
                </a:cubicBezTo>
                <a:cubicBezTo>
                  <a:pt x="6389010" y="956150"/>
                  <a:pt x="6391460" y="956231"/>
                  <a:pt x="6393052" y="956231"/>
                </a:cubicBezTo>
                <a:cubicBezTo>
                  <a:pt x="6404323" y="956231"/>
                  <a:pt x="6413348" y="953702"/>
                  <a:pt x="6420085" y="948602"/>
                </a:cubicBezTo>
                <a:cubicBezTo>
                  <a:pt x="6426823" y="943461"/>
                  <a:pt x="6430172" y="934975"/>
                  <a:pt x="6430172" y="923103"/>
                </a:cubicBezTo>
                <a:cubicBezTo>
                  <a:pt x="6430172" y="923103"/>
                  <a:pt x="6430172" y="923103"/>
                  <a:pt x="6430172" y="853459"/>
                </a:cubicBezTo>
                <a:cubicBezTo>
                  <a:pt x="6430172" y="852480"/>
                  <a:pt x="6429682" y="851990"/>
                  <a:pt x="6428702" y="851990"/>
                </a:cubicBezTo>
                <a:cubicBezTo>
                  <a:pt x="6428702" y="851990"/>
                  <a:pt x="6428702" y="851990"/>
                  <a:pt x="6417513" y="851990"/>
                </a:cubicBezTo>
                <a:cubicBezTo>
                  <a:pt x="6416533" y="851990"/>
                  <a:pt x="6416043" y="852480"/>
                  <a:pt x="6416043" y="853459"/>
                </a:cubicBezTo>
                <a:cubicBezTo>
                  <a:pt x="6416043" y="853459"/>
                  <a:pt x="6416043" y="853459"/>
                  <a:pt x="6416043" y="858029"/>
                </a:cubicBezTo>
                <a:cubicBezTo>
                  <a:pt x="6416043" y="858192"/>
                  <a:pt x="6415961" y="858314"/>
                  <a:pt x="6415798" y="858396"/>
                </a:cubicBezTo>
                <a:cubicBezTo>
                  <a:pt x="6415675" y="858437"/>
                  <a:pt x="6415512" y="858355"/>
                  <a:pt x="6415308" y="858151"/>
                </a:cubicBezTo>
                <a:cubicBezTo>
                  <a:pt x="6410693" y="853255"/>
                  <a:pt x="6404323" y="850807"/>
                  <a:pt x="6396278" y="850807"/>
                </a:cubicBezTo>
                <a:close/>
                <a:moveTo>
                  <a:pt x="6266717" y="850807"/>
                </a:moveTo>
                <a:cubicBezTo>
                  <a:pt x="6259146" y="850807"/>
                  <a:pt x="6252721" y="852764"/>
                  <a:pt x="6247401" y="856677"/>
                </a:cubicBezTo>
                <a:cubicBezTo>
                  <a:pt x="6242081" y="860590"/>
                  <a:pt x="6238521" y="865930"/>
                  <a:pt x="6236761" y="872737"/>
                </a:cubicBezTo>
                <a:cubicBezTo>
                  <a:pt x="6235656" y="876446"/>
                  <a:pt x="6235124" y="881908"/>
                  <a:pt x="6235124" y="889041"/>
                </a:cubicBezTo>
                <a:cubicBezTo>
                  <a:pt x="6235124" y="897275"/>
                  <a:pt x="6236311" y="904286"/>
                  <a:pt x="6238685" y="910074"/>
                </a:cubicBezTo>
                <a:cubicBezTo>
                  <a:pt x="6241140" y="915863"/>
                  <a:pt x="6244823" y="920346"/>
                  <a:pt x="6249734" y="923485"/>
                </a:cubicBezTo>
                <a:cubicBezTo>
                  <a:pt x="6254686" y="926624"/>
                  <a:pt x="6260742" y="928172"/>
                  <a:pt x="6267904" y="928172"/>
                </a:cubicBezTo>
                <a:cubicBezTo>
                  <a:pt x="6274329" y="928172"/>
                  <a:pt x="6280058" y="926909"/>
                  <a:pt x="6285133" y="924341"/>
                </a:cubicBezTo>
                <a:cubicBezTo>
                  <a:pt x="6290207" y="921814"/>
                  <a:pt x="6294136" y="918349"/>
                  <a:pt x="6296878" y="913906"/>
                </a:cubicBezTo>
                <a:cubicBezTo>
                  <a:pt x="6297246" y="913213"/>
                  <a:pt x="6297123" y="912602"/>
                  <a:pt x="6296428" y="911990"/>
                </a:cubicBezTo>
                <a:cubicBezTo>
                  <a:pt x="6296428" y="911990"/>
                  <a:pt x="6296428" y="911990"/>
                  <a:pt x="6287997" y="906406"/>
                </a:cubicBezTo>
                <a:cubicBezTo>
                  <a:pt x="6287220" y="905713"/>
                  <a:pt x="6286565" y="905876"/>
                  <a:pt x="6286074" y="906854"/>
                </a:cubicBezTo>
                <a:cubicBezTo>
                  <a:pt x="6282145" y="912846"/>
                  <a:pt x="6276539" y="915822"/>
                  <a:pt x="6269254" y="915822"/>
                </a:cubicBezTo>
                <a:cubicBezTo>
                  <a:pt x="6264221" y="915822"/>
                  <a:pt x="6260047" y="914721"/>
                  <a:pt x="6256773" y="912520"/>
                </a:cubicBezTo>
                <a:cubicBezTo>
                  <a:pt x="6253458" y="910319"/>
                  <a:pt x="6251289" y="907262"/>
                  <a:pt x="6250184" y="903308"/>
                </a:cubicBezTo>
                <a:cubicBezTo>
                  <a:pt x="6249611" y="901555"/>
                  <a:pt x="6249325" y="898987"/>
                  <a:pt x="6249325" y="895686"/>
                </a:cubicBezTo>
                <a:cubicBezTo>
                  <a:pt x="6249325" y="895278"/>
                  <a:pt x="6249488" y="895074"/>
                  <a:pt x="6249898" y="895074"/>
                </a:cubicBezTo>
                <a:cubicBezTo>
                  <a:pt x="6249898" y="895074"/>
                  <a:pt x="6249898" y="895074"/>
                  <a:pt x="6297000" y="895074"/>
                </a:cubicBezTo>
                <a:cubicBezTo>
                  <a:pt x="6297983" y="895074"/>
                  <a:pt x="6298515" y="894585"/>
                  <a:pt x="6298515" y="893607"/>
                </a:cubicBezTo>
                <a:cubicBezTo>
                  <a:pt x="6298596" y="888593"/>
                  <a:pt x="6298433" y="884109"/>
                  <a:pt x="6298065" y="880074"/>
                </a:cubicBezTo>
                <a:cubicBezTo>
                  <a:pt x="6296960" y="870454"/>
                  <a:pt x="6293972" y="863199"/>
                  <a:pt x="6289061" y="858226"/>
                </a:cubicBezTo>
                <a:cubicBezTo>
                  <a:pt x="6284110" y="853253"/>
                  <a:pt x="6276702" y="850807"/>
                  <a:pt x="6266717" y="850807"/>
                </a:cubicBezTo>
                <a:close/>
                <a:moveTo>
                  <a:pt x="6190907" y="850807"/>
                </a:moveTo>
                <a:cubicBezTo>
                  <a:pt x="6182664" y="850807"/>
                  <a:pt x="6176421" y="853500"/>
                  <a:pt x="6172218" y="858926"/>
                </a:cubicBezTo>
                <a:cubicBezTo>
                  <a:pt x="6172095" y="859130"/>
                  <a:pt x="6171973" y="859170"/>
                  <a:pt x="6171850" y="859048"/>
                </a:cubicBezTo>
                <a:cubicBezTo>
                  <a:pt x="6171687" y="858967"/>
                  <a:pt x="6171606" y="858803"/>
                  <a:pt x="6171606" y="858640"/>
                </a:cubicBezTo>
                <a:cubicBezTo>
                  <a:pt x="6171606" y="858640"/>
                  <a:pt x="6171606" y="858640"/>
                  <a:pt x="6171606" y="853337"/>
                </a:cubicBezTo>
                <a:cubicBezTo>
                  <a:pt x="6171606" y="852357"/>
                  <a:pt x="6171116" y="851868"/>
                  <a:pt x="6170137" y="851868"/>
                </a:cubicBezTo>
                <a:cubicBezTo>
                  <a:pt x="6170137" y="851868"/>
                  <a:pt x="6170137" y="851868"/>
                  <a:pt x="6158956" y="851868"/>
                </a:cubicBezTo>
                <a:cubicBezTo>
                  <a:pt x="6157976" y="851868"/>
                  <a:pt x="6157487" y="852357"/>
                  <a:pt x="6157487" y="853337"/>
                </a:cubicBezTo>
                <a:cubicBezTo>
                  <a:pt x="6157487" y="853337"/>
                  <a:pt x="6157487" y="853337"/>
                  <a:pt x="6157487" y="925342"/>
                </a:cubicBezTo>
                <a:cubicBezTo>
                  <a:pt x="6157487" y="926321"/>
                  <a:pt x="6157976" y="926810"/>
                  <a:pt x="6158956" y="926810"/>
                </a:cubicBezTo>
                <a:cubicBezTo>
                  <a:pt x="6158956" y="926810"/>
                  <a:pt x="6158956" y="926810"/>
                  <a:pt x="6170137" y="926810"/>
                </a:cubicBezTo>
                <a:cubicBezTo>
                  <a:pt x="6171116" y="926810"/>
                  <a:pt x="6171606" y="926321"/>
                  <a:pt x="6171606" y="925342"/>
                </a:cubicBezTo>
                <a:cubicBezTo>
                  <a:pt x="6171606" y="925342"/>
                  <a:pt x="6171606" y="925342"/>
                  <a:pt x="6171606" y="879405"/>
                </a:cubicBezTo>
                <a:cubicBezTo>
                  <a:pt x="6171606" y="874592"/>
                  <a:pt x="6173074" y="870634"/>
                  <a:pt x="6176013" y="867615"/>
                </a:cubicBezTo>
                <a:cubicBezTo>
                  <a:pt x="6178991" y="864556"/>
                  <a:pt x="6182746" y="863046"/>
                  <a:pt x="6187357" y="863046"/>
                </a:cubicBezTo>
                <a:cubicBezTo>
                  <a:pt x="6192090" y="863046"/>
                  <a:pt x="6195844" y="864556"/>
                  <a:pt x="6198701" y="867615"/>
                </a:cubicBezTo>
                <a:cubicBezTo>
                  <a:pt x="6201557" y="870634"/>
                  <a:pt x="6202985" y="874632"/>
                  <a:pt x="6202985" y="879528"/>
                </a:cubicBezTo>
                <a:cubicBezTo>
                  <a:pt x="6202985" y="879528"/>
                  <a:pt x="6202985" y="879528"/>
                  <a:pt x="6202985" y="925342"/>
                </a:cubicBezTo>
                <a:cubicBezTo>
                  <a:pt x="6202985" y="926321"/>
                  <a:pt x="6203475" y="926810"/>
                  <a:pt x="6204454" y="926810"/>
                </a:cubicBezTo>
                <a:cubicBezTo>
                  <a:pt x="6204454" y="926810"/>
                  <a:pt x="6204454" y="926810"/>
                  <a:pt x="6215635" y="926810"/>
                </a:cubicBezTo>
                <a:cubicBezTo>
                  <a:pt x="6216655" y="926810"/>
                  <a:pt x="6217145" y="926321"/>
                  <a:pt x="6217145" y="925342"/>
                </a:cubicBezTo>
                <a:cubicBezTo>
                  <a:pt x="6217145" y="925342"/>
                  <a:pt x="6217145" y="925342"/>
                  <a:pt x="6217145" y="876754"/>
                </a:cubicBezTo>
                <a:cubicBezTo>
                  <a:pt x="6217145" y="868798"/>
                  <a:pt x="6214778" y="862475"/>
                  <a:pt x="6210045" y="857824"/>
                </a:cubicBezTo>
                <a:cubicBezTo>
                  <a:pt x="6205352" y="853133"/>
                  <a:pt x="6198946" y="850807"/>
                  <a:pt x="6190907" y="850807"/>
                </a:cubicBezTo>
                <a:close/>
                <a:moveTo>
                  <a:pt x="5941418" y="850807"/>
                </a:moveTo>
                <a:cubicBezTo>
                  <a:pt x="5933175" y="850807"/>
                  <a:pt x="5926932" y="853500"/>
                  <a:pt x="5922688" y="858926"/>
                </a:cubicBezTo>
                <a:cubicBezTo>
                  <a:pt x="5922606" y="859130"/>
                  <a:pt x="5922484" y="859170"/>
                  <a:pt x="5922320" y="859048"/>
                </a:cubicBezTo>
                <a:cubicBezTo>
                  <a:pt x="5922198" y="858967"/>
                  <a:pt x="5922116" y="858803"/>
                  <a:pt x="5922116" y="858640"/>
                </a:cubicBezTo>
                <a:cubicBezTo>
                  <a:pt x="5922116" y="858640"/>
                  <a:pt x="5922116" y="858640"/>
                  <a:pt x="5922116" y="853337"/>
                </a:cubicBezTo>
                <a:cubicBezTo>
                  <a:pt x="5922116" y="852357"/>
                  <a:pt x="5921627" y="851868"/>
                  <a:pt x="5920648" y="851868"/>
                </a:cubicBezTo>
                <a:cubicBezTo>
                  <a:pt x="5920648" y="851868"/>
                  <a:pt x="5920648" y="851868"/>
                  <a:pt x="5909426" y="851868"/>
                </a:cubicBezTo>
                <a:cubicBezTo>
                  <a:pt x="5908447" y="851868"/>
                  <a:pt x="5907957" y="852357"/>
                  <a:pt x="5907957" y="853337"/>
                </a:cubicBezTo>
                <a:cubicBezTo>
                  <a:pt x="5907957" y="853337"/>
                  <a:pt x="5907957" y="853337"/>
                  <a:pt x="5907957" y="925342"/>
                </a:cubicBezTo>
                <a:cubicBezTo>
                  <a:pt x="5907957" y="926321"/>
                  <a:pt x="5908447" y="926810"/>
                  <a:pt x="5909426" y="926810"/>
                </a:cubicBezTo>
                <a:cubicBezTo>
                  <a:pt x="5909426" y="926810"/>
                  <a:pt x="5909426" y="926810"/>
                  <a:pt x="5920648" y="926810"/>
                </a:cubicBezTo>
                <a:cubicBezTo>
                  <a:pt x="5921627" y="926810"/>
                  <a:pt x="5922116" y="926321"/>
                  <a:pt x="5922116" y="925342"/>
                </a:cubicBezTo>
                <a:cubicBezTo>
                  <a:pt x="5922116" y="925342"/>
                  <a:pt x="5922116" y="925342"/>
                  <a:pt x="5922116" y="879405"/>
                </a:cubicBezTo>
                <a:cubicBezTo>
                  <a:pt x="5922116" y="874592"/>
                  <a:pt x="5923586" y="870634"/>
                  <a:pt x="5926524" y="867615"/>
                </a:cubicBezTo>
                <a:cubicBezTo>
                  <a:pt x="5929462" y="864556"/>
                  <a:pt x="5933257" y="863046"/>
                  <a:pt x="5937868" y="863046"/>
                </a:cubicBezTo>
                <a:cubicBezTo>
                  <a:pt x="5942601" y="863046"/>
                  <a:pt x="5946355" y="864556"/>
                  <a:pt x="5949212" y="867615"/>
                </a:cubicBezTo>
                <a:cubicBezTo>
                  <a:pt x="5952068" y="870634"/>
                  <a:pt x="5953496" y="874632"/>
                  <a:pt x="5953496" y="879528"/>
                </a:cubicBezTo>
                <a:cubicBezTo>
                  <a:pt x="5953496" y="879528"/>
                  <a:pt x="5953496" y="879528"/>
                  <a:pt x="5953496" y="925342"/>
                </a:cubicBezTo>
                <a:cubicBezTo>
                  <a:pt x="5953496" y="926321"/>
                  <a:pt x="5953986" y="926810"/>
                  <a:pt x="5954965" y="926810"/>
                </a:cubicBezTo>
                <a:cubicBezTo>
                  <a:pt x="5954965" y="926810"/>
                  <a:pt x="5954965" y="926810"/>
                  <a:pt x="5966146" y="926810"/>
                </a:cubicBezTo>
                <a:cubicBezTo>
                  <a:pt x="5967126" y="926810"/>
                  <a:pt x="5967615" y="926321"/>
                  <a:pt x="5967615" y="925342"/>
                </a:cubicBezTo>
                <a:cubicBezTo>
                  <a:pt x="5967615" y="925342"/>
                  <a:pt x="5967615" y="925342"/>
                  <a:pt x="5967615" y="876754"/>
                </a:cubicBezTo>
                <a:cubicBezTo>
                  <a:pt x="5967615" y="868798"/>
                  <a:pt x="5965289" y="862475"/>
                  <a:pt x="5960556" y="857824"/>
                </a:cubicBezTo>
                <a:cubicBezTo>
                  <a:pt x="5955822" y="853133"/>
                  <a:pt x="5949457" y="850807"/>
                  <a:pt x="5941418" y="850807"/>
                </a:cubicBezTo>
                <a:close/>
                <a:moveTo>
                  <a:pt x="5857983" y="850807"/>
                </a:moveTo>
                <a:cubicBezTo>
                  <a:pt x="5850440" y="850807"/>
                  <a:pt x="5843998" y="852764"/>
                  <a:pt x="5838697" y="856677"/>
                </a:cubicBezTo>
                <a:cubicBezTo>
                  <a:pt x="5833397" y="860590"/>
                  <a:pt x="5829890" y="865930"/>
                  <a:pt x="5828096" y="872737"/>
                </a:cubicBezTo>
                <a:cubicBezTo>
                  <a:pt x="5827036" y="876446"/>
                  <a:pt x="5826506" y="881908"/>
                  <a:pt x="5826506" y="889041"/>
                </a:cubicBezTo>
                <a:cubicBezTo>
                  <a:pt x="5826506" y="897275"/>
                  <a:pt x="5827648" y="904286"/>
                  <a:pt x="5830013" y="910074"/>
                </a:cubicBezTo>
                <a:cubicBezTo>
                  <a:pt x="5832459" y="915863"/>
                  <a:pt x="5836169" y="920346"/>
                  <a:pt x="5841062" y="923485"/>
                </a:cubicBezTo>
                <a:cubicBezTo>
                  <a:pt x="5845955" y="926624"/>
                  <a:pt x="5851990" y="928172"/>
                  <a:pt x="5859166" y="928172"/>
                </a:cubicBezTo>
                <a:cubicBezTo>
                  <a:pt x="5865527" y="928172"/>
                  <a:pt x="5871235" y="926909"/>
                  <a:pt x="5876291" y="924341"/>
                </a:cubicBezTo>
                <a:cubicBezTo>
                  <a:pt x="5881347" y="921814"/>
                  <a:pt x="5885261" y="918349"/>
                  <a:pt x="5888034" y="913906"/>
                </a:cubicBezTo>
                <a:cubicBezTo>
                  <a:pt x="5888400" y="913213"/>
                  <a:pt x="5888237" y="912602"/>
                  <a:pt x="5887585" y="911990"/>
                </a:cubicBezTo>
                <a:cubicBezTo>
                  <a:pt x="5887585" y="911990"/>
                  <a:pt x="5887585" y="911990"/>
                  <a:pt x="5879186" y="906406"/>
                </a:cubicBezTo>
                <a:cubicBezTo>
                  <a:pt x="5878370" y="905713"/>
                  <a:pt x="5877758" y="905876"/>
                  <a:pt x="5877269" y="906854"/>
                </a:cubicBezTo>
                <a:cubicBezTo>
                  <a:pt x="5873355" y="912846"/>
                  <a:pt x="5867728" y="915822"/>
                  <a:pt x="5860471" y="915822"/>
                </a:cubicBezTo>
                <a:cubicBezTo>
                  <a:pt x="5855496" y="915822"/>
                  <a:pt x="5851337" y="914721"/>
                  <a:pt x="5848034" y="912520"/>
                </a:cubicBezTo>
                <a:cubicBezTo>
                  <a:pt x="5844773" y="910319"/>
                  <a:pt x="5842571" y="907262"/>
                  <a:pt x="5841511" y="903308"/>
                </a:cubicBezTo>
                <a:cubicBezTo>
                  <a:pt x="5840899" y="901555"/>
                  <a:pt x="5840614" y="898987"/>
                  <a:pt x="5840614" y="895686"/>
                </a:cubicBezTo>
                <a:cubicBezTo>
                  <a:pt x="5840614" y="895278"/>
                  <a:pt x="5840818" y="895074"/>
                  <a:pt x="5841225" y="895074"/>
                </a:cubicBezTo>
                <a:cubicBezTo>
                  <a:pt x="5841225" y="895074"/>
                  <a:pt x="5841225" y="895074"/>
                  <a:pt x="5888156" y="895074"/>
                </a:cubicBezTo>
                <a:cubicBezTo>
                  <a:pt x="5889134" y="895074"/>
                  <a:pt x="5889624" y="894585"/>
                  <a:pt x="5889624" y="893607"/>
                </a:cubicBezTo>
                <a:cubicBezTo>
                  <a:pt x="5889705" y="888593"/>
                  <a:pt x="5889583" y="884109"/>
                  <a:pt x="5889175" y="880074"/>
                </a:cubicBezTo>
                <a:cubicBezTo>
                  <a:pt x="5888115" y="870454"/>
                  <a:pt x="5885098" y="863199"/>
                  <a:pt x="5880205" y="858226"/>
                </a:cubicBezTo>
                <a:cubicBezTo>
                  <a:pt x="5875312" y="853253"/>
                  <a:pt x="5867892" y="850807"/>
                  <a:pt x="5857983" y="850807"/>
                </a:cubicBezTo>
                <a:close/>
                <a:moveTo>
                  <a:pt x="5740410" y="850807"/>
                </a:moveTo>
                <a:cubicBezTo>
                  <a:pt x="5732163" y="850807"/>
                  <a:pt x="5725875" y="853418"/>
                  <a:pt x="5721547" y="858640"/>
                </a:cubicBezTo>
                <a:cubicBezTo>
                  <a:pt x="5721343" y="858803"/>
                  <a:pt x="5721180" y="858885"/>
                  <a:pt x="5721016" y="858763"/>
                </a:cubicBezTo>
                <a:cubicBezTo>
                  <a:pt x="5720894" y="858681"/>
                  <a:pt x="5720812" y="858518"/>
                  <a:pt x="5720812" y="858314"/>
                </a:cubicBezTo>
                <a:cubicBezTo>
                  <a:pt x="5720812" y="858314"/>
                  <a:pt x="5720812" y="858314"/>
                  <a:pt x="5720812" y="853337"/>
                </a:cubicBezTo>
                <a:cubicBezTo>
                  <a:pt x="5720812" y="852357"/>
                  <a:pt x="5720322" y="851868"/>
                  <a:pt x="5719342" y="851868"/>
                </a:cubicBezTo>
                <a:cubicBezTo>
                  <a:pt x="5719342" y="851868"/>
                  <a:pt x="5719342" y="851868"/>
                  <a:pt x="5708155" y="851868"/>
                </a:cubicBezTo>
                <a:cubicBezTo>
                  <a:pt x="5707134" y="851868"/>
                  <a:pt x="5706644" y="852357"/>
                  <a:pt x="5706644" y="853337"/>
                </a:cubicBezTo>
                <a:cubicBezTo>
                  <a:pt x="5706644" y="853337"/>
                  <a:pt x="5706644" y="853337"/>
                  <a:pt x="5706644" y="925342"/>
                </a:cubicBezTo>
                <a:cubicBezTo>
                  <a:pt x="5706644" y="926321"/>
                  <a:pt x="5707134" y="926810"/>
                  <a:pt x="5708155" y="926810"/>
                </a:cubicBezTo>
                <a:cubicBezTo>
                  <a:pt x="5708155" y="926810"/>
                  <a:pt x="5708155" y="926810"/>
                  <a:pt x="5719342" y="926810"/>
                </a:cubicBezTo>
                <a:cubicBezTo>
                  <a:pt x="5720322" y="926810"/>
                  <a:pt x="5720812" y="926321"/>
                  <a:pt x="5720812" y="925342"/>
                </a:cubicBezTo>
                <a:cubicBezTo>
                  <a:pt x="5720812" y="925342"/>
                  <a:pt x="5720812" y="925342"/>
                  <a:pt x="5720812" y="878793"/>
                </a:cubicBezTo>
                <a:cubicBezTo>
                  <a:pt x="5720812" y="873980"/>
                  <a:pt x="5722160" y="870145"/>
                  <a:pt x="5724854" y="867330"/>
                </a:cubicBezTo>
                <a:cubicBezTo>
                  <a:pt x="5727549" y="864474"/>
                  <a:pt x="5731183" y="863046"/>
                  <a:pt x="5735715" y="863046"/>
                </a:cubicBezTo>
                <a:cubicBezTo>
                  <a:pt x="5740206" y="863046"/>
                  <a:pt x="5743840" y="864474"/>
                  <a:pt x="5746535" y="867370"/>
                </a:cubicBezTo>
                <a:cubicBezTo>
                  <a:pt x="5749229" y="870267"/>
                  <a:pt x="5750577" y="874183"/>
                  <a:pt x="5750577" y="879079"/>
                </a:cubicBezTo>
                <a:cubicBezTo>
                  <a:pt x="5750577" y="879079"/>
                  <a:pt x="5750577" y="879079"/>
                  <a:pt x="5750577" y="925342"/>
                </a:cubicBezTo>
                <a:cubicBezTo>
                  <a:pt x="5750577" y="926321"/>
                  <a:pt x="5751067" y="926810"/>
                  <a:pt x="5752047" y="926810"/>
                </a:cubicBezTo>
                <a:cubicBezTo>
                  <a:pt x="5752047" y="926810"/>
                  <a:pt x="5752047" y="926810"/>
                  <a:pt x="5763111" y="926810"/>
                </a:cubicBezTo>
                <a:cubicBezTo>
                  <a:pt x="5764091" y="926810"/>
                  <a:pt x="5764581" y="926321"/>
                  <a:pt x="5764581" y="925342"/>
                </a:cubicBezTo>
                <a:cubicBezTo>
                  <a:pt x="5764581" y="925342"/>
                  <a:pt x="5764581" y="925342"/>
                  <a:pt x="5764581" y="878793"/>
                </a:cubicBezTo>
                <a:cubicBezTo>
                  <a:pt x="5764581" y="873980"/>
                  <a:pt x="5766010" y="870145"/>
                  <a:pt x="5768868" y="867330"/>
                </a:cubicBezTo>
                <a:cubicBezTo>
                  <a:pt x="5771726" y="864474"/>
                  <a:pt x="5775401" y="863046"/>
                  <a:pt x="5779892" y="863046"/>
                </a:cubicBezTo>
                <a:cubicBezTo>
                  <a:pt x="5784424" y="863046"/>
                  <a:pt x="5788058" y="864474"/>
                  <a:pt x="5790753" y="867370"/>
                </a:cubicBezTo>
                <a:cubicBezTo>
                  <a:pt x="5793448" y="870267"/>
                  <a:pt x="5794795" y="874183"/>
                  <a:pt x="5794795" y="879079"/>
                </a:cubicBezTo>
                <a:cubicBezTo>
                  <a:pt x="5794795" y="879079"/>
                  <a:pt x="5794795" y="879079"/>
                  <a:pt x="5794795" y="925342"/>
                </a:cubicBezTo>
                <a:cubicBezTo>
                  <a:pt x="5794795" y="926321"/>
                  <a:pt x="5795285" y="926810"/>
                  <a:pt x="5796265" y="926810"/>
                </a:cubicBezTo>
                <a:cubicBezTo>
                  <a:pt x="5796265" y="926810"/>
                  <a:pt x="5796265" y="926810"/>
                  <a:pt x="5807329" y="926810"/>
                </a:cubicBezTo>
                <a:cubicBezTo>
                  <a:pt x="5808309" y="926810"/>
                  <a:pt x="5808799" y="926321"/>
                  <a:pt x="5808799" y="925342"/>
                </a:cubicBezTo>
                <a:cubicBezTo>
                  <a:pt x="5808799" y="925342"/>
                  <a:pt x="5808799" y="925342"/>
                  <a:pt x="5808799" y="876142"/>
                </a:cubicBezTo>
                <a:cubicBezTo>
                  <a:pt x="5808799" y="868186"/>
                  <a:pt x="5806635" y="861985"/>
                  <a:pt x="5802307" y="857539"/>
                </a:cubicBezTo>
                <a:cubicBezTo>
                  <a:pt x="5797979" y="853051"/>
                  <a:pt x="5792100" y="850807"/>
                  <a:pt x="5784628" y="850807"/>
                </a:cubicBezTo>
                <a:cubicBezTo>
                  <a:pt x="5779892" y="850807"/>
                  <a:pt x="5775605" y="851746"/>
                  <a:pt x="5771726" y="853622"/>
                </a:cubicBezTo>
                <a:cubicBezTo>
                  <a:pt x="5767847" y="855458"/>
                  <a:pt x="5764744" y="858314"/>
                  <a:pt x="5762376" y="862148"/>
                </a:cubicBezTo>
                <a:cubicBezTo>
                  <a:pt x="5762091" y="862557"/>
                  <a:pt x="5761764" y="862557"/>
                  <a:pt x="5761478" y="862148"/>
                </a:cubicBezTo>
                <a:cubicBezTo>
                  <a:pt x="5759518" y="858436"/>
                  <a:pt x="5756783" y="855621"/>
                  <a:pt x="5753231" y="853704"/>
                </a:cubicBezTo>
                <a:cubicBezTo>
                  <a:pt x="5749678" y="851786"/>
                  <a:pt x="5745432" y="850807"/>
                  <a:pt x="5740410" y="850807"/>
                </a:cubicBezTo>
                <a:close/>
                <a:moveTo>
                  <a:pt x="5575920" y="850807"/>
                </a:moveTo>
                <a:cubicBezTo>
                  <a:pt x="5568350" y="850807"/>
                  <a:pt x="5561884" y="852764"/>
                  <a:pt x="5556564" y="856677"/>
                </a:cubicBezTo>
                <a:cubicBezTo>
                  <a:pt x="5551244" y="860590"/>
                  <a:pt x="5547683" y="865930"/>
                  <a:pt x="5545924" y="872737"/>
                </a:cubicBezTo>
                <a:cubicBezTo>
                  <a:pt x="5544860" y="876446"/>
                  <a:pt x="5544287" y="881908"/>
                  <a:pt x="5544287" y="889041"/>
                </a:cubicBezTo>
                <a:cubicBezTo>
                  <a:pt x="5544287" y="897275"/>
                  <a:pt x="5545473" y="904286"/>
                  <a:pt x="5547847" y="910074"/>
                </a:cubicBezTo>
                <a:cubicBezTo>
                  <a:pt x="5550302" y="915863"/>
                  <a:pt x="5553986" y="920346"/>
                  <a:pt x="5558937" y="923485"/>
                </a:cubicBezTo>
                <a:cubicBezTo>
                  <a:pt x="5563848" y="926624"/>
                  <a:pt x="5569905" y="928172"/>
                  <a:pt x="5577107" y="928172"/>
                </a:cubicBezTo>
                <a:cubicBezTo>
                  <a:pt x="5583491" y="928172"/>
                  <a:pt x="5589221" y="926909"/>
                  <a:pt x="5594295" y="924341"/>
                </a:cubicBezTo>
                <a:cubicBezTo>
                  <a:pt x="5599370" y="921814"/>
                  <a:pt x="5603298" y="918349"/>
                  <a:pt x="5606040" y="913906"/>
                </a:cubicBezTo>
                <a:cubicBezTo>
                  <a:pt x="5606449" y="913213"/>
                  <a:pt x="5606286" y="912602"/>
                  <a:pt x="5605590" y="911990"/>
                </a:cubicBezTo>
                <a:cubicBezTo>
                  <a:pt x="5605590" y="911990"/>
                  <a:pt x="5605590" y="911990"/>
                  <a:pt x="5597201" y="906406"/>
                </a:cubicBezTo>
                <a:cubicBezTo>
                  <a:pt x="5596382" y="905713"/>
                  <a:pt x="5595768" y="905876"/>
                  <a:pt x="5595277" y="906854"/>
                </a:cubicBezTo>
                <a:cubicBezTo>
                  <a:pt x="5591348" y="912846"/>
                  <a:pt x="5585701" y="915822"/>
                  <a:pt x="5578417" y="915822"/>
                </a:cubicBezTo>
                <a:cubicBezTo>
                  <a:pt x="5573424" y="915822"/>
                  <a:pt x="5569250" y="914721"/>
                  <a:pt x="5565935" y="912520"/>
                </a:cubicBezTo>
                <a:cubicBezTo>
                  <a:pt x="5562661" y="910319"/>
                  <a:pt x="5560451" y="907262"/>
                  <a:pt x="5559387" y="903308"/>
                </a:cubicBezTo>
                <a:cubicBezTo>
                  <a:pt x="5558773" y="901555"/>
                  <a:pt x="5558487" y="898987"/>
                  <a:pt x="5558487" y="895686"/>
                </a:cubicBezTo>
                <a:cubicBezTo>
                  <a:pt x="5558487" y="895278"/>
                  <a:pt x="5558692" y="895074"/>
                  <a:pt x="5559060" y="895074"/>
                </a:cubicBezTo>
                <a:cubicBezTo>
                  <a:pt x="5559060" y="895074"/>
                  <a:pt x="5559060" y="895074"/>
                  <a:pt x="5606204" y="895074"/>
                </a:cubicBezTo>
                <a:cubicBezTo>
                  <a:pt x="5607186" y="895074"/>
                  <a:pt x="5607677" y="894585"/>
                  <a:pt x="5607677" y="893607"/>
                </a:cubicBezTo>
                <a:cubicBezTo>
                  <a:pt x="5607759" y="888593"/>
                  <a:pt x="5607636" y="884109"/>
                  <a:pt x="5607227" y="880074"/>
                </a:cubicBezTo>
                <a:cubicBezTo>
                  <a:pt x="5606163" y="870454"/>
                  <a:pt x="5603135" y="863199"/>
                  <a:pt x="5598224" y="858226"/>
                </a:cubicBezTo>
                <a:cubicBezTo>
                  <a:pt x="5593313" y="853253"/>
                  <a:pt x="5585865" y="850807"/>
                  <a:pt x="5575920" y="850807"/>
                </a:cubicBezTo>
                <a:close/>
                <a:moveTo>
                  <a:pt x="5500110" y="850807"/>
                </a:moveTo>
                <a:cubicBezTo>
                  <a:pt x="5491867" y="850807"/>
                  <a:pt x="5485624" y="853500"/>
                  <a:pt x="5481380" y="858926"/>
                </a:cubicBezTo>
                <a:cubicBezTo>
                  <a:pt x="5481298" y="859130"/>
                  <a:pt x="5481176" y="859170"/>
                  <a:pt x="5481054" y="859048"/>
                </a:cubicBezTo>
                <a:cubicBezTo>
                  <a:pt x="5480890" y="858967"/>
                  <a:pt x="5480809" y="858803"/>
                  <a:pt x="5480809" y="858640"/>
                </a:cubicBezTo>
                <a:cubicBezTo>
                  <a:pt x="5480809" y="858640"/>
                  <a:pt x="5480809" y="858640"/>
                  <a:pt x="5480809" y="853337"/>
                </a:cubicBezTo>
                <a:cubicBezTo>
                  <a:pt x="5480809" y="852357"/>
                  <a:pt x="5480319" y="851868"/>
                  <a:pt x="5479340" y="851868"/>
                </a:cubicBezTo>
                <a:cubicBezTo>
                  <a:pt x="5479340" y="851868"/>
                  <a:pt x="5479340" y="851868"/>
                  <a:pt x="5468159" y="851868"/>
                </a:cubicBezTo>
                <a:cubicBezTo>
                  <a:pt x="5467180" y="851868"/>
                  <a:pt x="5466649" y="852357"/>
                  <a:pt x="5466649" y="853337"/>
                </a:cubicBezTo>
                <a:cubicBezTo>
                  <a:pt x="5466649" y="853337"/>
                  <a:pt x="5466649" y="853337"/>
                  <a:pt x="5466649" y="925342"/>
                </a:cubicBezTo>
                <a:cubicBezTo>
                  <a:pt x="5466649" y="926321"/>
                  <a:pt x="5467180" y="926810"/>
                  <a:pt x="5468159" y="926810"/>
                </a:cubicBezTo>
                <a:cubicBezTo>
                  <a:pt x="5468159" y="926810"/>
                  <a:pt x="5468159" y="926810"/>
                  <a:pt x="5479340" y="926810"/>
                </a:cubicBezTo>
                <a:cubicBezTo>
                  <a:pt x="5480319" y="926810"/>
                  <a:pt x="5480809" y="926321"/>
                  <a:pt x="5480809" y="925342"/>
                </a:cubicBezTo>
                <a:cubicBezTo>
                  <a:pt x="5480809" y="925342"/>
                  <a:pt x="5480809" y="925342"/>
                  <a:pt x="5480809" y="879405"/>
                </a:cubicBezTo>
                <a:cubicBezTo>
                  <a:pt x="5480809" y="874592"/>
                  <a:pt x="5482278" y="870634"/>
                  <a:pt x="5485216" y="867615"/>
                </a:cubicBezTo>
                <a:cubicBezTo>
                  <a:pt x="5488195" y="864556"/>
                  <a:pt x="5491949" y="863046"/>
                  <a:pt x="5496560" y="863046"/>
                </a:cubicBezTo>
                <a:cubicBezTo>
                  <a:pt x="5501293" y="863046"/>
                  <a:pt x="5505048" y="864556"/>
                  <a:pt x="5507904" y="867615"/>
                </a:cubicBezTo>
                <a:cubicBezTo>
                  <a:pt x="5510760" y="870634"/>
                  <a:pt x="5512189" y="874632"/>
                  <a:pt x="5512189" y="879528"/>
                </a:cubicBezTo>
                <a:cubicBezTo>
                  <a:pt x="5512189" y="879528"/>
                  <a:pt x="5512189" y="879528"/>
                  <a:pt x="5512189" y="925342"/>
                </a:cubicBezTo>
                <a:cubicBezTo>
                  <a:pt x="5512189" y="926321"/>
                  <a:pt x="5512678" y="926810"/>
                  <a:pt x="5513658" y="926810"/>
                </a:cubicBezTo>
                <a:cubicBezTo>
                  <a:pt x="5513658" y="926810"/>
                  <a:pt x="5513658" y="926810"/>
                  <a:pt x="5524838" y="926810"/>
                </a:cubicBezTo>
                <a:cubicBezTo>
                  <a:pt x="5525818" y="926810"/>
                  <a:pt x="5526308" y="926321"/>
                  <a:pt x="5526308" y="925342"/>
                </a:cubicBezTo>
                <a:cubicBezTo>
                  <a:pt x="5526308" y="925342"/>
                  <a:pt x="5526308" y="925342"/>
                  <a:pt x="5526308" y="876754"/>
                </a:cubicBezTo>
                <a:cubicBezTo>
                  <a:pt x="5526308" y="868798"/>
                  <a:pt x="5523982" y="862475"/>
                  <a:pt x="5519248" y="857824"/>
                </a:cubicBezTo>
                <a:cubicBezTo>
                  <a:pt x="5514555" y="853133"/>
                  <a:pt x="5508149" y="850807"/>
                  <a:pt x="5500110" y="850807"/>
                </a:cubicBezTo>
                <a:close/>
                <a:moveTo>
                  <a:pt x="5361103" y="850807"/>
                </a:moveTo>
                <a:cubicBezTo>
                  <a:pt x="5353560" y="850807"/>
                  <a:pt x="5347117" y="852764"/>
                  <a:pt x="5341817" y="856677"/>
                </a:cubicBezTo>
                <a:cubicBezTo>
                  <a:pt x="5336516" y="860590"/>
                  <a:pt x="5333010" y="865930"/>
                  <a:pt x="5331216" y="872737"/>
                </a:cubicBezTo>
                <a:cubicBezTo>
                  <a:pt x="5330155" y="876446"/>
                  <a:pt x="5329626" y="881908"/>
                  <a:pt x="5329626" y="889041"/>
                </a:cubicBezTo>
                <a:cubicBezTo>
                  <a:pt x="5329626" y="897275"/>
                  <a:pt x="5330767" y="904286"/>
                  <a:pt x="5333132" y="910074"/>
                </a:cubicBezTo>
                <a:cubicBezTo>
                  <a:pt x="5335578" y="915863"/>
                  <a:pt x="5339248" y="920346"/>
                  <a:pt x="5344182" y="923485"/>
                </a:cubicBezTo>
                <a:cubicBezTo>
                  <a:pt x="5349075" y="926624"/>
                  <a:pt x="5355109" y="928172"/>
                  <a:pt x="5362285" y="928172"/>
                </a:cubicBezTo>
                <a:cubicBezTo>
                  <a:pt x="5368646" y="928172"/>
                  <a:pt x="5374355" y="926909"/>
                  <a:pt x="5379410" y="924341"/>
                </a:cubicBezTo>
                <a:cubicBezTo>
                  <a:pt x="5384466" y="921814"/>
                  <a:pt x="5388381" y="918349"/>
                  <a:pt x="5391113" y="913906"/>
                </a:cubicBezTo>
                <a:cubicBezTo>
                  <a:pt x="5391520" y="913213"/>
                  <a:pt x="5391357" y="912602"/>
                  <a:pt x="5390664" y="911990"/>
                </a:cubicBezTo>
                <a:cubicBezTo>
                  <a:pt x="5390664" y="911990"/>
                  <a:pt x="5390664" y="911990"/>
                  <a:pt x="5382306" y="906406"/>
                </a:cubicBezTo>
                <a:cubicBezTo>
                  <a:pt x="5381490" y="905713"/>
                  <a:pt x="5380878" y="905876"/>
                  <a:pt x="5380389" y="906854"/>
                </a:cubicBezTo>
                <a:cubicBezTo>
                  <a:pt x="5376475" y="912846"/>
                  <a:pt x="5370848" y="915822"/>
                  <a:pt x="5363590" y="915822"/>
                </a:cubicBezTo>
                <a:cubicBezTo>
                  <a:pt x="5358616" y="915822"/>
                  <a:pt x="5354457" y="914721"/>
                  <a:pt x="5351154" y="912520"/>
                </a:cubicBezTo>
                <a:cubicBezTo>
                  <a:pt x="5347892" y="910319"/>
                  <a:pt x="5345691" y="907262"/>
                  <a:pt x="5344630" y="903308"/>
                </a:cubicBezTo>
                <a:cubicBezTo>
                  <a:pt x="5344019" y="901555"/>
                  <a:pt x="5343733" y="898987"/>
                  <a:pt x="5343733" y="895686"/>
                </a:cubicBezTo>
                <a:cubicBezTo>
                  <a:pt x="5343733" y="895278"/>
                  <a:pt x="5343937" y="895074"/>
                  <a:pt x="5344304" y="895074"/>
                </a:cubicBezTo>
                <a:cubicBezTo>
                  <a:pt x="5344304" y="895074"/>
                  <a:pt x="5344304" y="895074"/>
                  <a:pt x="5391276" y="895074"/>
                </a:cubicBezTo>
                <a:cubicBezTo>
                  <a:pt x="5392254" y="895074"/>
                  <a:pt x="5392744" y="894585"/>
                  <a:pt x="5392744" y="893607"/>
                </a:cubicBezTo>
                <a:cubicBezTo>
                  <a:pt x="5392825" y="888593"/>
                  <a:pt x="5392703" y="884109"/>
                  <a:pt x="5392295" y="880074"/>
                </a:cubicBezTo>
                <a:cubicBezTo>
                  <a:pt x="5391235" y="870454"/>
                  <a:pt x="5388218" y="863199"/>
                  <a:pt x="5383325" y="858226"/>
                </a:cubicBezTo>
                <a:cubicBezTo>
                  <a:pt x="5378432" y="853253"/>
                  <a:pt x="5371011" y="850807"/>
                  <a:pt x="5361103" y="850807"/>
                </a:cubicBezTo>
                <a:close/>
                <a:moveTo>
                  <a:pt x="5230966" y="850807"/>
                </a:moveTo>
                <a:cubicBezTo>
                  <a:pt x="5222724" y="850807"/>
                  <a:pt x="5216480" y="853500"/>
                  <a:pt x="5212236" y="858926"/>
                </a:cubicBezTo>
                <a:cubicBezTo>
                  <a:pt x="5212155" y="859130"/>
                  <a:pt x="5212032" y="859170"/>
                  <a:pt x="5211869" y="859048"/>
                </a:cubicBezTo>
                <a:cubicBezTo>
                  <a:pt x="5211706" y="858967"/>
                  <a:pt x="5211665" y="858803"/>
                  <a:pt x="5211665" y="858640"/>
                </a:cubicBezTo>
                <a:cubicBezTo>
                  <a:pt x="5211665" y="858640"/>
                  <a:pt x="5211665" y="858640"/>
                  <a:pt x="5211665" y="853337"/>
                </a:cubicBezTo>
                <a:cubicBezTo>
                  <a:pt x="5211665" y="852357"/>
                  <a:pt x="5211176" y="851868"/>
                  <a:pt x="5210196" y="851868"/>
                </a:cubicBezTo>
                <a:cubicBezTo>
                  <a:pt x="5210196" y="851868"/>
                  <a:pt x="5210196" y="851868"/>
                  <a:pt x="5198974" y="851868"/>
                </a:cubicBezTo>
                <a:cubicBezTo>
                  <a:pt x="5197995" y="851868"/>
                  <a:pt x="5197505" y="852357"/>
                  <a:pt x="5197505" y="853337"/>
                </a:cubicBezTo>
                <a:cubicBezTo>
                  <a:pt x="5197505" y="853337"/>
                  <a:pt x="5197505" y="853337"/>
                  <a:pt x="5197505" y="925342"/>
                </a:cubicBezTo>
                <a:cubicBezTo>
                  <a:pt x="5197505" y="926321"/>
                  <a:pt x="5197995" y="926810"/>
                  <a:pt x="5198974" y="926810"/>
                </a:cubicBezTo>
                <a:cubicBezTo>
                  <a:pt x="5198974" y="926810"/>
                  <a:pt x="5198974" y="926810"/>
                  <a:pt x="5210196" y="926810"/>
                </a:cubicBezTo>
                <a:cubicBezTo>
                  <a:pt x="5211176" y="926810"/>
                  <a:pt x="5211665" y="926321"/>
                  <a:pt x="5211665" y="925342"/>
                </a:cubicBezTo>
                <a:cubicBezTo>
                  <a:pt x="5211665" y="925342"/>
                  <a:pt x="5211665" y="925342"/>
                  <a:pt x="5211665" y="879405"/>
                </a:cubicBezTo>
                <a:cubicBezTo>
                  <a:pt x="5211665" y="874592"/>
                  <a:pt x="5213134" y="870634"/>
                  <a:pt x="5216072" y="867615"/>
                </a:cubicBezTo>
                <a:cubicBezTo>
                  <a:pt x="5219010" y="864556"/>
                  <a:pt x="5222805" y="863046"/>
                  <a:pt x="5227416" y="863046"/>
                </a:cubicBezTo>
                <a:cubicBezTo>
                  <a:pt x="5232150" y="863046"/>
                  <a:pt x="5235904" y="864556"/>
                  <a:pt x="5238760" y="867615"/>
                </a:cubicBezTo>
                <a:cubicBezTo>
                  <a:pt x="5241617" y="870634"/>
                  <a:pt x="5243045" y="874632"/>
                  <a:pt x="5243045" y="879528"/>
                </a:cubicBezTo>
                <a:cubicBezTo>
                  <a:pt x="5243045" y="879528"/>
                  <a:pt x="5243045" y="879528"/>
                  <a:pt x="5243045" y="925342"/>
                </a:cubicBezTo>
                <a:cubicBezTo>
                  <a:pt x="5243045" y="926321"/>
                  <a:pt x="5243534" y="926810"/>
                  <a:pt x="5244514" y="926810"/>
                </a:cubicBezTo>
                <a:cubicBezTo>
                  <a:pt x="5244514" y="926810"/>
                  <a:pt x="5244514" y="926810"/>
                  <a:pt x="5255695" y="926810"/>
                </a:cubicBezTo>
                <a:cubicBezTo>
                  <a:pt x="5256674" y="926810"/>
                  <a:pt x="5257164" y="926321"/>
                  <a:pt x="5257164" y="925342"/>
                </a:cubicBezTo>
                <a:cubicBezTo>
                  <a:pt x="5257164" y="925342"/>
                  <a:pt x="5257164" y="925342"/>
                  <a:pt x="5257164" y="876754"/>
                </a:cubicBezTo>
                <a:cubicBezTo>
                  <a:pt x="5257164" y="868798"/>
                  <a:pt x="5254797" y="862475"/>
                  <a:pt x="5250104" y="857824"/>
                </a:cubicBezTo>
                <a:cubicBezTo>
                  <a:pt x="5245371" y="853133"/>
                  <a:pt x="5239005" y="850807"/>
                  <a:pt x="5230966" y="850807"/>
                </a:cubicBezTo>
                <a:close/>
                <a:moveTo>
                  <a:pt x="5284995" y="832283"/>
                </a:moveTo>
                <a:cubicBezTo>
                  <a:pt x="5284012" y="832283"/>
                  <a:pt x="5283521" y="832773"/>
                  <a:pt x="5283521" y="833754"/>
                </a:cubicBezTo>
                <a:cubicBezTo>
                  <a:pt x="5283521" y="833754"/>
                  <a:pt x="5283521" y="833754"/>
                  <a:pt x="5283521" y="851153"/>
                </a:cubicBezTo>
                <a:cubicBezTo>
                  <a:pt x="5283521" y="851562"/>
                  <a:pt x="5283316" y="851725"/>
                  <a:pt x="5282947" y="851725"/>
                </a:cubicBezTo>
                <a:cubicBezTo>
                  <a:pt x="5282947" y="851725"/>
                  <a:pt x="5282947" y="851725"/>
                  <a:pt x="5273935" y="851725"/>
                </a:cubicBezTo>
                <a:cubicBezTo>
                  <a:pt x="5272951" y="851725"/>
                  <a:pt x="5272419" y="852256"/>
                  <a:pt x="5272419" y="853236"/>
                </a:cubicBezTo>
                <a:cubicBezTo>
                  <a:pt x="5272419" y="853236"/>
                  <a:pt x="5272419" y="853236"/>
                  <a:pt x="5272419" y="861936"/>
                </a:cubicBezTo>
                <a:cubicBezTo>
                  <a:pt x="5272419" y="862916"/>
                  <a:pt x="5272951" y="863406"/>
                  <a:pt x="5273935" y="863406"/>
                </a:cubicBezTo>
                <a:cubicBezTo>
                  <a:pt x="5273935" y="863406"/>
                  <a:pt x="5273935" y="863406"/>
                  <a:pt x="5282947" y="863406"/>
                </a:cubicBezTo>
                <a:cubicBezTo>
                  <a:pt x="5283316" y="863406"/>
                  <a:pt x="5283521" y="863611"/>
                  <a:pt x="5283521" y="863978"/>
                </a:cubicBezTo>
                <a:cubicBezTo>
                  <a:pt x="5283521" y="863978"/>
                  <a:pt x="5283521" y="863978"/>
                  <a:pt x="5283521" y="908050"/>
                </a:cubicBezTo>
                <a:cubicBezTo>
                  <a:pt x="5283521" y="915361"/>
                  <a:pt x="5285446" y="920344"/>
                  <a:pt x="5289215" y="923039"/>
                </a:cubicBezTo>
                <a:cubicBezTo>
                  <a:pt x="5293025" y="925735"/>
                  <a:pt x="5298678" y="927083"/>
                  <a:pt x="5306175" y="927083"/>
                </a:cubicBezTo>
                <a:cubicBezTo>
                  <a:pt x="5307527" y="927083"/>
                  <a:pt x="5309821" y="927001"/>
                  <a:pt x="5312976" y="926797"/>
                </a:cubicBezTo>
                <a:cubicBezTo>
                  <a:pt x="5313959" y="926797"/>
                  <a:pt x="5314450" y="926307"/>
                  <a:pt x="5314450" y="925327"/>
                </a:cubicBezTo>
                <a:cubicBezTo>
                  <a:pt x="5314450" y="925327"/>
                  <a:pt x="5314450" y="925327"/>
                  <a:pt x="5314450" y="916177"/>
                </a:cubicBezTo>
                <a:cubicBezTo>
                  <a:pt x="5314450" y="915197"/>
                  <a:pt x="5313959" y="914707"/>
                  <a:pt x="5312976" y="914707"/>
                </a:cubicBezTo>
                <a:cubicBezTo>
                  <a:pt x="5312976" y="914707"/>
                  <a:pt x="5312976" y="914707"/>
                  <a:pt x="5308674" y="914707"/>
                </a:cubicBezTo>
                <a:cubicBezTo>
                  <a:pt x="5304741" y="914707"/>
                  <a:pt x="5301833" y="913808"/>
                  <a:pt x="5299948" y="911971"/>
                </a:cubicBezTo>
                <a:cubicBezTo>
                  <a:pt x="5298064" y="910173"/>
                  <a:pt x="5297121" y="907192"/>
                  <a:pt x="5297121" y="903066"/>
                </a:cubicBezTo>
                <a:cubicBezTo>
                  <a:pt x="5297121" y="903066"/>
                  <a:pt x="5297121" y="903066"/>
                  <a:pt x="5297121" y="863978"/>
                </a:cubicBezTo>
                <a:cubicBezTo>
                  <a:pt x="5297121" y="863611"/>
                  <a:pt x="5297327" y="863406"/>
                  <a:pt x="5297736" y="863406"/>
                </a:cubicBezTo>
                <a:cubicBezTo>
                  <a:pt x="5297736" y="863406"/>
                  <a:pt x="5297736" y="863406"/>
                  <a:pt x="5313713" y="863406"/>
                </a:cubicBezTo>
                <a:cubicBezTo>
                  <a:pt x="5314696" y="863406"/>
                  <a:pt x="5315188" y="862916"/>
                  <a:pt x="5315188" y="861936"/>
                </a:cubicBezTo>
                <a:cubicBezTo>
                  <a:pt x="5315188" y="861936"/>
                  <a:pt x="5315188" y="861936"/>
                  <a:pt x="5315188" y="853236"/>
                </a:cubicBezTo>
                <a:cubicBezTo>
                  <a:pt x="5315188" y="852256"/>
                  <a:pt x="5314696" y="851725"/>
                  <a:pt x="5313713" y="851725"/>
                </a:cubicBezTo>
                <a:cubicBezTo>
                  <a:pt x="5313713" y="851725"/>
                  <a:pt x="5313713" y="851725"/>
                  <a:pt x="5297736" y="851725"/>
                </a:cubicBezTo>
                <a:cubicBezTo>
                  <a:pt x="5297327" y="851725"/>
                  <a:pt x="5297121" y="851562"/>
                  <a:pt x="5297121" y="851153"/>
                </a:cubicBezTo>
                <a:cubicBezTo>
                  <a:pt x="5297121" y="851153"/>
                  <a:pt x="5297121" y="851153"/>
                  <a:pt x="5297121" y="833754"/>
                </a:cubicBezTo>
                <a:cubicBezTo>
                  <a:pt x="5297121" y="832773"/>
                  <a:pt x="5296630" y="832283"/>
                  <a:pt x="5295647" y="832283"/>
                </a:cubicBezTo>
                <a:cubicBezTo>
                  <a:pt x="5295647" y="832283"/>
                  <a:pt x="5295647" y="832283"/>
                  <a:pt x="5284995" y="832283"/>
                </a:cubicBezTo>
                <a:close/>
                <a:moveTo>
                  <a:pt x="5627752" y="823838"/>
                </a:moveTo>
                <a:cubicBezTo>
                  <a:pt x="5626772" y="823838"/>
                  <a:pt x="5626283" y="824327"/>
                  <a:pt x="5626283" y="825305"/>
                </a:cubicBezTo>
                <a:cubicBezTo>
                  <a:pt x="5626283" y="825305"/>
                  <a:pt x="5626283" y="825305"/>
                  <a:pt x="5626283" y="925343"/>
                </a:cubicBezTo>
                <a:cubicBezTo>
                  <a:pt x="5626283" y="926321"/>
                  <a:pt x="5626772" y="926810"/>
                  <a:pt x="5627752" y="926810"/>
                </a:cubicBezTo>
                <a:cubicBezTo>
                  <a:pt x="5627752" y="926810"/>
                  <a:pt x="5627752" y="926810"/>
                  <a:pt x="5638933" y="926810"/>
                </a:cubicBezTo>
                <a:cubicBezTo>
                  <a:pt x="5639912" y="926810"/>
                  <a:pt x="5640402" y="926321"/>
                  <a:pt x="5640402" y="925343"/>
                </a:cubicBezTo>
                <a:cubicBezTo>
                  <a:pt x="5640402" y="925343"/>
                  <a:pt x="5640402" y="925343"/>
                  <a:pt x="5640402" y="879460"/>
                </a:cubicBezTo>
                <a:cubicBezTo>
                  <a:pt x="5640402" y="874652"/>
                  <a:pt x="5641911" y="870699"/>
                  <a:pt x="5644849" y="867684"/>
                </a:cubicBezTo>
                <a:cubicBezTo>
                  <a:pt x="5647788" y="864628"/>
                  <a:pt x="5651582" y="863120"/>
                  <a:pt x="5656194" y="863120"/>
                </a:cubicBezTo>
                <a:cubicBezTo>
                  <a:pt x="5660886" y="863120"/>
                  <a:pt x="5664681" y="864628"/>
                  <a:pt x="5667538" y="867684"/>
                </a:cubicBezTo>
                <a:cubicBezTo>
                  <a:pt x="5670353" y="870699"/>
                  <a:pt x="5671782" y="874693"/>
                  <a:pt x="5671782" y="879583"/>
                </a:cubicBezTo>
                <a:cubicBezTo>
                  <a:pt x="5671782" y="879583"/>
                  <a:pt x="5671782" y="879583"/>
                  <a:pt x="5671782" y="925343"/>
                </a:cubicBezTo>
                <a:cubicBezTo>
                  <a:pt x="5671782" y="926321"/>
                  <a:pt x="5672271" y="926810"/>
                  <a:pt x="5673251" y="926810"/>
                </a:cubicBezTo>
                <a:cubicBezTo>
                  <a:pt x="5673251" y="926810"/>
                  <a:pt x="5673251" y="926810"/>
                  <a:pt x="5684472" y="926810"/>
                </a:cubicBezTo>
                <a:cubicBezTo>
                  <a:pt x="5685452" y="926810"/>
                  <a:pt x="5685941" y="926321"/>
                  <a:pt x="5685941" y="925343"/>
                </a:cubicBezTo>
                <a:cubicBezTo>
                  <a:pt x="5685941" y="925343"/>
                  <a:pt x="5685941" y="925343"/>
                  <a:pt x="5685941" y="876812"/>
                </a:cubicBezTo>
                <a:cubicBezTo>
                  <a:pt x="5685941" y="868866"/>
                  <a:pt x="5683574" y="862550"/>
                  <a:pt x="5678882" y="857904"/>
                </a:cubicBezTo>
                <a:cubicBezTo>
                  <a:pt x="5674148" y="853218"/>
                  <a:pt x="5667782" y="850895"/>
                  <a:pt x="5659703" y="850895"/>
                </a:cubicBezTo>
                <a:cubicBezTo>
                  <a:pt x="5651460" y="850895"/>
                  <a:pt x="5645217" y="853585"/>
                  <a:pt x="5641014" y="859005"/>
                </a:cubicBezTo>
                <a:cubicBezTo>
                  <a:pt x="5640891" y="859208"/>
                  <a:pt x="5640769" y="859249"/>
                  <a:pt x="5640646" y="859127"/>
                </a:cubicBezTo>
                <a:cubicBezTo>
                  <a:pt x="5640483" y="859045"/>
                  <a:pt x="5640402" y="858882"/>
                  <a:pt x="5640402" y="858719"/>
                </a:cubicBezTo>
                <a:cubicBezTo>
                  <a:pt x="5640402" y="858719"/>
                  <a:pt x="5640402" y="858719"/>
                  <a:pt x="5640402" y="825305"/>
                </a:cubicBezTo>
                <a:cubicBezTo>
                  <a:pt x="5640402" y="824327"/>
                  <a:pt x="5639912" y="823838"/>
                  <a:pt x="5638933" y="823838"/>
                </a:cubicBezTo>
                <a:cubicBezTo>
                  <a:pt x="5638933" y="823838"/>
                  <a:pt x="5638933" y="823838"/>
                  <a:pt x="5627752" y="823838"/>
                </a:cubicBezTo>
                <a:close/>
                <a:moveTo>
                  <a:pt x="6459320" y="821114"/>
                </a:moveTo>
                <a:cubicBezTo>
                  <a:pt x="6456554" y="821114"/>
                  <a:pt x="6454284" y="821981"/>
                  <a:pt x="6452468" y="823797"/>
                </a:cubicBezTo>
                <a:cubicBezTo>
                  <a:pt x="6450694" y="825572"/>
                  <a:pt x="6449785" y="827842"/>
                  <a:pt x="6449785" y="830648"/>
                </a:cubicBezTo>
                <a:cubicBezTo>
                  <a:pt x="6449785" y="833414"/>
                  <a:pt x="6450694" y="835684"/>
                  <a:pt x="6452468" y="837500"/>
                </a:cubicBezTo>
                <a:cubicBezTo>
                  <a:pt x="6454284" y="839275"/>
                  <a:pt x="6456554" y="840183"/>
                  <a:pt x="6459320" y="840183"/>
                </a:cubicBezTo>
                <a:cubicBezTo>
                  <a:pt x="6462126" y="840183"/>
                  <a:pt x="6464397" y="839275"/>
                  <a:pt x="6466213" y="837500"/>
                </a:cubicBezTo>
                <a:cubicBezTo>
                  <a:pt x="6467988" y="835684"/>
                  <a:pt x="6468854" y="833414"/>
                  <a:pt x="6468854" y="830648"/>
                </a:cubicBezTo>
                <a:cubicBezTo>
                  <a:pt x="6468854" y="827842"/>
                  <a:pt x="6467988" y="825572"/>
                  <a:pt x="6466213" y="823797"/>
                </a:cubicBezTo>
                <a:cubicBezTo>
                  <a:pt x="6464397" y="821981"/>
                  <a:pt x="6462126" y="821114"/>
                  <a:pt x="6459320" y="821114"/>
                </a:cubicBezTo>
                <a:close/>
                <a:moveTo>
                  <a:pt x="4611164" y="615715"/>
                </a:moveTo>
                <a:cubicBezTo>
                  <a:pt x="4611164" y="615715"/>
                  <a:pt x="4611164" y="615715"/>
                  <a:pt x="4648928" y="615715"/>
                </a:cubicBezTo>
                <a:cubicBezTo>
                  <a:pt x="4652143" y="615715"/>
                  <a:pt x="4653770" y="617186"/>
                  <a:pt x="4653770" y="620167"/>
                </a:cubicBezTo>
                <a:cubicBezTo>
                  <a:pt x="4653770" y="620167"/>
                  <a:pt x="4653770" y="620167"/>
                  <a:pt x="4653770" y="716580"/>
                </a:cubicBezTo>
                <a:cubicBezTo>
                  <a:pt x="4653770" y="720297"/>
                  <a:pt x="4650718" y="723318"/>
                  <a:pt x="4646975" y="723237"/>
                </a:cubicBezTo>
                <a:cubicBezTo>
                  <a:pt x="4639283" y="723114"/>
                  <a:pt x="4641196" y="722992"/>
                  <a:pt x="4626017" y="722992"/>
                </a:cubicBezTo>
                <a:cubicBezTo>
                  <a:pt x="4626017" y="722992"/>
                  <a:pt x="4626017" y="722992"/>
                  <a:pt x="4611164" y="722992"/>
                </a:cubicBezTo>
                <a:cubicBezTo>
                  <a:pt x="4602578" y="722992"/>
                  <a:pt x="4596555" y="721236"/>
                  <a:pt x="4593096" y="717724"/>
                </a:cubicBezTo>
                <a:cubicBezTo>
                  <a:pt x="4589596" y="714253"/>
                  <a:pt x="4587847" y="708209"/>
                  <a:pt x="4587847" y="699593"/>
                </a:cubicBezTo>
                <a:cubicBezTo>
                  <a:pt x="4587847" y="699593"/>
                  <a:pt x="4587847" y="699593"/>
                  <a:pt x="4587847" y="639523"/>
                </a:cubicBezTo>
                <a:cubicBezTo>
                  <a:pt x="4587847" y="630907"/>
                  <a:pt x="4589596" y="624781"/>
                  <a:pt x="4593096" y="621147"/>
                </a:cubicBezTo>
                <a:cubicBezTo>
                  <a:pt x="4596555" y="617553"/>
                  <a:pt x="4602578" y="615715"/>
                  <a:pt x="4611164" y="615715"/>
                </a:cubicBezTo>
                <a:close/>
                <a:moveTo>
                  <a:pt x="5546694" y="598281"/>
                </a:moveTo>
                <a:cubicBezTo>
                  <a:pt x="5546694" y="598281"/>
                  <a:pt x="5546694" y="598281"/>
                  <a:pt x="5574841" y="598281"/>
                </a:cubicBezTo>
                <a:cubicBezTo>
                  <a:pt x="5597317" y="598281"/>
                  <a:pt x="5608576" y="609798"/>
                  <a:pt x="5608576" y="632832"/>
                </a:cubicBezTo>
                <a:cubicBezTo>
                  <a:pt x="5608576" y="632832"/>
                  <a:pt x="5608576" y="632832"/>
                  <a:pt x="5608576" y="717330"/>
                </a:cubicBezTo>
                <a:cubicBezTo>
                  <a:pt x="5608576" y="740405"/>
                  <a:pt x="5597317" y="751921"/>
                  <a:pt x="5574841" y="751921"/>
                </a:cubicBezTo>
                <a:cubicBezTo>
                  <a:pt x="5574841" y="751921"/>
                  <a:pt x="5574841" y="751921"/>
                  <a:pt x="5546694" y="751921"/>
                </a:cubicBezTo>
                <a:cubicBezTo>
                  <a:pt x="5524218" y="751921"/>
                  <a:pt x="5512959" y="740405"/>
                  <a:pt x="5512959" y="717330"/>
                </a:cubicBezTo>
                <a:cubicBezTo>
                  <a:pt x="5512959" y="717330"/>
                  <a:pt x="5512959" y="717330"/>
                  <a:pt x="5512959" y="632832"/>
                </a:cubicBezTo>
                <a:cubicBezTo>
                  <a:pt x="5512959" y="609798"/>
                  <a:pt x="5524218" y="598281"/>
                  <a:pt x="5546694" y="598281"/>
                </a:cubicBezTo>
                <a:close/>
                <a:moveTo>
                  <a:pt x="6144850" y="598009"/>
                </a:moveTo>
                <a:cubicBezTo>
                  <a:pt x="6144850" y="598009"/>
                  <a:pt x="6144850" y="598009"/>
                  <a:pt x="6201158" y="598009"/>
                </a:cubicBezTo>
                <a:cubicBezTo>
                  <a:pt x="6203853" y="598009"/>
                  <a:pt x="6205159" y="599236"/>
                  <a:pt x="6205159" y="601649"/>
                </a:cubicBezTo>
                <a:cubicBezTo>
                  <a:pt x="6205159" y="601649"/>
                  <a:pt x="6205159" y="601649"/>
                  <a:pt x="6205159" y="714865"/>
                </a:cubicBezTo>
                <a:cubicBezTo>
                  <a:pt x="6205159" y="726685"/>
                  <a:pt x="6201974" y="735806"/>
                  <a:pt x="6195523" y="742269"/>
                </a:cubicBezTo>
                <a:cubicBezTo>
                  <a:pt x="6189071" y="748690"/>
                  <a:pt x="6179843" y="751921"/>
                  <a:pt x="6167757" y="751921"/>
                </a:cubicBezTo>
                <a:cubicBezTo>
                  <a:pt x="6167757" y="751921"/>
                  <a:pt x="6167757" y="751921"/>
                  <a:pt x="6144850" y="751921"/>
                </a:cubicBezTo>
                <a:cubicBezTo>
                  <a:pt x="6122596" y="751921"/>
                  <a:pt x="6111449" y="740224"/>
                  <a:pt x="6111449" y="716869"/>
                </a:cubicBezTo>
                <a:cubicBezTo>
                  <a:pt x="6111449" y="716869"/>
                  <a:pt x="6111449" y="716869"/>
                  <a:pt x="6111449" y="633061"/>
                </a:cubicBezTo>
                <a:cubicBezTo>
                  <a:pt x="6111449" y="609706"/>
                  <a:pt x="6122596" y="598009"/>
                  <a:pt x="6144850" y="598009"/>
                </a:cubicBezTo>
                <a:close/>
                <a:moveTo>
                  <a:pt x="6598221" y="572402"/>
                </a:moveTo>
                <a:cubicBezTo>
                  <a:pt x="6593404" y="572402"/>
                  <a:pt x="6590178" y="574158"/>
                  <a:pt x="6588586" y="577629"/>
                </a:cubicBezTo>
                <a:cubicBezTo>
                  <a:pt x="6588586" y="577629"/>
                  <a:pt x="6588586" y="577629"/>
                  <a:pt x="6531467" y="667716"/>
                </a:cubicBezTo>
                <a:cubicBezTo>
                  <a:pt x="6529875" y="670698"/>
                  <a:pt x="6529875" y="673515"/>
                  <a:pt x="6531467" y="676170"/>
                </a:cubicBezTo>
                <a:cubicBezTo>
                  <a:pt x="6531467" y="676170"/>
                  <a:pt x="6531467" y="676170"/>
                  <a:pt x="6593404" y="771893"/>
                </a:cubicBezTo>
                <a:cubicBezTo>
                  <a:pt x="6595812" y="775691"/>
                  <a:pt x="6599568" y="777528"/>
                  <a:pt x="6604672" y="777528"/>
                </a:cubicBezTo>
                <a:cubicBezTo>
                  <a:pt x="6604672" y="777528"/>
                  <a:pt x="6604672" y="777528"/>
                  <a:pt x="6623535" y="777528"/>
                </a:cubicBezTo>
                <a:cubicBezTo>
                  <a:pt x="6625699" y="777528"/>
                  <a:pt x="6627168" y="776957"/>
                  <a:pt x="6627985" y="775731"/>
                </a:cubicBezTo>
                <a:cubicBezTo>
                  <a:pt x="6628761" y="774547"/>
                  <a:pt x="6628638" y="772995"/>
                  <a:pt x="6627577" y="771117"/>
                </a:cubicBezTo>
                <a:cubicBezTo>
                  <a:pt x="6627577" y="771117"/>
                  <a:pt x="6627577" y="771117"/>
                  <a:pt x="6562415" y="672168"/>
                </a:cubicBezTo>
                <a:cubicBezTo>
                  <a:pt x="6562415" y="672168"/>
                  <a:pt x="6562415" y="672168"/>
                  <a:pt x="6562415" y="670534"/>
                </a:cubicBezTo>
                <a:cubicBezTo>
                  <a:pt x="6562415" y="670534"/>
                  <a:pt x="6562415" y="670534"/>
                  <a:pt x="6621534" y="578854"/>
                </a:cubicBezTo>
                <a:cubicBezTo>
                  <a:pt x="6622882" y="576976"/>
                  <a:pt x="6623208" y="575424"/>
                  <a:pt x="6622555" y="574199"/>
                </a:cubicBezTo>
                <a:cubicBezTo>
                  <a:pt x="6621902" y="573014"/>
                  <a:pt x="6620473" y="572402"/>
                  <a:pt x="6618309" y="572402"/>
                </a:cubicBezTo>
                <a:cubicBezTo>
                  <a:pt x="6618309" y="572402"/>
                  <a:pt x="6618309" y="572402"/>
                  <a:pt x="6598221" y="572402"/>
                </a:cubicBezTo>
                <a:close/>
                <a:moveTo>
                  <a:pt x="6419882" y="572402"/>
                </a:moveTo>
                <a:cubicBezTo>
                  <a:pt x="6416404" y="572402"/>
                  <a:pt x="6414644" y="574280"/>
                  <a:pt x="6414644" y="578037"/>
                </a:cubicBezTo>
                <a:cubicBezTo>
                  <a:pt x="6414644" y="578037"/>
                  <a:pt x="6414644" y="578037"/>
                  <a:pt x="6414644" y="771934"/>
                </a:cubicBezTo>
                <a:cubicBezTo>
                  <a:pt x="6414644" y="775691"/>
                  <a:pt x="6416526" y="777528"/>
                  <a:pt x="6420291" y="777528"/>
                </a:cubicBezTo>
                <a:cubicBezTo>
                  <a:pt x="6420291" y="777528"/>
                  <a:pt x="6420291" y="777528"/>
                  <a:pt x="6438459" y="777528"/>
                </a:cubicBezTo>
                <a:cubicBezTo>
                  <a:pt x="6442182" y="777528"/>
                  <a:pt x="6444065" y="775691"/>
                  <a:pt x="6444065" y="771934"/>
                </a:cubicBezTo>
                <a:cubicBezTo>
                  <a:pt x="6444065" y="771934"/>
                  <a:pt x="6444065" y="771934"/>
                  <a:pt x="6444065" y="578037"/>
                </a:cubicBezTo>
                <a:cubicBezTo>
                  <a:pt x="6444065" y="574280"/>
                  <a:pt x="6442182" y="572402"/>
                  <a:pt x="6438459" y="572402"/>
                </a:cubicBezTo>
                <a:cubicBezTo>
                  <a:pt x="6438459" y="572402"/>
                  <a:pt x="6438459" y="572402"/>
                  <a:pt x="6419882" y="572402"/>
                </a:cubicBezTo>
                <a:close/>
                <a:moveTo>
                  <a:pt x="6141611" y="572402"/>
                </a:moveTo>
                <a:cubicBezTo>
                  <a:pt x="6123099" y="572402"/>
                  <a:pt x="6108550" y="577629"/>
                  <a:pt x="6097966" y="588084"/>
                </a:cubicBezTo>
                <a:cubicBezTo>
                  <a:pt x="6087341" y="598538"/>
                  <a:pt x="6082029" y="613157"/>
                  <a:pt x="6082029" y="631943"/>
                </a:cubicBezTo>
                <a:cubicBezTo>
                  <a:pt x="6082029" y="631943"/>
                  <a:pt x="6082029" y="631943"/>
                  <a:pt x="6082029" y="718028"/>
                </a:cubicBezTo>
                <a:cubicBezTo>
                  <a:pt x="6082029" y="736772"/>
                  <a:pt x="6087341" y="751392"/>
                  <a:pt x="6097966" y="761847"/>
                </a:cubicBezTo>
                <a:cubicBezTo>
                  <a:pt x="6108550" y="772301"/>
                  <a:pt x="6123099" y="777528"/>
                  <a:pt x="6141611" y="777528"/>
                </a:cubicBezTo>
                <a:cubicBezTo>
                  <a:pt x="6141611" y="777528"/>
                  <a:pt x="6141611" y="777528"/>
                  <a:pt x="6162534" y="777528"/>
                </a:cubicBezTo>
                <a:cubicBezTo>
                  <a:pt x="6183212" y="777528"/>
                  <a:pt x="6196902" y="770422"/>
                  <a:pt x="6203604" y="756211"/>
                </a:cubicBezTo>
                <a:cubicBezTo>
                  <a:pt x="6203604" y="756211"/>
                  <a:pt x="6203604" y="756211"/>
                  <a:pt x="6205197" y="756211"/>
                </a:cubicBezTo>
                <a:cubicBezTo>
                  <a:pt x="6205197" y="756211"/>
                  <a:pt x="6205197" y="756211"/>
                  <a:pt x="6205197" y="771934"/>
                </a:cubicBezTo>
                <a:cubicBezTo>
                  <a:pt x="6205197" y="775691"/>
                  <a:pt x="6207077" y="777528"/>
                  <a:pt x="6210837" y="777528"/>
                </a:cubicBezTo>
                <a:cubicBezTo>
                  <a:pt x="6210837" y="777528"/>
                  <a:pt x="6210837" y="777528"/>
                  <a:pt x="6228981" y="777528"/>
                </a:cubicBezTo>
                <a:cubicBezTo>
                  <a:pt x="6232700" y="777528"/>
                  <a:pt x="6234580" y="775691"/>
                  <a:pt x="6234580" y="771934"/>
                </a:cubicBezTo>
                <a:cubicBezTo>
                  <a:pt x="6234580" y="771934"/>
                  <a:pt x="6234580" y="771934"/>
                  <a:pt x="6234580" y="578037"/>
                </a:cubicBezTo>
                <a:cubicBezTo>
                  <a:pt x="6234580" y="574280"/>
                  <a:pt x="6232700" y="572402"/>
                  <a:pt x="6228981" y="572402"/>
                </a:cubicBezTo>
                <a:cubicBezTo>
                  <a:pt x="6228981" y="572402"/>
                  <a:pt x="6228981" y="572402"/>
                  <a:pt x="6141611" y="572402"/>
                </a:cubicBezTo>
                <a:close/>
                <a:moveTo>
                  <a:pt x="5796178" y="572402"/>
                </a:moveTo>
                <a:cubicBezTo>
                  <a:pt x="5792424" y="572402"/>
                  <a:pt x="5790547" y="574280"/>
                  <a:pt x="5790547" y="578037"/>
                </a:cubicBezTo>
                <a:cubicBezTo>
                  <a:pt x="5790547" y="578037"/>
                  <a:pt x="5790547" y="578037"/>
                  <a:pt x="5790547" y="771893"/>
                </a:cubicBezTo>
                <a:cubicBezTo>
                  <a:pt x="5790547" y="775691"/>
                  <a:pt x="5792424" y="777528"/>
                  <a:pt x="5796178" y="777528"/>
                </a:cubicBezTo>
                <a:cubicBezTo>
                  <a:pt x="5796178" y="777528"/>
                  <a:pt x="5796178" y="777528"/>
                  <a:pt x="5814252" y="777528"/>
                </a:cubicBezTo>
                <a:cubicBezTo>
                  <a:pt x="5818006" y="777528"/>
                  <a:pt x="5819882" y="775691"/>
                  <a:pt x="5819882" y="771893"/>
                </a:cubicBezTo>
                <a:cubicBezTo>
                  <a:pt x="5819882" y="771893"/>
                  <a:pt x="5819882" y="771893"/>
                  <a:pt x="5819882" y="635169"/>
                </a:cubicBezTo>
                <a:cubicBezTo>
                  <a:pt x="5819882" y="623367"/>
                  <a:pt x="5823105" y="614260"/>
                  <a:pt x="5829511" y="607808"/>
                </a:cubicBezTo>
                <a:cubicBezTo>
                  <a:pt x="5835957" y="601356"/>
                  <a:pt x="5845178" y="598170"/>
                  <a:pt x="5857255" y="598170"/>
                </a:cubicBezTo>
                <a:cubicBezTo>
                  <a:pt x="5857255" y="598170"/>
                  <a:pt x="5857255" y="598170"/>
                  <a:pt x="5872106" y="598170"/>
                </a:cubicBezTo>
                <a:cubicBezTo>
                  <a:pt x="5894627" y="598170"/>
                  <a:pt x="5905888" y="609809"/>
                  <a:pt x="5905888" y="633127"/>
                </a:cubicBezTo>
                <a:cubicBezTo>
                  <a:pt x="5905888" y="633127"/>
                  <a:pt x="5905888" y="633127"/>
                  <a:pt x="5905888" y="771893"/>
                </a:cubicBezTo>
                <a:cubicBezTo>
                  <a:pt x="5905888" y="775691"/>
                  <a:pt x="5907765" y="777528"/>
                  <a:pt x="5911518" y="777528"/>
                </a:cubicBezTo>
                <a:cubicBezTo>
                  <a:pt x="5911518" y="777528"/>
                  <a:pt x="5911518" y="777528"/>
                  <a:pt x="5929592" y="777528"/>
                </a:cubicBezTo>
                <a:cubicBezTo>
                  <a:pt x="5933346" y="777528"/>
                  <a:pt x="5935223" y="775691"/>
                  <a:pt x="5935223" y="771893"/>
                </a:cubicBezTo>
                <a:cubicBezTo>
                  <a:pt x="5935223" y="771893"/>
                  <a:pt x="5935223" y="771893"/>
                  <a:pt x="5935223" y="636353"/>
                </a:cubicBezTo>
                <a:cubicBezTo>
                  <a:pt x="5935223" y="624551"/>
                  <a:pt x="5938487" y="615240"/>
                  <a:pt x="5945055" y="608420"/>
                </a:cubicBezTo>
                <a:cubicBezTo>
                  <a:pt x="5951624" y="601560"/>
                  <a:pt x="5960927" y="598170"/>
                  <a:pt x="5973003" y="598170"/>
                </a:cubicBezTo>
                <a:cubicBezTo>
                  <a:pt x="5973003" y="598170"/>
                  <a:pt x="5973003" y="598170"/>
                  <a:pt x="5986263" y="598170"/>
                </a:cubicBezTo>
                <a:cubicBezTo>
                  <a:pt x="6008744" y="598170"/>
                  <a:pt x="6020004" y="609809"/>
                  <a:pt x="6020004" y="633127"/>
                </a:cubicBezTo>
                <a:cubicBezTo>
                  <a:pt x="6020004" y="633127"/>
                  <a:pt x="6020004" y="633127"/>
                  <a:pt x="6020004" y="771893"/>
                </a:cubicBezTo>
                <a:cubicBezTo>
                  <a:pt x="6020004" y="775691"/>
                  <a:pt x="6021881" y="777528"/>
                  <a:pt x="6025635" y="777528"/>
                </a:cubicBezTo>
                <a:cubicBezTo>
                  <a:pt x="6025635" y="777528"/>
                  <a:pt x="6025635" y="777528"/>
                  <a:pt x="6043709" y="777528"/>
                </a:cubicBezTo>
                <a:cubicBezTo>
                  <a:pt x="6047462" y="777528"/>
                  <a:pt x="6049339" y="775691"/>
                  <a:pt x="6049339" y="771893"/>
                </a:cubicBezTo>
                <a:cubicBezTo>
                  <a:pt x="6049339" y="771893"/>
                  <a:pt x="6049339" y="771893"/>
                  <a:pt x="6049339" y="631943"/>
                </a:cubicBezTo>
                <a:cubicBezTo>
                  <a:pt x="6049339" y="613157"/>
                  <a:pt x="6044239" y="598538"/>
                  <a:pt x="6034080" y="588084"/>
                </a:cubicBezTo>
                <a:cubicBezTo>
                  <a:pt x="6023880" y="577629"/>
                  <a:pt x="6009682" y="572402"/>
                  <a:pt x="5991485" y="572402"/>
                </a:cubicBezTo>
                <a:cubicBezTo>
                  <a:pt x="5991485" y="572402"/>
                  <a:pt x="5991485" y="572402"/>
                  <a:pt x="5977409" y="572402"/>
                </a:cubicBezTo>
                <a:cubicBezTo>
                  <a:pt x="5967210" y="572402"/>
                  <a:pt x="5957499" y="574770"/>
                  <a:pt x="5948278" y="579426"/>
                </a:cubicBezTo>
                <a:cubicBezTo>
                  <a:pt x="5939017" y="584122"/>
                  <a:pt x="5932244" y="590901"/>
                  <a:pt x="5928001" y="599763"/>
                </a:cubicBezTo>
                <a:cubicBezTo>
                  <a:pt x="5918862" y="581508"/>
                  <a:pt x="5902501" y="572402"/>
                  <a:pt x="5878960" y="572402"/>
                </a:cubicBezTo>
                <a:cubicBezTo>
                  <a:pt x="5878960" y="572402"/>
                  <a:pt x="5878960" y="572402"/>
                  <a:pt x="5864068" y="572402"/>
                </a:cubicBezTo>
                <a:cubicBezTo>
                  <a:pt x="5843179" y="572402"/>
                  <a:pt x="5828981" y="579507"/>
                  <a:pt x="5821474" y="593719"/>
                </a:cubicBezTo>
                <a:cubicBezTo>
                  <a:pt x="5821474" y="593719"/>
                  <a:pt x="5821474" y="593719"/>
                  <a:pt x="5819882" y="593719"/>
                </a:cubicBezTo>
                <a:cubicBezTo>
                  <a:pt x="5819882" y="593719"/>
                  <a:pt x="5819882" y="593719"/>
                  <a:pt x="5819882" y="578037"/>
                </a:cubicBezTo>
                <a:cubicBezTo>
                  <a:pt x="5819882" y="574280"/>
                  <a:pt x="5818006" y="572402"/>
                  <a:pt x="5814252" y="572402"/>
                </a:cubicBezTo>
                <a:cubicBezTo>
                  <a:pt x="5814252" y="572402"/>
                  <a:pt x="5814252" y="572402"/>
                  <a:pt x="5796178" y="572402"/>
                </a:cubicBezTo>
                <a:close/>
                <a:moveTo>
                  <a:pt x="5675174" y="572402"/>
                </a:moveTo>
                <a:cubicBezTo>
                  <a:pt x="5671428" y="572402"/>
                  <a:pt x="5669596" y="574280"/>
                  <a:pt x="5669596" y="578037"/>
                </a:cubicBezTo>
                <a:cubicBezTo>
                  <a:pt x="5669596" y="578037"/>
                  <a:pt x="5669596" y="578037"/>
                  <a:pt x="5669596" y="771893"/>
                </a:cubicBezTo>
                <a:cubicBezTo>
                  <a:pt x="5669596" y="775691"/>
                  <a:pt x="5671428" y="777528"/>
                  <a:pt x="5675174" y="777528"/>
                </a:cubicBezTo>
                <a:cubicBezTo>
                  <a:pt x="5675174" y="777528"/>
                  <a:pt x="5675174" y="777528"/>
                  <a:pt x="5693251" y="777528"/>
                </a:cubicBezTo>
                <a:cubicBezTo>
                  <a:pt x="5696956" y="777528"/>
                  <a:pt x="5698829" y="775691"/>
                  <a:pt x="5698829" y="771893"/>
                </a:cubicBezTo>
                <a:cubicBezTo>
                  <a:pt x="5698829" y="771893"/>
                  <a:pt x="5698829" y="771893"/>
                  <a:pt x="5698829" y="638763"/>
                </a:cubicBezTo>
                <a:cubicBezTo>
                  <a:pt x="5698829" y="626185"/>
                  <a:pt x="5702045" y="616261"/>
                  <a:pt x="5708478" y="609033"/>
                </a:cubicBezTo>
                <a:cubicBezTo>
                  <a:pt x="5714910" y="601764"/>
                  <a:pt x="5724112" y="598170"/>
                  <a:pt x="5736163" y="598170"/>
                </a:cubicBezTo>
                <a:cubicBezTo>
                  <a:pt x="5736163" y="598170"/>
                  <a:pt x="5736163" y="598170"/>
                  <a:pt x="5757822" y="598170"/>
                </a:cubicBezTo>
                <a:cubicBezTo>
                  <a:pt x="5759655" y="598415"/>
                  <a:pt x="5760998" y="598088"/>
                  <a:pt x="5761812" y="597149"/>
                </a:cubicBezTo>
                <a:cubicBezTo>
                  <a:pt x="5762627" y="596210"/>
                  <a:pt x="5763034" y="594781"/>
                  <a:pt x="5763034" y="592902"/>
                </a:cubicBezTo>
                <a:cubicBezTo>
                  <a:pt x="5763034" y="592902"/>
                  <a:pt x="5763034" y="592902"/>
                  <a:pt x="5763034" y="578037"/>
                </a:cubicBezTo>
                <a:cubicBezTo>
                  <a:pt x="5763034" y="574280"/>
                  <a:pt x="5761283" y="572402"/>
                  <a:pt x="5757822" y="572402"/>
                </a:cubicBezTo>
                <a:cubicBezTo>
                  <a:pt x="5757822" y="572402"/>
                  <a:pt x="5757822" y="572402"/>
                  <a:pt x="5742148" y="572402"/>
                </a:cubicBezTo>
                <a:cubicBezTo>
                  <a:pt x="5732010" y="572402"/>
                  <a:pt x="5723175" y="574566"/>
                  <a:pt x="5715684" y="578854"/>
                </a:cubicBezTo>
                <a:cubicBezTo>
                  <a:pt x="5708193" y="583142"/>
                  <a:pt x="5703144" y="588247"/>
                  <a:pt x="5700457" y="594127"/>
                </a:cubicBezTo>
                <a:cubicBezTo>
                  <a:pt x="5700457" y="594127"/>
                  <a:pt x="5700457" y="594127"/>
                  <a:pt x="5698829" y="594127"/>
                </a:cubicBezTo>
                <a:cubicBezTo>
                  <a:pt x="5698829" y="594127"/>
                  <a:pt x="5698829" y="594127"/>
                  <a:pt x="5698829" y="578037"/>
                </a:cubicBezTo>
                <a:cubicBezTo>
                  <a:pt x="5698829" y="574280"/>
                  <a:pt x="5696956" y="572402"/>
                  <a:pt x="5693251" y="572402"/>
                </a:cubicBezTo>
                <a:cubicBezTo>
                  <a:pt x="5693251" y="572402"/>
                  <a:pt x="5693251" y="572402"/>
                  <a:pt x="5675174" y="572402"/>
                </a:cubicBezTo>
                <a:close/>
                <a:moveTo>
                  <a:pt x="5543482" y="572402"/>
                </a:moveTo>
                <a:cubicBezTo>
                  <a:pt x="5525014" y="572402"/>
                  <a:pt x="5510501" y="577629"/>
                  <a:pt x="5499942" y="588084"/>
                </a:cubicBezTo>
                <a:cubicBezTo>
                  <a:pt x="5489342" y="598538"/>
                  <a:pt x="5484083" y="613157"/>
                  <a:pt x="5484083" y="631943"/>
                </a:cubicBezTo>
                <a:cubicBezTo>
                  <a:pt x="5484083" y="631943"/>
                  <a:pt x="5484083" y="631943"/>
                  <a:pt x="5484083" y="718028"/>
                </a:cubicBezTo>
                <a:cubicBezTo>
                  <a:pt x="5484083" y="736772"/>
                  <a:pt x="5489342" y="751392"/>
                  <a:pt x="5499942" y="761847"/>
                </a:cubicBezTo>
                <a:cubicBezTo>
                  <a:pt x="5510501" y="772301"/>
                  <a:pt x="5525014" y="777528"/>
                  <a:pt x="5543482" y="777528"/>
                </a:cubicBezTo>
                <a:cubicBezTo>
                  <a:pt x="5543482" y="777528"/>
                  <a:pt x="5543482" y="777528"/>
                  <a:pt x="5578012" y="777528"/>
                </a:cubicBezTo>
                <a:cubicBezTo>
                  <a:pt x="5596480" y="777528"/>
                  <a:pt x="5611034" y="772301"/>
                  <a:pt x="5621593" y="761847"/>
                </a:cubicBezTo>
                <a:cubicBezTo>
                  <a:pt x="5632152" y="751392"/>
                  <a:pt x="5637452" y="736772"/>
                  <a:pt x="5637452" y="718028"/>
                </a:cubicBezTo>
                <a:cubicBezTo>
                  <a:pt x="5637452" y="718028"/>
                  <a:pt x="5637452" y="718028"/>
                  <a:pt x="5637452" y="631943"/>
                </a:cubicBezTo>
                <a:cubicBezTo>
                  <a:pt x="5637452" y="613157"/>
                  <a:pt x="5632152" y="598538"/>
                  <a:pt x="5621593" y="588084"/>
                </a:cubicBezTo>
                <a:cubicBezTo>
                  <a:pt x="5611034" y="577629"/>
                  <a:pt x="5596480" y="572402"/>
                  <a:pt x="5578012" y="572402"/>
                </a:cubicBezTo>
                <a:cubicBezTo>
                  <a:pt x="5578012" y="572402"/>
                  <a:pt x="5578012" y="572402"/>
                  <a:pt x="5543482" y="572402"/>
                </a:cubicBezTo>
                <a:close/>
                <a:moveTo>
                  <a:pt x="5190876" y="572402"/>
                </a:moveTo>
                <a:cubicBezTo>
                  <a:pt x="5187123" y="572402"/>
                  <a:pt x="5185247" y="574280"/>
                  <a:pt x="5185247" y="578037"/>
                </a:cubicBezTo>
                <a:cubicBezTo>
                  <a:pt x="5185247" y="578037"/>
                  <a:pt x="5185247" y="578037"/>
                  <a:pt x="5185247" y="771893"/>
                </a:cubicBezTo>
                <a:cubicBezTo>
                  <a:pt x="5185247" y="775691"/>
                  <a:pt x="5187123" y="777528"/>
                  <a:pt x="5190876" y="777528"/>
                </a:cubicBezTo>
                <a:cubicBezTo>
                  <a:pt x="5190876" y="777528"/>
                  <a:pt x="5190876" y="777528"/>
                  <a:pt x="5208947" y="777528"/>
                </a:cubicBezTo>
                <a:cubicBezTo>
                  <a:pt x="5212700" y="777528"/>
                  <a:pt x="5214577" y="775691"/>
                  <a:pt x="5214577" y="771893"/>
                </a:cubicBezTo>
                <a:cubicBezTo>
                  <a:pt x="5214577" y="771893"/>
                  <a:pt x="5214577" y="771893"/>
                  <a:pt x="5214577" y="635169"/>
                </a:cubicBezTo>
                <a:cubicBezTo>
                  <a:pt x="5214577" y="623367"/>
                  <a:pt x="5217800" y="614260"/>
                  <a:pt x="5224204" y="607808"/>
                </a:cubicBezTo>
                <a:cubicBezTo>
                  <a:pt x="5230649" y="601356"/>
                  <a:pt x="5239868" y="598170"/>
                  <a:pt x="5251943" y="598170"/>
                </a:cubicBezTo>
                <a:cubicBezTo>
                  <a:pt x="5251943" y="598170"/>
                  <a:pt x="5251943" y="598170"/>
                  <a:pt x="5274460" y="598170"/>
                </a:cubicBezTo>
                <a:cubicBezTo>
                  <a:pt x="5296937" y="598170"/>
                  <a:pt x="5308196" y="609809"/>
                  <a:pt x="5308196" y="633127"/>
                </a:cubicBezTo>
                <a:cubicBezTo>
                  <a:pt x="5308196" y="633127"/>
                  <a:pt x="5308196" y="633127"/>
                  <a:pt x="5308196" y="771893"/>
                </a:cubicBezTo>
                <a:cubicBezTo>
                  <a:pt x="5308196" y="775691"/>
                  <a:pt x="5310072" y="777528"/>
                  <a:pt x="5313825" y="777528"/>
                </a:cubicBezTo>
                <a:cubicBezTo>
                  <a:pt x="5313825" y="777528"/>
                  <a:pt x="5313825" y="777528"/>
                  <a:pt x="5331896" y="777528"/>
                </a:cubicBezTo>
                <a:cubicBezTo>
                  <a:pt x="5335649" y="777528"/>
                  <a:pt x="5337525" y="775691"/>
                  <a:pt x="5337525" y="771893"/>
                </a:cubicBezTo>
                <a:cubicBezTo>
                  <a:pt x="5337525" y="771893"/>
                  <a:pt x="5337525" y="771893"/>
                  <a:pt x="5337525" y="631943"/>
                </a:cubicBezTo>
                <a:cubicBezTo>
                  <a:pt x="5337525" y="613157"/>
                  <a:pt x="5332427" y="598538"/>
                  <a:pt x="5322269" y="588084"/>
                </a:cubicBezTo>
                <a:cubicBezTo>
                  <a:pt x="5312071" y="577629"/>
                  <a:pt x="5297875" y="572402"/>
                  <a:pt x="5279682" y="572402"/>
                </a:cubicBezTo>
                <a:cubicBezTo>
                  <a:pt x="5279682" y="572402"/>
                  <a:pt x="5279682" y="572402"/>
                  <a:pt x="5257164" y="572402"/>
                </a:cubicBezTo>
                <a:cubicBezTo>
                  <a:pt x="5236523" y="572402"/>
                  <a:pt x="5222858" y="579507"/>
                  <a:pt x="5216168" y="593719"/>
                </a:cubicBezTo>
                <a:cubicBezTo>
                  <a:pt x="5216168" y="593719"/>
                  <a:pt x="5216168" y="593719"/>
                  <a:pt x="5214577" y="593719"/>
                </a:cubicBezTo>
                <a:cubicBezTo>
                  <a:pt x="5214577" y="593719"/>
                  <a:pt x="5214577" y="593719"/>
                  <a:pt x="5214577" y="578037"/>
                </a:cubicBezTo>
                <a:cubicBezTo>
                  <a:pt x="5214577" y="574280"/>
                  <a:pt x="5212700" y="572402"/>
                  <a:pt x="5208947" y="572402"/>
                </a:cubicBezTo>
                <a:cubicBezTo>
                  <a:pt x="5208947" y="572402"/>
                  <a:pt x="5208947" y="572402"/>
                  <a:pt x="5190876" y="572402"/>
                </a:cubicBezTo>
                <a:close/>
                <a:moveTo>
                  <a:pt x="5123199" y="572402"/>
                </a:moveTo>
                <a:cubicBezTo>
                  <a:pt x="5119680" y="572402"/>
                  <a:pt x="5117961" y="574280"/>
                  <a:pt x="5117961" y="578037"/>
                </a:cubicBezTo>
                <a:cubicBezTo>
                  <a:pt x="5117961" y="578037"/>
                  <a:pt x="5117961" y="578037"/>
                  <a:pt x="5117961" y="771934"/>
                </a:cubicBezTo>
                <a:cubicBezTo>
                  <a:pt x="5117961" y="775691"/>
                  <a:pt x="5119843" y="777528"/>
                  <a:pt x="5123608" y="777528"/>
                </a:cubicBezTo>
                <a:cubicBezTo>
                  <a:pt x="5123608" y="777528"/>
                  <a:pt x="5123608" y="777528"/>
                  <a:pt x="5141735" y="777528"/>
                </a:cubicBezTo>
                <a:cubicBezTo>
                  <a:pt x="5145499" y="777528"/>
                  <a:pt x="5147382" y="775691"/>
                  <a:pt x="5147382" y="771934"/>
                </a:cubicBezTo>
                <a:cubicBezTo>
                  <a:pt x="5147382" y="771934"/>
                  <a:pt x="5147382" y="771934"/>
                  <a:pt x="5147382" y="578037"/>
                </a:cubicBezTo>
                <a:cubicBezTo>
                  <a:pt x="5147382" y="574280"/>
                  <a:pt x="5145499" y="572402"/>
                  <a:pt x="5141735" y="572402"/>
                </a:cubicBezTo>
                <a:cubicBezTo>
                  <a:pt x="5141735" y="572402"/>
                  <a:pt x="5141735" y="572402"/>
                  <a:pt x="5123199" y="572402"/>
                </a:cubicBezTo>
                <a:close/>
                <a:moveTo>
                  <a:pt x="4846645" y="571312"/>
                </a:moveTo>
                <a:cubicBezTo>
                  <a:pt x="4841011" y="571312"/>
                  <a:pt x="4839011" y="574130"/>
                  <a:pt x="4840603" y="579766"/>
                </a:cubicBezTo>
                <a:cubicBezTo>
                  <a:pt x="4840603" y="579766"/>
                  <a:pt x="4840603" y="579766"/>
                  <a:pt x="4891021" y="768121"/>
                </a:cubicBezTo>
                <a:cubicBezTo>
                  <a:pt x="4892613" y="774043"/>
                  <a:pt x="4896246" y="776984"/>
                  <a:pt x="4901880" y="776984"/>
                </a:cubicBezTo>
                <a:cubicBezTo>
                  <a:pt x="4901880" y="776984"/>
                  <a:pt x="4901880" y="776984"/>
                  <a:pt x="4953074" y="776984"/>
                </a:cubicBezTo>
                <a:cubicBezTo>
                  <a:pt x="4959279" y="776984"/>
                  <a:pt x="4962872" y="774043"/>
                  <a:pt x="4963974" y="768121"/>
                </a:cubicBezTo>
                <a:cubicBezTo>
                  <a:pt x="4963974" y="768121"/>
                  <a:pt x="4963974" y="768121"/>
                  <a:pt x="5014759" y="579766"/>
                </a:cubicBezTo>
                <a:cubicBezTo>
                  <a:pt x="5016351" y="574130"/>
                  <a:pt x="5014351" y="571312"/>
                  <a:pt x="5008717" y="571312"/>
                </a:cubicBezTo>
                <a:cubicBezTo>
                  <a:pt x="5008717" y="571312"/>
                  <a:pt x="5008717" y="571312"/>
                  <a:pt x="4973241" y="571312"/>
                </a:cubicBezTo>
                <a:cubicBezTo>
                  <a:pt x="4967607" y="571312"/>
                  <a:pt x="4964219" y="574130"/>
                  <a:pt x="4963157" y="579766"/>
                </a:cubicBezTo>
                <a:cubicBezTo>
                  <a:pt x="4963157" y="579766"/>
                  <a:pt x="4963157" y="579766"/>
                  <a:pt x="4929314" y="731406"/>
                </a:cubicBezTo>
                <a:cubicBezTo>
                  <a:pt x="4929314" y="731406"/>
                  <a:pt x="4929314" y="731406"/>
                  <a:pt x="4926456" y="731406"/>
                </a:cubicBezTo>
                <a:cubicBezTo>
                  <a:pt x="4926456" y="731406"/>
                  <a:pt x="4926456" y="731406"/>
                  <a:pt x="4891797" y="579766"/>
                </a:cubicBezTo>
                <a:cubicBezTo>
                  <a:pt x="4890735" y="574130"/>
                  <a:pt x="4887510" y="571312"/>
                  <a:pt x="4882121" y="571312"/>
                </a:cubicBezTo>
                <a:cubicBezTo>
                  <a:pt x="4882121" y="571312"/>
                  <a:pt x="4882121" y="571312"/>
                  <a:pt x="4846645" y="571312"/>
                </a:cubicBezTo>
                <a:close/>
                <a:moveTo>
                  <a:pt x="4782840" y="571312"/>
                </a:moveTo>
                <a:cubicBezTo>
                  <a:pt x="4776675" y="571312"/>
                  <a:pt x="4772102" y="574008"/>
                  <a:pt x="4769162" y="579358"/>
                </a:cubicBezTo>
                <a:cubicBezTo>
                  <a:pt x="4769162" y="579358"/>
                  <a:pt x="4769162" y="579358"/>
                  <a:pt x="4720782" y="665286"/>
                </a:cubicBezTo>
                <a:cubicBezTo>
                  <a:pt x="4718332" y="669860"/>
                  <a:pt x="4718332" y="674271"/>
                  <a:pt x="4720782" y="678600"/>
                </a:cubicBezTo>
                <a:cubicBezTo>
                  <a:pt x="4720782" y="678600"/>
                  <a:pt x="4720782" y="678600"/>
                  <a:pt x="4771980" y="768489"/>
                </a:cubicBezTo>
                <a:cubicBezTo>
                  <a:pt x="4774103" y="772001"/>
                  <a:pt x="4776226" y="774288"/>
                  <a:pt x="4778226" y="775350"/>
                </a:cubicBezTo>
                <a:cubicBezTo>
                  <a:pt x="4780227" y="776453"/>
                  <a:pt x="4783534" y="776984"/>
                  <a:pt x="4788106" y="776984"/>
                </a:cubicBezTo>
                <a:cubicBezTo>
                  <a:pt x="4788106" y="776984"/>
                  <a:pt x="4788106" y="776984"/>
                  <a:pt x="4822769" y="776984"/>
                </a:cubicBezTo>
                <a:cubicBezTo>
                  <a:pt x="4826239" y="776984"/>
                  <a:pt x="4828689" y="775963"/>
                  <a:pt x="4830036" y="773962"/>
                </a:cubicBezTo>
                <a:cubicBezTo>
                  <a:pt x="4831383" y="771920"/>
                  <a:pt x="4831220" y="769592"/>
                  <a:pt x="4829628" y="766896"/>
                </a:cubicBezTo>
                <a:cubicBezTo>
                  <a:pt x="4829628" y="766896"/>
                  <a:pt x="4829628" y="766896"/>
                  <a:pt x="4773572" y="671330"/>
                </a:cubicBezTo>
                <a:cubicBezTo>
                  <a:pt x="4773572" y="671330"/>
                  <a:pt x="4773572" y="671330"/>
                  <a:pt x="4773572" y="669697"/>
                </a:cubicBezTo>
                <a:cubicBezTo>
                  <a:pt x="4773572" y="669697"/>
                  <a:pt x="4773572" y="669697"/>
                  <a:pt x="4827219" y="581400"/>
                </a:cubicBezTo>
                <a:cubicBezTo>
                  <a:pt x="4829056" y="578459"/>
                  <a:pt x="4829464" y="576009"/>
                  <a:pt x="4828403" y="574130"/>
                </a:cubicBezTo>
                <a:cubicBezTo>
                  <a:pt x="4827341" y="572252"/>
                  <a:pt x="4825178" y="571312"/>
                  <a:pt x="4821952" y="571312"/>
                </a:cubicBezTo>
                <a:cubicBezTo>
                  <a:pt x="4821952" y="571312"/>
                  <a:pt x="4821952" y="571312"/>
                  <a:pt x="4782840" y="571312"/>
                </a:cubicBezTo>
                <a:close/>
                <a:moveTo>
                  <a:pt x="4603084" y="571312"/>
                </a:moveTo>
                <a:cubicBezTo>
                  <a:pt x="4581872" y="571312"/>
                  <a:pt x="4565473" y="576950"/>
                  <a:pt x="4553929" y="588266"/>
                </a:cubicBezTo>
                <a:cubicBezTo>
                  <a:pt x="4542385" y="599541"/>
                  <a:pt x="4536633" y="615841"/>
                  <a:pt x="4536633" y="637043"/>
                </a:cubicBezTo>
                <a:cubicBezTo>
                  <a:pt x="4536633" y="637043"/>
                  <a:pt x="4536633" y="637043"/>
                  <a:pt x="4536633" y="701997"/>
                </a:cubicBezTo>
                <a:cubicBezTo>
                  <a:pt x="4536633" y="723240"/>
                  <a:pt x="4541895" y="739499"/>
                  <a:pt x="4552501" y="750815"/>
                </a:cubicBezTo>
                <a:cubicBezTo>
                  <a:pt x="4563107" y="762090"/>
                  <a:pt x="4578772" y="767768"/>
                  <a:pt x="4599453" y="767768"/>
                </a:cubicBezTo>
                <a:cubicBezTo>
                  <a:pt x="4599453" y="767768"/>
                  <a:pt x="4599453" y="767768"/>
                  <a:pt x="4612752" y="767932"/>
                </a:cubicBezTo>
                <a:cubicBezTo>
                  <a:pt x="4621155" y="767809"/>
                  <a:pt x="4628090" y="767972"/>
                  <a:pt x="4636493" y="767932"/>
                </a:cubicBezTo>
                <a:cubicBezTo>
                  <a:pt x="4642612" y="767891"/>
                  <a:pt x="4645304" y="767932"/>
                  <a:pt x="4652198" y="767891"/>
                </a:cubicBezTo>
                <a:cubicBezTo>
                  <a:pt x="4652198" y="767891"/>
                  <a:pt x="4652198" y="767891"/>
                  <a:pt x="4653830" y="767891"/>
                </a:cubicBezTo>
                <a:cubicBezTo>
                  <a:pt x="4653830" y="767891"/>
                  <a:pt x="4653830" y="767891"/>
                  <a:pt x="4653830" y="776224"/>
                </a:cubicBezTo>
                <a:cubicBezTo>
                  <a:pt x="4653830" y="784558"/>
                  <a:pt x="4651994" y="790563"/>
                  <a:pt x="4648405" y="794199"/>
                </a:cubicBezTo>
                <a:cubicBezTo>
                  <a:pt x="4644733" y="797794"/>
                  <a:pt x="4638655" y="799632"/>
                  <a:pt x="4630048" y="799632"/>
                </a:cubicBezTo>
                <a:cubicBezTo>
                  <a:pt x="4630048" y="799632"/>
                  <a:pt x="4630048" y="799632"/>
                  <a:pt x="4561190" y="799632"/>
                </a:cubicBezTo>
                <a:cubicBezTo>
                  <a:pt x="4555520" y="799632"/>
                  <a:pt x="4552705" y="802451"/>
                  <a:pt x="4552705" y="808089"/>
                </a:cubicBezTo>
                <a:cubicBezTo>
                  <a:pt x="4552705" y="808089"/>
                  <a:pt x="4552705" y="808089"/>
                  <a:pt x="4552705" y="835909"/>
                </a:cubicBezTo>
                <a:cubicBezTo>
                  <a:pt x="4552705" y="838891"/>
                  <a:pt x="4553317" y="840974"/>
                  <a:pt x="4554541" y="842159"/>
                </a:cubicBezTo>
                <a:cubicBezTo>
                  <a:pt x="4555724" y="843385"/>
                  <a:pt x="4557967" y="843997"/>
                  <a:pt x="4561190" y="843997"/>
                </a:cubicBezTo>
                <a:cubicBezTo>
                  <a:pt x="4561190" y="843997"/>
                  <a:pt x="4561190" y="843997"/>
                  <a:pt x="4638533" y="843997"/>
                </a:cubicBezTo>
                <a:cubicBezTo>
                  <a:pt x="4659459" y="843997"/>
                  <a:pt x="4675776" y="838360"/>
                  <a:pt x="4687443" y="827044"/>
                </a:cubicBezTo>
                <a:cubicBezTo>
                  <a:pt x="4699110" y="815769"/>
                  <a:pt x="4704984" y="799632"/>
                  <a:pt x="4704984" y="778635"/>
                </a:cubicBezTo>
                <a:cubicBezTo>
                  <a:pt x="4704984" y="778635"/>
                  <a:pt x="4704984" y="778635"/>
                  <a:pt x="4704984" y="579769"/>
                </a:cubicBezTo>
                <a:cubicBezTo>
                  <a:pt x="4704984" y="574131"/>
                  <a:pt x="4702006" y="571312"/>
                  <a:pt x="4696091" y="571312"/>
                </a:cubicBezTo>
                <a:cubicBezTo>
                  <a:pt x="4696091" y="571312"/>
                  <a:pt x="4696091" y="571312"/>
                  <a:pt x="4603084" y="571312"/>
                </a:cubicBezTo>
                <a:close/>
                <a:moveTo>
                  <a:pt x="6301153" y="528543"/>
                </a:moveTo>
                <a:cubicBezTo>
                  <a:pt x="6297394" y="528543"/>
                  <a:pt x="6295556" y="530463"/>
                  <a:pt x="6295556" y="534179"/>
                </a:cubicBezTo>
                <a:cubicBezTo>
                  <a:pt x="6295556" y="534179"/>
                  <a:pt x="6295556" y="534179"/>
                  <a:pt x="6295556" y="568768"/>
                </a:cubicBezTo>
                <a:cubicBezTo>
                  <a:pt x="6295556" y="571218"/>
                  <a:pt x="6294207" y="572403"/>
                  <a:pt x="6291511" y="572403"/>
                </a:cubicBezTo>
                <a:cubicBezTo>
                  <a:pt x="6291511" y="572403"/>
                  <a:pt x="6291511" y="572403"/>
                  <a:pt x="6269366" y="572403"/>
                </a:cubicBezTo>
                <a:cubicBezTo>
                  <a:pt x="6265607" y="572403"/>
                  <a:pt x="6263728" y="574281"/>
                  <a:pt x="6263728" y="578038"/>
                </a:cubicBezTo>
                <a:cubicBezTo>
                  <a:pt x="6263728" y="578038"/>
                  <a:pt x="6263728" y="578038"/>
                  <a:pt x="6263728" y="592903"/>
                </a:cubicBezTo>
                <a:cubicBezTo>
                  <a:pt x="6263728" y="596415"/>
                  <a:pt x="6265607" y="598130"/>
                  <a:pt x="6269366" y="598130"/>
                </a:cubicBezTo>
                <a:cubicBezTo>
                  <a:pt x="6269366" y="598130"/>
                  <a:pt x="6269366" y="598130"/>
                  <a:pt x="6291511" y="598130"/>
                </a:cubicBezTo>
                <a:cubicBezTo>
                  <a:pt x="6294207" y="598130"/>
                  <a:pt x="6295556" y="599355"/>
                  <a:pt x="6295556" y="601764"/>
                </a:cubicBezTo>
                <a:cubicBezTo>
                  <a:pt x="6295556" y="601764"/>
                  <a:pt x="6295556" y="601764"/>
                  <a:pt x="6295556" y="718804"/>
                </a:cubicBezTo>
                <a:cubicBezTo>
                  <a:pt x="6295556" y="737344"/>
                  <a:pt x="6301030" y="751719"/>
                  <a:pt x="6312062" y="762051"/>
                </a:cubicBezTo>
                <a:cubicBezTo>
                  <a:pt x="6323012" y="772382"/>
                  <a:pt x="6337802" y="777528"/>
                  <a:pt x="6356310" y="777528"/>
                </a:cubicBezTo>
                <a:cubicBezTo>
                  <a:pt x="6356310" y="777528"/>
                  <a:pt x="6356310" y="777528"/>
                  <a:pt x="6375636" y="777528"/>
                </a:cubicBezTo>
                <a:cubicBezTo>
                  <a:pt x="6379640" y="777528"/>
                  <a:pt x="6381682" y="775813"/>
                  <a:pt x="6381682" y="772301"/>
                </a:cubicBezTo>
                <a:cubicBezTo>
                  <a:pt x="6381682" y="772301"/>
                  <a:pt x="6381682" y="772301"/>
                  <a:pt x="6381682" y="757436"/>
                </a:cubicBezTo>
                <a:cubicBezTo>
                  <a:pt x="6381682" y="753679"/>
                  <a:pt x="6379640" y="751801"/>
                  <a:pt x="6375636" y="751801"/>
                </a:cubicBezTo>
                <a:cubicBezTo>
                  <a:pt x="6375636" y="751801"/>
                  <a:pt x="6375636" y="751801"/>
                  <a:pt x="6359946" y="751801"/>
                </a:cubicBezTo>
                <a:cubicBezTo>
                  <a:pt x="6336331" y="751801"/>
                  <a:pt x="6324523" y="740407"/>
                  <a:pt x="6324523" y="717620"/>
                </a:cubicBezTo>
                <a:cubicBezTo>
                  <a:pt x="6324523" y="717620"/>
                  <a:pt x="6324523" y="717620"/>
                  <a:pt x="6324523" y="601764"/>
                </a:cubicBezTo>
                <a:cubicBezTo>
                  <a:pt x="6324523" y="599355"/>
                  <a:pt x="6325994" y="598130"/>
                  <a:pt x="6328936" y="598130"/>
                </a:cubicBezTo>
                <a:cubicBezTo>
                  <a:pt x="6328936" y="598130"/>
                  <a:pt x="6328936" y="598130"/>
                  <a:pt x="6371591" y="598130"/>
                </a:cubicBezTo>
                <a:cubicBezTo>
                  <a:pt x="6375636" y="598130"/>
                  <a:pt x="6377638" y="596415"/>
                  <a:pt x="6377638" y="592903"/>
                </a:cubicBezTo>
                <a:cubicBezTo>
                  <a:pt x="6377638" y="592903"/>
                  <a:pt x="6377638" y="592903"/>
                  <a:pt x="6377638" y="578038"/>
                </a:cubicBezTo>
                <a:cubicBezTo>
                  <a:pt x="6377638" y="574281"/>
                  <a:pt x="6375636" y="572403"/>
                  <a:pt x="6371591" y="572403"/>
                </a:cubicBezTo>
                <a:cubicBezTo>
                  <a:pt x="6371591" y="572403"/>
                  <a:pt x="6371591" y="572403"/>
                  <a:pt x="6328936" y="572403"/>
                </a:cubicBezTo>
                <a:cubicBezTo>
                  <a:pt x="6325994" y="572403"/>
                  <a:pt x="6324523" y="571218"/>
                  <a:pt x="6324523" y="568768"/>
                </a:cubicBezTo>
                <a:cubicBezTo>
                  <a:pt x="6324523" y="568768"/>
                  <a:pt x="6324523" y="568768"/>
                  <a:pt x="6324523" y="534179"/>
                </a:cubicBezTo>
                <a:cubicBezTo>
                  <a:pt x="6324523" y="530463"/>
                  <a:pt x="6322766" y="528543"/>
                  <a:pt x="6319294" y="528543"/>
                </a:cubicBezTo>
                <a:cubicBezTo>
                  <a:pt x="6319294" y="528543"/>
                  <a:pt x="6319294" y="528543"/>
                  <a:pt x="6301153" y="528543"/>
                </a:cubicBezTo>
                <a:close/>
                <a:moveTo>
                  <a:pt x="6419882" y="495037"/>
                </a:moveTo>
                <a:cubicBezTo>
                  <a:pt x="6416404" y="495037"/>
                  <a:pt x="6414644" y="496924"/>
                  <a:pt x="6414644" y="500698"/>
                </a:cubicBezTo>
                <a:cubicBezTo>
                  <a:pt x="6414644" y="500698"/>
                  <a:pt x="6414644" y="500698"/>
                  <a:pt x="6414644" y="538683"/>
                </a:cubicBezTo>
                <a:cubicBezTo>
                  <a:pt x="6414644" y="542457"/>
                  <a:pt x="6416404" y="544343"/>
                  <a:pt x="6419882" y="544343"/>
                </a:cubicBezTo>
                <a:cubicBezTo>
                  <a:pt x="6419882" y="544343"/>
                  <a:pt x="6419882" y="544343"/>
                  <a:pt x="6438459" y="544343"/>
                </a:cubicBezTo>
                <a:cubicBezTo>
                  <a:pt x="6442182" y="544343"/>
                  <a:pt x="6444065" y="542457"/>
                  <a:pt x="6444065" y="538683"/>
                </a:cubicBezTo>
                <a:cubicBezTo>
                  <a:pt x="6444065" y="538683"/>
                  <a:pt x="6444065" y="538683"/>
                  <a:pt x="6444065" y="500698"/>
                </a:cubicBezTo>
                <a:cubicBezTo>
                  <a:pt x="6444065" y="496924"/>
                  <a:pt x="6442182" y="495037"/>
                  <a:pt x="6438459" y="495037"/>
                </a:cubicBezTo>
                <a:cubicBezTo>
                  <a:pt x="6438459" y="495037"/>
                  <a:pt x="6438459" y="495037"/>
                  <a:pt x="6419882" y="495037"/>
                </a:cubicBezTo>
                <a:close/>
                <a:moveTo>
                  <a:pt x="5123199" y="495037"/>
                </a:moveTo>
                <a:cubicBezTo>
                  <a:pt x="5119680" y="495037"/>
                  <a:pt x="5117961" y="496924"/>
                  <a:pt x="5117961" y="500698"/>
                </a:cubicBezTo>
                <a:cubicBezTo>
                  <a:pt x="5117961" y="500698"/>
                  <a:pt x="5117961" y="500698"/>
                  <a:pt x="5117961" y="538683"/>
                </a:cubicBezTo>
                <a:cubicBezTo>
                  <a:pt x="5117961" y="542457"/>
                  <a:pt x="5119680" y="544343"/>
                  <a:pt x="5123199" y="544343"/>
                </a:cubicBezTo>
                <a:cubicBezTo>
                  <a:pt x="5123199" y="544343"/>
                  <a:pt x="5123199" y="544343"/>
                  <a:pt x="5141735" y="544343"/>
                </a:cubicBezTo>
                <a:cubicBezTo>
                  <a:pt x="5145499" y="544343"/>
                  <a:pt x="5147382" y="542457"/>
                  <a:pt x="5147382" y="538683"/>
                </a:cubicBezTo>
                <a:cubicBezTo>
                  <a:pt x="5147382" y="538683"/>
                  <a:pt x="5147382" y="538683"/>
                  <a:pt x="5147382" y="500698"/>
                </a:cubicBezTo>
                <a:cubicBezTo>
                  <a:pt x="5147382" y="496924"/>
                  <a:pt x="5145499" y="495037"/>
                  <a:pt x="5141735" y="495037"/>
                </a:cubicBezTo>
                <a:cubicBezTo>
                  <a:pt x="5141735" y="495037"/>
                  <a:pt x="5141735" y="495037"/>
                  <a:pt x="5123199" y="495037"/>
                </a:cubicBezTo>
                <a:close/>
                <a:moveTo>
                  <a:pt x="6487577" y="494764"/>
                </a:moveTo>
                <a:cubicBezTo>
                  <a:pt x="6483812" y="494764"/>
                  <a:pt x="6481930" y="496643"/>
                  <a:pt x="6481930" y="500400"/>
                </a:cubicBezTo>
                <a:cubicBezTo>
                  <a:pt x="6481930" y="500400"/>
                  <a:pt x="6481930" y="500400"/>
                  <a:pt x="6481930" y="771892"/>
                </a:cubicBezTo>
                <a:cubicBezTo>
                  <a:pt x="6481930" y="775690"/>
                  <a:pt x="6483812" y="777528"/>
                  <a:pt x="6487577" y="777528"/>
                </a:cubicBezTo>
                <a:cubicBezTo>
                  <a:pt x="6487577" y="777528"/>
                  <a:pt x="6487577" y="777528"/>
                  <a:pt x="6505745" y="777528"/>
                </a:cubicBezTo>
                <a:cubicBezTo>
                  <a:pt x="6509468" y="777528"/>
                  <a:pt x="6511351" y="775690"/>
                  <a:pt x="6511351" y="771892"/>
                </a:cubicBezTo>
                <a:cubicBezTo>
                  <a:pt x="6511351" y="771892"/>
                  <a:pt x="6511351" y="771892"/>
                  <a:pt x="6511351" y="500400"/>
                </a:cubicBezTo>
                <a:cubicBezTo>
                  <a:pt x="6511351" y="496643"/>
                  <a:pt x="6509468" y="494764"/>
                  <a:pt x="6505745" y="494764"/>
                </a:cubicBezTo>
                <a:cubicBezTo>
                  <a:pt x="6505745" y="494764"/>
                  <a:pt x="6505745" y="494764"/>
                  <a:pt x="6487577" y="494764"/>
                </a:cubicBezTo>
                <a:close/>
                <a:moveTo>
                  <a:pt x="5447866" y="494764"/>
                </a:moveTo>
                <a:cubicBezTo>
                  <a:pt x="5429887" y="494764"/>
                  <a:pt x="5416239" y="499869"/>
                  <a:pt x="5406800" y="510038"/>
                </a:cubicBezTo>
                <a:cubicBezTo>
                  <a:pt x="5397442" y="520247"/>
                  <a:pt x="5392743" y="534867"/>
                  <a:pt x="5392743" y="553898"/>
                </a:cubicBezTo>
                <a:cubicBezTo>
                  <a:pt x="5392743" y="553898"/>
                  <a:pt x="5392743" y="553898"/>
                  <a:pt x="5392743" y="568763"/>
                </a:cubicBezTo>
                <a:cubicBezTo>
                  <a:pt x="5392743" y="571173"/>
                  <a:pt x="5391395" y="572398"/>
                  <a:pt x="5388698" y="572398"/>
                </a:cubicBezTo>
                <a:cubicBezTo>
                  <a:pt x="5388698" y="572398"/>
                  <a:pt x="5388698" y="572398"/>
                  <a:pt x="5364957" y="572398"/>
                </a:cubicBezTo>
                <a:cubicBezTo>
                  <a:pt x="5361198" y="572398"/>
                  <a:pt x="5359318" y="574154"/>
                  <a:pt x="5359318" y="577625"/>
                </a:cubicBezTo>
                <a:cubicBezTo>
                  <a:pt x="5359318" y="577625"/>
                  <a:pt x="5359318" y="577625"/>
                  <a:pt x="5359318" y="592531"/>
                </a:cubicBezTo>
                <a:cubicBezTo>
                  <a:pt x="5359318" y="596288"/>
                  <a:pt x="5361198" y="598126"/>
                  <a:pt x="5364957" y="598126"/>
                </a:cubicBezTo>
                <a:cubicBezTo>
                  <a:pt x="5364957" y="598126"/>
                  <a:pt x="5364957" y="598126"/>
                  <a:pt x="5388698" y="598126"/>
                </a:cubicBezTo>
                <a:cubicBezTo>
                  <a:pt x="5391395" y="598126"/>
                  <a:pt x="5392743" y="599351"/>
                  <a:pt x="5392743" y="601760"/>
                </a:cubicBezTo>
                <a:cubicBezTo>
                  <a:pt x="5392743" y="601760"/>
                  <a:pt x="5392743" y="601760"/>
                  <a:pt x="5392743" y="771892"/>
                </a:cubicBezTo>
                <a:cubicBezTo>
                  <a:pt x="5392743" y="775690"/>
                  <a:pt x="5394623" y="777528"/>
                  <a:pt x="5398382" y="777528"/>
                </a:cubicBezTo>
                <a:cubicBezTo>
                  <a:pt x="5398382" y="777528"/>
                  <a:pt x="5398382" y="777528"/>
                  <a:pt x="5416076" y="777528"/>
                </a:cubicBezTo>
                <a:cubicBezTo>
                  <a:pt x="5420121" y="777528"/>
                  <a:pt x="5422123" y="775690"/>
                  <a:pt x="5422123" y="771892"/>
                </a:cubicBezTo>
                <a:cubicBezTo>
                  <a:pt x="5422123" y="771892"/>
                  <a:pt x="5422123" y="771892"/>
                  <a:pt x="5422123" y="601760"/>
                </a:cubicBezTo>
                <a:cubicBezTo>
                  <a:pt x="5422123" y="599351"/>
                  <a:pt x="5423308" y="598126"/>
                  <a:pt x="5425719" y="598126"/>
                </a:cubicBezTo>
                <a:cubicBezTo>
                  <a:pt x="5425719" y="598126"/>
                  <a:pt x="5425719" y="598126"/>
                  <a:pt x="5461146" y="598126"/>
                </a:cubicBezTo>
                <a:cubicBezTo>
                  <a:pt x="5465192" y="598126"/>
                  <a:pt x="5467194" y="596288"/>
                  <a:pt x="5467194" y="592531"/>
                </a:cubicBezTo>
                <a:cubicBezTo>
                  <a:pt x="5467194" y="592531"/>
                  <a:pt x="5467194" y="592531"/>
                  <a:pt x="5467194" y="577625"/>
                </a:cubicBezTo>
                <a:cubicBezTo>
                  <a:pt x="5467194" y="574154"/>
                  <a:pt x="5465192" y="572398"/>
                  <a:pt x="5461146" y="572398"/>
                </a:cubicBezTo>
                <a:cubicBezTo>
                  <a:pt x="5461146" y="572398"/>
                  <a:pt x="5461146" y="572398"/>
                  <a:pt x="5425719" y="572398"/>
                </a:cubicBezTo>
                <a:cubicBezTo>
                  <a:pt x="5423308" y="572398"/>
                  <a:pt x="5422123" y="571173"/>
                  <a:pt x="5422123" y="568763"/>
                </a:cubicBezTo>
                <a:cubicBezTo>
                  <a:pt x="5422123" y="568763"/>
                  <a:pt x="5422123" y="568763"/>
                  <a:pt x="5422123" y="555123"/>
                </a:cubicBezTo>
                <a:cubicBezTo>
                  <a:pt x="5422123" y="543035"/>
                  <a:pt x="5424248" y="534255"/>
                  <a:pt x="5428538" y="528742"/>
                </a:cubicBezTo>
                <a:cubicBezTo>
                  <a:pt x="5432870" y="523269"/>
                  <a:pt x="5440511" y="520492"/>
                  <a:pt x="5451503" y="520492"/>
                </a:cubicBezTo>
                <a:cubicBezTo>
                  <a:pt x="5451503" y="520492"/>
                  <a:pt x="5451503" y="520492"/>
                  <a:pt x="5461555" y="520492"/>
                </a:cubicBezTo>
                <a:cubicBezTo>
                  <a:pt x="5465314" y="520492"/>
                  <a:pt x="5467194" y="518655"/>
                  <a:pt x="5467194" y="514897"/>
                </a:cubicBezTo>
                <a:cubicBezTo>
                  <a:pt x="5467194" y="514897"/>
                  <a:pt x="5467194" y="514897"/>
                  <a:pt x="5467194" y="499992"/>
                </a:cubicBezTo>
                <a:cubicBezTo>
                  <a:pt x="5467194" y="496520"/>
                  <a:pt x="5465314" y="494764"/>
                  <a:pt x="5461555" y="494764"/>
                </a:cubicBezTo>
                <a:cubicBezTo>
                  <a:pt x="5461555" y="494764"/>
                  <a:pt x="5461555" y="494764"/>
                  <a:pt x="5447866" y="494764"/>
                </a:cubicBezTo>
                <a:close/>
                <a:moveTo>
                  <a:pt x="2052832" y="0"/>
                </a:moveTo>
                <a:lnTo>
                  <a:pt x="7171413" y="0"/>
                </a:lnTo>
                <a:lnTo>
                  <a:pt x="7171413" y="6858000"/>
                </a:lnTo>
                <a:lnTo>
                  <a:pt x="6335118" y="6858000"/>
                </a:lnTo>
                <a:lnTo>
                  <a:pt x="6355927" y="6823698"/>
                </a:lnTo>
                <a:cubicBezTo>
                  <a:pt x="6412754" y="6730024"/>
                  <a:pt x="6495410" y="6593770"/>
                  <a:pt x="6615638" y="6395583"/>
                </a:cubicBezTo>
                <a:cubicBezTo>
                  <a:pt x="6629050" y="6374358"/>
                  <a:pt x="6631987" y="6356969"/>
                  <a:pt x="6624324" y="6343543"/>
                </a:cubicBezTo>
                <a:cubicBezTo>
                  <a:pt x="6616532" y="6329990"/>
                  <a:pt x="6601204" y="6323213"/>
                  <a:pt x="6578085" y="6323213"/>
                </a:cubicBezTo>
                <a:cubicBezTo>
                  <a:pt x="6578085" y="6323213"/>
                  <a:pt x="6578085" y="6323213"/>
                  <a:pt x="6297458" y="6323213"/>
                </a:cubicBezTo>
                <a:cubicBezTo>
                  <a:pt x="6253007" y="6323213"/>
                  <a:pt x="6220307" y="6342521"/>
                  <a:pt x="6199104" y="6381135"/>
                </a:cubicBezTo>
                <a:cubicBezTo>
                  <a:pt x="6199104" y="6381135"/>
                  <a:pt x="6199104" y="6381135"/>
                  <a:pt x="5966524" y="6794349"/>
                </a:cubicBezTo>
                <a:lnTo>
                  <a:pt x="5930697" y="6858000"/>
                </a:lnTo>
                <a:lnTo>
                  <a:pt x="1996824" y="6858000"/>
                </a:lnTo>
                <a:lnTo>
                  <a:pt x="1981352" y="6831589"/>
                </a:lnTo>
                <a:cubicBezTo>
                  <a:pt x="1773242" y="6476356"/>
                  <a:pt x="1260972" y="5601934"/>
                  <a:pt x="0" y="3449512"/>
                </a:cubicBezTo>
                <a:cubicBezTo>
                  <a:pt x="0" y="3449512"/>
                  <a:pt x="0" y="3449512"/>
                  <a:pt x="0" y="3388733"/>
                </a:cubicBezTo>
                <a:cubicBezTo>
                  <a:pt x="0" y="3388733"/>
                  <a:pt x="0" y="3388733"/>
                  <a:pt x="2031993" y="39133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43044693-30A3-48D2-B3E0-F22FF8A918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019654" y="0"/>
            <a:ext cx="4634387" cy="6858000"/>
          </a:xfrm>
          <a:custGeom>
            <a:avLst/>
            <a:gdLst>
              <a:gd name="connsiteX0" fmla="*/ 2052832 w 4633784"/>
              <a:gd name="connsiteY0" fmla="*/ 0 h 6858000"/>
              <a:gd name="connsiteX1" fmla="*/ 4633784 w 4633784"/>
              <a:gd name="connsiteY1" fmla="*/ 0 h 6858000"/>
              <a:gd name="connsiteX2" fmla="*/ 4612945 w 4633784"/>
              <a:gd name="connsiteY2" fmla="*/ 39133 h 6858000"/>
              <a:gd name="connsiteX3" fmla="*/ 2580953 w 4633784"/>
              <a:gd name="connsiteY3" fmla="*/ 3388733 h 6858000"/>
              <a:gd name="connsiteX4" fmla="*/ 2580953 w 4633784"/>
              <a:gd name="connsiteY4" fmla="*/ 3449512 h 6858000"/>
              <a:gd name="connsiteX5" fmla="*/ 4562304 w 4633784"/>
              <a:gd name="connsiteY5" fmla="*/ 6831589 h 6858000"/>
              <a:gd name="connsiteX6" fmla="*/ 4577777 w 4633784"/>
              <a:gd name="connsiteY6" fmla="*/ 6858000 h 6858000"/>
              <a:gd name="connsiteX7" fmla="*/ 1996824 w 4633784"/>
              <a:gd name="connsiteY7" fmla="*/ 6858000 h 6858000"/>
              <a:gd name="connsiteX8" fmla="*/ 1981352 w 4633784"/>
              <a:gd name="connsiteY8" fmla="*/ 6831589 h 6858000"/>
              <a:gd name="connsiteX9" fmla="*/ 0 w 4633784"/>
              <a:gd name="connsiteY9" fmla="*/ 3449512 h 6858000"/>
              <a:gd name="connsiteX10" fmla="*/ 0 w 4633784"/>
              <a:gd name="connsiteY10" fmla="*/ 3388733 h 6858000"/>
              <a:gd name="connsiteX11" fmla="*/ 2031993 w 4633784"/>
              <a:gd name="connsiteY11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33784" h="6858000">
                <a:moveTo>
                  <a:pt x="2052832" y="0"/>
                </a:moveTo>
                <a:lnTo>
                  <a:pt x="4633784" y="0"/>
                </a:lnTo>
                <a:lnTo>
                  <a:pt x="4612945" y="39133"/>
                </a:lnTo>
                <a:cubicBezTo>
                  <a:pt x="2580953" y="3388733"/>
                  <a:pt x="2580953" y="3388733"/>
                  <a:pt x="2580953" y="3388733"/>
                </a:cubicBezTo>
                <a:cubicBezTo>
                  <a:pt x="2580953" y="3449512"/>
                  <a:pt x="2580953" y="3449512"/>
                  <a:pt x="2580953" y="3449512"/>
                </a:cubicBezTo>
                <a:cubicBezTo>
                  <a:pt x="3841925" y="5601934"/>
                  <a:pt x="4354195" y="6476356"/>
                  <a:pt x="4562304" y="6831589"/>
                </a:cubicBezTo>
                <a:lnTo>
                  <a:pt x="4577777" y="6858000"/>
                </a:lnTo>
                <a:lnTo>
                  <a:pt x="1996824" y="6858000"/>
                </a:lnTo>
                <a:lnTo>
                  <a:pt x="1981352" y="6831589"/>
                </a:lnTo>
                <a:cubicBezTo>
                  <a:pt x="1773243" y="6476356"/>
                  <a:pt x="1260972" y="5601934"/>
                  <a:pt x="0" y="3449512"/>
                </a:cubicBezTo>
                <a:cubicBezTo>
                  <a:pt x="0" y="3449512"/>
                  <a:pt x="0" y="3449512"/>
                  <a:pt x="0" y="3388733"/>
                </a:cubicBezTo>
                <a:cubicBezTo>
                  <a:pt x="0" y="3388733"/>
                  <a:pt x="0" y="3388733"/>
                  <a:pt x="2031993" y="39133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buNone/>
              <a:defRPr/>
            </a:lvl2pPr>
            <a:lvl3pPr marL="180000" indent="0">
              <a:buNone/>
              <a:defRPr/>
            </a:lvl3pPr>
            <a:lvl4pPr marL="36000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70F80F58-6C7C-4D78-951E-9509AFFF6C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019653" y="0"/>
            <a:ext cx="3626420" cy="6858000"/>
          </a:xfrm>
          <a:custGeom>
            <a:avLst/>
            <a:gdLst>
              <a:gd name="connsiteX0" fmla="*/ 2052832 w 3625948"/>
              <a:gd name="connsiteY0" fmla="*/ 0 h 6858000"/>
              <a:gd name="connsiteX1" fmla="*/ 3625948 w 3625948"/>
              <a:gd name="connsiteY1" fmla="*/ 0 h 6858000"/>
              <a:gd name="connsiteX2" fmla="*/ 3605109 w 3625948"/>
              <a:gd name="connsiteY2" fmla="*/ 39133 h 6858000"/>
              <a:gd name="connsiteX3" fmla="*/ 1573117 w 3625948"/>
              <a:gd name="connsiteY3" fmla="*/ 3388733 h 6858000"/>
              <a:gd name="connsiteX4" fmla="*/ 1573117 w 3625948"/>
              <a:gd name="connsiteY4" fmla="*/ 3449512 h 6858000"/>
              <a:gd name="connsiteX5" fmla="*/ 3554469 w 3625948"/>
              <a:gd name="connsiteY5" fmla="*/ 6831589 h 6858000"/>
              <a:gd name="connsiteX6" fmla="*/ 3569941 w 3625948"/>
              <a:gd name="connsiteY6" fmla="*/ 6858000 h 6858000"/>
              <a:gd name="connsiteX7" fmla="*/ 1996824 w 3625948"/>
              <a:gd name="connsiteY7" fmla="*/ 6858000 h 6858000"/>
              <a:gd name="connsiteX8" fmla="*/ 1981352 w 3625948"/>
              <a:gd name="connsiteY8" fmla="*/ 6831589 h 6858000"/>
              <a:gd name="connsiteX9" fmla="*/ 0 w 3625948"/>
              <a:gd name="connsiteY9" fmla="*/ 3449512 h 6858000"/>
              <a:gd name="connsiteX10" fmla="*/ 0 w 3625948"/>
              <a:gd name="connsiteY10" fmla="*/ 3388733 h 6858000"/>
              <a:gd name="connsiteX11" fmla="*/ 2031994 w 3625948"/>
              <a:gd name="connsiteY11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25948" h="6858000">
                <a:moveTo>
                  <a:pt x="2052832" y="0"/>
                </a:moveTo>
                <a:lnTo>
                  <a:pt x="3625948" y="0"/>
                </a:lnTo>
                <a:lnTo>
                  <a:pt x="3605109" y="39133"/>
                </a:lnTo>
                <a:cubicBezTo>
                  <a:pt x="1573117" y="3388733"/>
                  <a:pt x="1573117" y="3388733"/>
                  <a:pt x="1573117" y="3388733"/>
                </a:cubicBezTo>
                <a:cubicBezTo>
                  <a:pt x="1573117" y="3449512"/>
                  <a:pt x="1573117" y="3449512"/>
                  <a:pt x="1573117" y="3449512"/>
                </a:cubicBezTo>
                <a:cubicBezTo>
                  <a:pt x="2834089" y="5601934"/>
                  <a:pt x="3346359" y="6476356"/>
                  <a:pt x="3554469" y="6831589"/>
                </a:cubicBezTo>
                <a:lnTo>
                  <a:pt x="3569941" y="6858000"/>
                </a:lnTo>
                <a:lnTo>
                  <a:pt x="1996824" y="6858000"/>
                </a:lnTo>
                <a:lnTo>
                  <a:pt x="1981352" y="6831589"/>
                </a:lnTo>
                <a:cubicBezTo>
                  <a:pt x="1773243" y="6476356"/>
                  <a:pt x="1260972" y="5601934"/>
                  <a:pt x="0" y="3449512"/>
                </a:cubicBezTo>
                <a:cubicBezTo>
                  <a:pt x="0" y="3449512"/>
                  <a:pt x="0" y="3449512"/>
                  <a:pt x="0" y="3388733"/>
                </a:cubicBezTo>
                <a:cubicBezTo>
                  <a:pt x="0" y="3388733"/>
                  <a:pt x="0" y="3388733"/>
                  <a:pt x="2031994" y="39133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buNone/>
              <a:defRPr/>
            </a:lvl2pPr>
            <a:lvl3pPr marL="180000" indent="0">
              <a:buNone/>
              <a:defRPr/>
            </a:lvl3pPr>
            <a:lvl4pPr marL="36000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319CA7DD-944B-4D5C-BD5E-449AB122D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019654" y="0"/>
            <a:ext cx="3300660" cy="6858000"/>
          </a:xfrm>
          <a:custGeom>
            <a:avLst/>
            <a:gdLst>
              <a:gd name="connsiteX0" fmla="*/ 2052831 w 3300230"/>
              <a:gd name="connsiteY0" fmla="*/ 0 h 6858000"/>
              <a:gd name="connsiteX1" fmla="*/ 3300230 w 3300230"/>
              <a:gd name="connsiteY1" fmla="*/ 0 h 6858000"/>
              <a:gd name="connsiteX2" fmla="*/ 3279391 w 3300230"/>
              <a:gd name="connsiteY2" fmla="*/ 39133 h 6858000"/>
              <a:gd name="connsiteX3" fmla="*/ 1247399 w 3300230"/>
              <a:gd name="connsiteY3" fmla="*/ 3388733 h 6858000"/>
              <a:gd name="connsiteX4" fmla="*/ 1247399 w 3300230"/>
              <a:gd name="connsiteY4" fmla="*/ 3449512 h 6858000"/>
              <a:gd name="connsiteX5" fmla="*/ 3228750 w 3300230"/>
              <a:gd name="connsiteY5" fmla="*/ 6831589 h 6858000"/>
              <a:gd name="connsiteX6" fmla="*/ 3244223 w 3300230"/>
              <a:gd name="connsiteY6" fmla="*/ 6858000 h 6858000"/>
              <a:gd name="connsiteX7" fmla="*/ 1996823 w 3300230"/>
              <a:gd name="connsiteY7" fmla="*/ 6858000 h 6858000"/>
              <a:gd name="connsiteX8" fmla="*/ 1981351 w 3300230"/>
              <a:gd name="connsiteY8" fmla="*/ 6831589 h 6858000"/>
              <a:gd name="connsiteX9" fmla="*/ 0 w 3300230"/>
              <a:gd name="connsiteY9" fmla="*/ 3449512 h 6858000"/>
              <a:gd name="connsiteX10" fmla="*/ 0 w 3300230"/>
              <a:gd name="connsiteY10" fmla="*/ 3388733 h 6858000"/>
              <a:gd name="connsiteX11" fmla="*/ 2031993 w 3300230"/>
              <a:gd name="connsiteY11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00230" h="6858000">
                <a:moveTo>
                  <a:pt x="2052831" y="0"/>
                </a:moveTo>
                <a:lnTo>
                  <a:pt x="3300230" y="0"/>
                </a:lnTo>
                <a:lnTo>
                  <a:pt x="3279391" y="39133"/>
                </a:lnTo>
                <a:cubicBezTo>
                  <a:pt x="1247399" y="3388733"/>
                  <a:pt x="1247399" y="3388733"/>
                  <a:pt x="1247399" y="3388733"/>
                </a:cubicBezTo>
                <a:cubicBezTo>
                  <a:pt x="1247399" y="3449512"/>
                  <a:pt x="1247399" y="3449512"/>
                  <a:pt x="1247399" y="3449512"/>
                </a:cubicBezTo>
                <a:cubicBezTo>
                  <a:pt x="2508371" y="5601934"/>
                  <a:pt x="3020641" y="6476356"/>
                  <a:pt x="3228750" y="6831589"/>
                </a:cubicBezTo>
                <a:lnTo>
                  <a:pt x="3244223" y="6858000"/>
                </a:lnTo>
                <a:lnTo>
                  <a:pt x="1996823" y="6858000"/>
                </a:lnTo>
                <a:lnTo>
                  <a:pt x="1981351" y="6831589"/>
                </a:lnTo>
                <a:cubicBezTo>
                  <a:pt x="1773241" y="6476356"/>
                  <a:pt x="1260971" y="5601934"/>
                  <a:pt x="0" y="3449512"/>
                </a:cubicBezTo>
                <a:cubicBezTo>
                  <a:pt x="0" y="3449512"/>
                  <a:pt x="0" y="3449512"/>
                  <a:pt x="0" y="3388733"/>
                </a:cubicBezTo>
                <a:cubicBezTo>
                  <a:pt x="0" y="3388733"/>
                  <a:pt x="0" y="3388733"/>
                  <a:pt x="2031993" y="39133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buNone/>
              <a:defRPr/>
            </a:lvl2pPr>
            <a:lvl3pPr marL="180000" indent="0">
              <a:buNone/>
              <a:defRPr/>
            </a:lvl3pPr>
            <a:lvl4pPr marL="36000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8" name="Textplatzhalter 57">
            <a:extLst>
              <a:ext uri="{FF2B5EF4-FFF2-40B4-BE49-F238E27FC236}">
                <a16:creationId xmlns:a16="http://schemas.microsoft.com/office/drawing/2014/main" id="{02681AD9-5E6C-4948-BC2F-51C8E32C984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5019654" y="0"/>
            <a:ext cx="2763571" cy="6858000"/>
          </a:xfrm>
          <a:custGeom>
            <a:avLst/>
            <a:gdLst>
              <a:gd name="connsiteX0" fmla="*/ 2052832 w 2763211"/>
              <a:gd name="connsiteY0" fmla="*/ 0 h 6858000"/>
              <a:gd name="connsiteX1" fmla="*/ 2763211 w 2763211"/>
              <a:gd name="connsiteY1" fmla="*/ 0 h 6858000"/>
              <a:gd name="connsiteX2" fmla="*/ 2742371 w 2763211"/>
              <a:gd name="connsiteY2" fmla="*/ 39133 h 6858000"/>
              <a:gd name="connsiteX3" fmla="*/ 710379 w 2763211"/>
              <a:gd name="connsiteY3" fmla="*/ 3388733 h 6858000"/>
              <a:gd name="connsiteX4" fmla="*/ 710379 w 2763211"/>
              <a:gd name="connsiteY4" fmla="*/ 3449512 h 6858000"/>
              <a:gd name="connsiteX5" fmla="*/ 2691731 w 2763211"/>
              <a:gd name="connsiteY5" fmla="*/ 6831589 h 6858000"/>
              <a:gd name="connsiteX6" fmla="*/ 2707203 w 2763211"/>
              <a:gd name="connsiteY6" fmla="*/ 6858000 h 6858000"/>
              <a:gd name="connsiteX7" fmla="*/ 1996824 w 2763211"/>
              <a:gd name="connsiteY7" fmla="*/ 6858000 h 6858000"/>
              <a:gd name="connsiteX8" fmla="*/ 1981352 w 2763211"/>
              <a:gd name="connsiteY8" fmla="*/ 6831589 h 6858000"/>
              <a:gd name="connsiteX9" fmla="*/ 0 w 2763211"/>
              <a:gd name="connsiteY9" fmla="*/ 3449512 h 6858000"/>
              <a:gd name="connsiteX10" fmla="*/ 0 w 2763211"/>
              <a:gd name="connsiteY10" fmla="*/ 3388733 h 6858000"/>
              <a:gd name="connsiteX11" fmla="*/ 2031993 w 2763211"/>
              <a:gd name="connsiteY11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63211" h="6858000">
                <a:moveTo>
                  <a:pt x="2052832" y="0"/>
                </a:moveTo>
                <a:lnTo>
                  <a:pt x="2763211" y="0"/>
                </a:lnTo>
                <a:lnTo>
                  <a:pt x="2742371" y="39133"/>
                </a:lnTo>
                <a:cubicBezTo>
                  <a:pt x="710379" y="3388733"/>
                  <a:pt x="710379" y="3388733"/>
                  <a:pt x="710379" y="3388733"/>
                </a:cubicBezTo>
                <a:cubicBezTo>
                  <a:pt x="710379" y="3449512"/>
                  <a:pt x="710379" y="3449512"/>
                  <a:pt x="710379" y="3449512"/>
                </a:cubicBezTo>
                <a:cubicBezTo>
                  <a:pt x="1971351" y="5601934"/>
                  <a:pt x="2483621" y="6476356"/>
                  <a:pt x="2691731" y="6831589"/>
                </a:cubicBezTo>
                <a:lnTo>
                  <a:pt x="2707203" y="6858000"/>
                </a:lnTo>
                <a:lnTo>
                  <a:pt x="1996824" y="6858000"/>
                </a:lnTo>
                <a:lnTo>
                  <a:pt x="1981352" y="6831589"/>
                </a:lnTo>
                <a:cubicBezTo>
                  <a:pt x="1773242" y="6476356"/>
                  <a:pt x="1260972" y="5601934"/>
                  <a:pt x="0" y="3449512"/>
                </a:cubicBezTo>
                <a:cubicBezTo>
                  <a:pt x="0" y="3449512"/>
                  <a:pt x="0" y="3449512"/>
                  <a:pt x="0" y="3388733"/>
                </a:cubicBezTo>
                <a:cubicBezTo>
                  <a:pt x="0" y="3388733"/>
                  <a:pt x="0" y="3388733"/>
                  <a:pt x="2031993" y="39133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3735B620-90F0-4DB2-9DCA-D4A233AC8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5842688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CA6882A4-AC13-4B62-8F7F-FAA3218E28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5619374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ADC86715-40A9-4CB6-BDCC-076276C9C6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2995" y="1511301"/>
            <a:ext cx="4316717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011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hteck 80">
            <a:extLst>
              <a:ext uri="{FF2B5EF4-FFF2-40B4-BE49-F238E27FC236}">
                <a16:creationId xmlns:a16="http://schemas.microsoft.com/office/drawing/2014/main" id="{E054C678-9D3D-4393-9657-24FA467D607B}"/>
              </a:ext>
            </a:extLst>
          </p:cNvPr>
          <p:cNvSpPr/>
          <p:nvPr userDrawn="1"/>
        </p:nvSpPr>
        <p:spPr>
          <a:xfrm>
            <a:off x="10908623" y="6281530"/>
            <a:ext cx="771375" cy="5764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0697D07-F261-4DC9-924C-3EDE7CC96BCA}"/>
              </a:ext>
            </a:extLst>
          </p:cNvPr>
          <p:cNvSpPr/>
          <p:nvPr userDrawn="1"/>
        </p:nvSpPr>
        <p:spPr>
          <a:xfrm>
            <a:off x="9505034" y="494765"/>
            <a:ext cx="560639" cy="4136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7C5B7F5-BF02-4C62-AF53-BFB0E79EFB25}"/>
              </a:ext>
            </a:extLst>
          </p:cNvPr>
          <p:cNvSpPr/>
          <p:nvPr userDrawn="1"/>
        </p:nvSpPr>
        <p:spPr>
          <a:xfrm>
            <a:off x="10106839" y="798901"/>
            <a:ext cx="1573159" cy="18706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CF4B66D-820E-4A77-BD04-3CAF32E52FFE}"/>
              </a:ext>
            </a:extLst>
          </p:cNvPr>
          <p:cNvSpPr/>
          <p:nvPr userDrawn="1"/>
        </p:nvSpPr>
        <p:spPr>
          <a:xfrm>
            <a:off x="10106839" y="433389"/>
            <a:ext cx="1573159" cy="356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8E51F221-7458-4428-8B2E-56D979EC2A5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48673" y="0"/>
            <a:ext cx="5843327" cy="6858000"/>
          </a:xfrm>
          <a:custGeom>
            <a:avLst/>
            <a:gdLst>
              <a:gd name="connsiteX0" fmla="*/ 5189797 w 5842566"/>
              <a:gd name="connsiteY0" fmla="*/ 862793 h 6858000"/>
              <a:gd name="connsiteX1" fmla="*/ 5200605 w 5842566"/>
              <a:gd name="connsiteY1" fmla="*/ 866299 h 6858000"/>
              <a:gd name="connsiteX2" fmla="*/ 5206437 w 5842566"/>
              <a:gd name="connsiteY2" fmla="*/ 875620 h 6858000"/>
              <a:gd name="connsiteX3" fmla="*/ 5207293 w 5842566"/>
              <a:gd name="connsiteY3" fmla="*/ 882920 h 6858000"/>
              <a:gd name="connsiteX4" fmla="*/ 5206722 w 5842566"/>
              <a:gd name="connsiteY4" fmla="*/ 883497 h 6858000"/>
              <a:gd name="connsiteX5" fmla="*/ 5172995 w 5842566"/>
              <a:gd name="connsiteY5" fmla="*/ 883497 h 6858000"/>
              <a:gd name="connsiteX6" fmla="*/ 5172424 w 5842566"/>
              <a:gd name="connsiteY6" fmla="*/ 882920 h 6858000"/>
              <a:gd name="connsiteX7" fmla="*/ 5173729 w 5842566"/>
              <a:gd name="connsiteY7" fmla="*/ 874547 h 6858000"/>
              <a:gd name="connsiteX8" fmla="*/ 5179317 w 5842566"/>
              <a:gd name="connsiteY8" fmla="*/ 866010 h 6858000"/>
              <a:gd name="connsiteX9" fmla="*/ 5189797 w 5842566"/>
              <a:gd name="connsiteY9" fmla="*/ 862793 h 6858000"/>
              <a:gd name="connsiteX10" fmla="*/ 5070727 w 5842566"/>
              <a:gd name="connsiteY10" fmla="*/ 862793 h 6858000"/>
              <a:gd name="connsiteX11" fmla="*/ 5081045 w 5842566"/>
              <a:gd name="connsiteY11" fmla="*/ 866279 h 6858000"/>
              <a:gd name="connsiteX12" fmla="*/ 5086367 w 5842566"/>
              <a:gd name="connsiteY12" fmla="*/ 875261 h 6858000"/>
              <a:gd name="connsiteX13" fmla="*/ 5087186 w 5842566"/>
              <a:gd name="connsiteY13" fmla="*/ 880182 h 6858000"/>
              <a:gd name="connsiteX14" fmla="*/ 5087432 w 5842566"/>
              <a:gd name="connsiteY14" fmla="*/ 888999 h 6858000"/>
              <a:gd name="connsiteX15" fmla="*/ 5087186 w 5842566"/>
              <a:gd name="connsiteY15" fmla="*/ 897899 h 6858000"/>
              <a:gd name="connsiteX16" fmla="*/ 5086531 w 5842566"/>
              <a:gd name="connsiteY16" fmla="*/ 902943 h 6858000"/>
              <a:gd name="connsiteX17" fmla="*/ 5081290 w 5842566"/>
              <a:gd name="connsiteY17" fmla="*/ 911883 h 6858000"/>
              <a:gd name="connsiteX18" fmla="*/ 5070727 w 5842566"/>
              <a:gd name="connsiteY18" fmla="*/ 915369 h 6858000"/>
              <a:gd name="connsiteX19" fmla="*/ 5060164 w 5842566"/>
              <a:gd name="connsiteY19" fmla="*/ 911883 h 6858000"/>
              <a:gd name="connsiteX20" fmla="*/ 5054309 w 5842566"/>
              <a:gd name="connsiteY20" fmla="*/ 902943 h 6858000"/>
              <a:gd name="connsiteX21" fmla="*/ 5052835 w 5842566"/>
              <a:gd name="connsiteY21" fmla="*/ 888999 h 6858000"/>
              <a:gd name="connsiteX22" fmla="*/ 5054473 w 5842566"/>
              <a:gd name="connsiteY22" fmla="*/ 875261 h 6858000"/>
              <a:gd name="connsiteX23" fmla="*/ 5060369 w 5842566"/>
              <a:gd name="connsiteY23" fmla="*/ 866279 h 6858000"/>
              <a:gd name="connsiteX24" fmla="*/ 5070727 w 5842566"/>
              <a:gd name="connsiteY24" fmla="*/ 862793 h 6858000"/>
              <a:gd name="connsiteX25" fmla="*/ 4937775 w 5842566"/>
              <a:gd name="connsiteY25" fmla="*/ 862793 h 6858000"/>
              <a:gd name="connsiteX26" fmla="*/ 4948623 w 5842566"/>
              <a:gd name="connsiteY26" fmla="*/ 866299 h 6858000"/>
              <a:gd name="connsiteX27" fmla="*/ 4954414 w 5842566"/>
              <a:gd name="connsiteY27" fmla="*/ 875620 h 6858000"/>
              <a:gd name="connsiteX28" fmla="*/ 4955312 w 5842566"/>
              <a:gd name="connsiteY28" fmla="*/ 882920 h 6858000"/>
              <a:gd name="connsiteX29" fmla="*/ 4954741 w 5842566"/>
              <a:gd name="connsiteY29" fmla="*/ 883497 h 6858000"/>
              <a:gd name="connsiteX30" fmla="*/ 4921014 w 5842566"/>
              <a:gd name="connsiteY30" fmla="*/ 883497 h 6858000"/>
              <a:gd name="connsiteX31" fmla="*/ 4920443 w 5842566"/>
              <a:gd name="connsiteY31" fmla="*/ 882920 h 6858000"/>
              <a:gd name="connsiteX32" fmla="*/ 4921748 w 5842566"/>
              <a:gd name="connsiteY32" fmla="*/ 874547 h 6858000"/>
              <a:gd name="connsiteX33" fmla="*/ 4927335 w 5842566"/>
              <a:gd name="connsiteY33" fmla="*/ 866010 h 6858000"/>
              <a:gd name="connsiteX34" fmla="*/ 4937775 w 5842566"/>
              <a:gd name="connsiteY34" fmla="*/ 862793 h 6858000"/>
              <a:gd name="connsiteX35" fmla="*/ 4529177 w 5842566"/>
              <a:gd name="connsiteY35" fmla="*/ 862793 h 6858000"/>
              <a:gd name="connsiteX36" fmla="*/ 4539972 w 5842566"/>
              <a:gd name="connsiteY36" fmla="*/ 866299 h 6858000"/>
              <a:gd name="connsiteX37" fmla="*/ 4545797 w 5842566"/>
              <a:gd name="connsiteY37" fmla="*/ 875620 h 6858000"/>
              <a:gd name="connsiteX38" fmla="*/ 4546693 w 5842566"/>
              <a:gd name="connsiteY38" fmla="*/ 882920 h 6858000"/>
              <a:gd name="connsiteX39" fmla="*/ 4546082 w 5842566"/>
              <a:gd name="connsiteY39" fmla="*/ 883497 h 6858000"/>
              <a:gd name="connsiteX40" fmla="*/ 4512435 w 5842566"/>
              <a:gd name="connsiteY40" fmla="*/ 883497 h 6858000"/>
              <a:gd name="connsiteX41" fmla="*/ 4511824 w 5842566"/>
              <a:gd name="connsiteY41" fmla="*/ 882920 h 6858000"/>
              <a:gd name="connsiteX42" fmla="*/ 4513169 w 5842566"/>
              <a:gd name="connsiteY42" fmla="*/ 874547 h 6858000"/>
              <a:gd name="connsiteX43" fmla="*/ 4518749 w 5842566"/>
              <a:gd name="connsiteY43" fmla="*/ 866010 h 6858000"/>
              <a:gd name="connsiteX44" fmla="*/ 4529177 w 5842566"/>
              <a:gd name="connsiteY44" fmla="*/ 862793 h 6858000"/>
              <a:gd name="connsiteX45" fmla="*/ 4247114 w 5842566"/>
              <a:gd name="connsiteY45" fmla="*/ 862793 h 6858000"/>
              <a:gd name="connsiteX46" fmla="*/ 4258006 w 5842566"/>
              <a:gd name="connsiteY46" fmla="*/ 866299 h 6858000"/>
              <a:gd name="connsiteX47" fmla="*/ 4263883 w 5842566"/>
              <a:gd name="connsiteY47" fmla="*/ 875620 h 6858000"/>
              <a:gd name="connsiteX48" fmla="*/ 4264746 w 5842566"/>
              <a:gd name="connsiteY48" fmla="*/ 882920 h 6858000"/>
              <a:gd name="connsiteX49" fmla="*/ 4264171 w 5842566"/>
              <a:gd name="connsiteY49" fmla="*/ 883497 h 6858000"/>
              <a:gd name="connsiteX50" fmla="*/ 4230181 w 5842566"/>
              <a:gd name="connsiteY50" fmla="*/ 883497 h 6858000"/>
              <a:gd name="connsiteX51" fmla="*/ 4229605 w 5842566"/>
              <a:gd name="connsiteY51" fmla="*/ 882920 h 6858000"/>
              <a:gd name="connsiteX52" fmla="*/ 4230920 w 5842566"/>
              <a:gd name="connsiteY52" fmla="*/ 874547 h 6858000"/>
              <a:gd name="connsiteX53" fmla="*/ 4236592 w 5842566"/>
              <a:gd name="connsiteY53" fmla="*/ 866010 h 6858000"/>
              <a:gd name="connsiteX54" fmla="*/ 4247114 w 5842566"/>
              <a:gd name="connsiteY54" fmla="*/ 862793 h 6858000"/>
              <a:gd name="connsiteX55" fmla="*/ 4032297 w 5842566"/>
              <a:gd name="connsiteY55" fmla="*/ 862793 h 6858000"/>
              <a:gd name="connsiteX56" fmla="*/ 4043092 w 5842566"/>
              <a:gd name="connsiteY56" fmla="*/ 866299 h 6858000"/>
              <a:gd name="connsiteX57" fmla="*/ 4048916 w 5842566"/>
              <a:gd name="connsiteY57" fmla="*/ 875620 h 6858000"/>
              <a:gd name="connsiteX58" fmla="*/ 4049813 w 5842566"/>
              <a:gd name="connsiteY58" fmla="*/ 882920 h 6858000"/>
              <a:gd name="connsiteX59" fmla="*/ 4049202 w 5842566"/>
              <a:gd name="connsiteY59" fmla="*/ 883497 h 6858000"/>
              <a:gd name="connsiteX60" fmla="*/ 4015514 w 5842566"/>
              <a:gd name="connsiteY60" fmla="*/ 883497 h 6858000"/>
              <a:gd name="connsiteX61" fmla="*/ 4014944 w 5842566"/>
              <a:gd name="connsiteY61" fmla="*/ 882920 h 6858000"/>
              <a:gd name="connsiteX62" fmla="*/ 4016247 w 5842566"/>
              <a:gd name="connsiteY62" fmla="*/ 874547 h 6858000"/>
              <a:gd name="connsiteX63" fmla="*/ 4021869 w 5842566"/>
              <a:gd name="connsiteY63" fmla="*/ 866010 h 6858000"/>
              <a:gd name="connsiteX64" fmla="*/ 4032297 w 5842566"/>
              <a:gd name="connsiteY64" fmla="*/ 862793 h 6858000"/>
              <a:gd name="connsiteX65" fmla="*/ 5124587 w 5842566"/>
              <a:gd name="connsiteY65" fmla="*/ 851897 h 6858000"/>
              <a:gd name="connsiteX66" fmla="*/ 5123118 w 5842566"/>
              <a:gd name="connsiteY66" fmla="*/ 853368 h 6858000"/>
              <a:gd name="connsiteX67" fmla="*/ 5123118 w 5842566"/>
              <a:gd name="connsiteY67" fmla="*/ 925339 h 6858000"/>
              <a:gd name="connsiteX68" fmla="*/ 5124587 w 5842566"/>
              <a:gd name="connsiteY68" fmla="*/ 926810 h 6858000"/>
              <a:gd name="connsiteX69" fmla="*/ 5135773 w 5842566"/>
              <a:gd name="connsiteY69" fmla="*/ 926810 h 6858000"/>
              <a:gd name="connsiteX70" fmla="*/ 5137283 w 5842566"/>
              <a:gd name="connsiteY70" fmla="*/ 925339 h 6858000"/>
              <a:gd name="connsiteX71" fmla="*/ 5137283 w 5842566"/>
              <a:gd name="connsiteY71" fmla="*/ 853368 h 6858000"/>
              <a:gd name="connsiteX72" fmla="*/ 5135773 w 5842566"/>
              <a:gd name="connsiteY72" fmla="*/ 851897 h 6858000"/>
              <a:gd name="connsiteX73" fmla="*/ 5124587 w 5842566"/>
              <a:gd name="connsiteY73" fmla="*/ 851897 h 6858000"/>
              <a:gd name="connsiteX74" fmla="*/ 4752078 w 5842566"/>
              <a:gd name="connsiteY74" fmla="*/ 851897 h 6858000"/>
              <a:gd name="connsiteX75" fmla="*/ 4750730 w 5842566"/>
              <a:gd name="connsiteY75" fmla="*/ 852918 h 6858000"/>
              <a:gd name="connsiteX76" fmla="*/ 4750893 w 5842566"/>
              <a:gd name="connsiteY76" fmla="*/ 853490 h 6858000"/>
              <a:gd name="connsiteX77" fmla="*/ 4775487 w 5842566"/>
              <a:gd name="connsiteY77" fmla="*/ 926462 h 6858000"/>
              <a:gd name="connsiteX78" fmla="*/ 4775487 w 5842566"/>
              <a:gd name="connsiteY78" fmla="*/ 927361 h 6858000"/>
              <a:gd name="connsiteX79" fmla="*/ 4771238 w 5842566"/>
              <a:gd name="connsiteY79" fmla="*/ 938182 h 6858000"/>
              <a:gd name="connsiteX80" fmla="*/ 4765641 w 5842566"/>
              <a:gd name="connsiteY80" fmla="*/ 943123 h 6858000"/>
              <a:gd name="connsiteX81" fmla="*/ 4756327 w 5842566"/>
              <a:gd name="connsiteY81" fmla="*/ 944593 h 6858000"/>
              <a:gd name="connsiteX82" fmla="*/ 4756041 w 5842566"/>
              <a:gd name="connsiteY82" fmla="*/ 944593 h 6858000"/>
              <a:gd name="connsiteX83" fmla="*/ 4754570 w 5842566"/>
              <a:gd name="connsiteY83" fmla="*/ 946063 h 6858000"/>
              <a:gd name="connsiteX84" fmla="*/ 4754570 w 5842566"/>
              <a:gd name="connsiteY84" fmla="*/ 954761 h 6858000"/>
              <a:gd name="connsiteX85" fmla="*/ 4754570 w 5842566"/>
              <a:gd name="connsiteY85" fmla="*/ 956231 h 6858000"/>
              <a:gd name="connsiteX86" fmla="*/ 4755591 w 5842566"/>
              <a:gd name="connsiteY86" fmla="*/ 956231 h 6858000"/>
              <a:gd name="connsiteX87" fmla="*/ 4756613 w 5842566"/>
              <a:gd name="connsiteY87" fmla="*/ 956231 h 6858000"/>
              <a:gd name="connsiteX88" fmla="*/ 4771973 w 5842566"/>
              <a:gd name="connsiteY88" fmla="*/ 954189 h 6858000"/>
              <a:gd name="connsiteX89" fmla="*/ 4780798 w 5842566"/>
              <a:gd name="connsiteY89" fmla="*/ 947166 h 6858000"/>
              <a:gd name="connsiteX90" fmla="*/ 4787579 w 5842566"/>
              <a:gd name="connsiteY90" fmla="*/ 932057 h 6858000"/>
              <a:gd name="connsiteX91" fmla="*/ 4814461 w 5842566"/>
              <a:gd name="connsiteY91" fmla="*/ 853490 h 6858000"/>
              <a:gd name="connsiteX92" fmla="*/ 4813276 w 5842566"/>
              <a:gd name="connsiteY92" fmla="*/ 851897 h 6858000"/>
              <a:gd name="connsiteX93" fmla="*/ 4801592 w 5842566"/>
              <a:gd name="connsiteY93" fmla="*/ 851897 h 6858000"/>
              <a:gd name="connsiteX94" fmla="*/ 4799835 w 5842566"/>
              <a:gd name="connsiteY94" fmla="*/ 853040 h 6858000"/>
              <a:gd name="connsiteX95" fmla="*/ 4783331 w 5842566"/>
              <a:gd name="connsiteY95" fmla="*/ 908617 h 6858000"/>
              <a:gd name="connsiteX96" fmla="*/ 4782881 w 5842566"/>
              <a:gd name="connsiteY96" fmla="*/ 908944 h 6858000"/>
              <a:gd name="connsiteX97" fmla="*/ 4782432 w 5842566"/>
              <a:gd name="connsiteY97" fmla="*/ 908617 h 6858000"/>
              <a:gd name="connsiteX98" fmla="*/ 4765764 w 5842566"/>
              <a:gd name="connsiteY98" fmla="*/ 853040 h 6858000"/>
              <a:gd name="connsiteX99" fmla="*/ 4764007 w 5842566"/>
              <a:gd name="connsiteY99" fmla="*/ 851897 h 6858000"/>
              <a:gd name="connsiteX100" fmla="*/ 4752078 w 5842566"/>
              <a:gd name="connsiteY100" fmla="*/ 851897 h 6858000"/>
              <a:gd name="connsiteX101" fmla="*/ 3789262 w 5842566"/>
              <a:gd name="connsiteY101" fmla="*/ 851897 h 6858000"/>
              <a:gd name="connsiteX102" fmla="*/ 3787752 w 5842566"/>
              <a:gd name="connsiteY102" fmla="*/ 853366 h 6858000"/>
              <a:gd name="connsiteX103" fmla="*/ 3787752 w 5842566"/>
              <a:gd name="connsiteY103" fmla="*/ 903613 h 6858000"/>
              <a:gd name="connsiteX104" fmla="*/ 3791466 w 5842566"/>
              <a:gd name="connsiteY104" fmla="*/ 916839 h 6858000"/>
              <a:gd name="connsiteX105" fmla="*/ 3801259 w 5842566"/>
              <a:gd name="connsiteY105" fmla="*/ 925125 h 6858000"/>
              <a:gd name="connsiteX106" fmla="*/ 3814562 w 5842566"/>
              <a:gd name="connsiteY106" fmla="*/ 927900 h 6858000"/>
              <a:gd name="connsiteX107" fmla="*/ 3832679 w 5842566"/>
              <a:gd name="connsiteY107" fmla="*/ 919818 h 6858000"/>
              <a:gd name="connsiteX108" fmla="*/ 3833210 w 5842566"/>
              <a:gd name="connsiteY108" fmla="*/ 919573 h 6858000"/>
              <a:gd name="connsiteX109" fmla="*/ 3833414 w 5842566"/>
              <a:gd name="connsiteY109" fmla="*/ 919941 h 6858000"/>
              <a:gd name="connsiteX110" fmla="*/ 3833414 w 5842566"/>
              <a:gd name="connsiteY110" fmla="*/ 925410 h 6858000"/>
              <a:gd name="connsiteX111" fmla="*/ 3834924 w 5842566"/>
              <a:gd name="connsiteY111" fmla="*/ 926880 h 6858000"/>
              <a:gd name="connsiteX112" fmla="*/ 3845942 w 5842566"/>
              <a:gd name="connsiteY112" fmla="*/ 926880 h 6858000"/>
              <a:gd name="connsiteX113" fmla="*/ 3847410 w 5842566"/>
              <a:gd name="connsiteY113" fmla="*/ 925410 h 6858000"/>
              <a:gd name="connsiteX114" fmla="*/ 3847410 w 5842566"/>
              <a:gd name="connsiteY114" fmla="*/ 853366 h 6858000"/>
              <a:gd name="connsiteX115" fmla="*/ 3845942 w 5842566"/>
              <a:gd name="connsiteY115" fmla="*/ 851897 h 6858000"/>
              <a:gd name="connsiteX116" fmla="*/ 3834924 w 5842566"/>
              <a:gd name="connsiteY116" fmla="*/ 851897 h 6858000"/>
              <a:gd name="connsiteX117" fmla="*/ 3833414 w 5842566"/>
              <a:gd name="connsiteY117" fmla="*/ 853366 h 6858000"/>
              <a:gd name="connsiteX118" fmla="*/ 3833414 w 5842566"/>
              <a:gd name="connsiteY118" fmla="*/ 899164 h 6858000"/>
              <a:gd name="connsiteX119" fmla="*/ 3829007 w 5842566"/>
              <a:gd name="connsiteY119" fmla="*/ 911165 h 6858000"/>
              <a:gd name="connsiteX120" fmla="*/ 3817214 w 5842566"/>
              <a:gd name="connsiteY120" fmla="*/ 915696 h 6858000"/>
              <a:gd name="connsiteX121" fmla="*/ 3805829 w 5842566"/>
              <a:gd name="connsiteY121" fmla="*/ 911246 h 6858000"/>
              <a:gd name="connsiteX122" fmla="*/ 3801748 w 5842566"/>
              <a:gd name="connsiteY122" fmla="*/ 899164 h 6858000"/>
              <a:gd name="connsiteX123" fmla="*/ 3801748 w 5842566"/>
              <a:gd name="connsiteY123" fmla="*/ 853366 h 6858000"/>
              <a:gd name="connsiteX124" fmla="*/ 3800280 w 5842566"/>
              <a:gd name="connsiteY124" fmla="*/ 851897 h 6858000"/>
              <a:gd name="connsiteX125" fmla="*/ 3789262 w 5842566"/>
              <a:gd name="connsiteY125" fmla="*/ 851897 h 6858000"/>
              <a:gd name="connsiteX126" fmla="*/ 5020779 w 5842566"/>
              <a:gd name="connsiteY126" fmla="*/ 851080 h 6858000"/>
              <a:gd name="connsiteX127" fmla="*/ 5002700 w 5842566"/>
              <a:gd name="connsiteY127" fmla="*/ 861403 h 6858000"/>
              <a:gd name="connsiteX128" fmla="*/ 5002334 w 5842566"/>
              <a:gd name="connsiteY128" fmla="*/ 861648 h 6858000"/>
              <a:gd name="connsiteX129" fmla="*/ 5002089 w 5842566"/>
              <a:gd name="connsiteY129" fmla="*/ 861117 h 6858000"/>
              <a:gd name="connsiteX130" fmla="*/ 5002089 w 5842566"/>
              <a:gd name="connsiteY130" fmla="*/ 853324 h 6858000"/>
              <a:gd name="connsiteX131" fmla="*/ 5000623 w 5842566"/>
              <a:gd name="connsiteY131" fmla="*/ 851855 h 6858000"/>
              <a:gd name="connsiteX132" fmla="*/ 4989467 w 5842566"/>
              <a:gd name="connsiteY132" fmla="*/ 851855 h 6858000"/>
              <a:gd name="connsiteX133" fmla="*/ 4988001 w 5842566"/>
              <a:gd name="connsiteY133" fmla="*/ 853324 h 6858000"/>
              <a:gd name="connsiteX134" fmla="*/ 4988001 w 5842566"/>
              <a:gd name="connsiteY134" fmla="*/ 925341 h 6858000"/>
              <a:gd name="connsiteX135" fmla="*/ 4989467 w 5842566"/>
              <a:gd name="connsiteY135" fmla="*/ 926810 h 6858000"/>
              <a:gd name="connsiteX136" fmla="*/ 5000623 w 5842566"/>
              <a:gd name="connsiteY136" fmla="*/ 926810 h 6858000"/>
              <a:gd name="connsiteX137" fmla="*/ 5002089 w 5842566"/>
              <a:gd name="connsiteY137" fmla="*/ 925341 h 6858000"/>
              <a:gd name="connsiteX138" fmla="*/ 5002089 w 5842566"/>
              <a:gd name="connsiteY138" fmla="*/ 882335 h 6858000"/>
              <a:gd name="connsiteX139" fmla="*/ 5006568 w 5842566"/>
              <a:gd name="connsiteY139" fmla="*/ 870624 h 6858000"/>
              <a:gd name="connsiteX140" fmla="*/ 5017969 w 5842566"/>
              <a:gd name="connsiteY140" fmla="*/ 865850 h 6858000"/>
              <a:gd name="connsiteX141" fmla="*/ 5020046 w 5842566"/>
              <a:gd name="connsiteY141" fmla="*/ 865687 h 6858000"/>
              <a:gd name="connsiteX142" fmla="*/ 5025909 w 5842566"/>
              <a:gd name="connsiteY142" fmla="*/ 866707 h 6858000"/>
              <a:gd name="connsiteX143" fmla="*/ 5027660 w 5842566"/>
              <a:gd name="connsiteY143" fmla="*/ 865850 h 6858000"/>
              <a:gd name="connsiteX144" fmla="*/ 5030021 w 5842566"/>
              <a:gd name="connsiteY144" fmla="*/ 854793 h 6858000"/>
              <a:gd name="connsiteX145" fmla="*/ 5029289 w 5842566"/>
              <a:gd name="connsiteY145" fmla="*/ 852997 h 6858000"/>
              <a:gd name="connsiteX146" fmla="*/ 5020779 w 5842566"/>
              <a:gd name="connsiteY146" fmla="*/ 851080 h 6858000"/>
              <a:gd name="connsiteX147" fmla="*/ 4715609 w 5842566"/>
              <a:gd name="connsiteY147" fmla="*/ 851080 h 6858000"/>
              <a:gd name="connsiteX148" fmla="*/ 4695051 w 5842566"/>
              <a:gd name="connsiteY148" fmla="*/ 856929 h 6858000"/>
              <a:gd name="connsiteX149" fmla="*/ 4687285 w 5842566"/>
              <a:gd name="connsiteY149" fmla="*/ 872678 h 6858000"/>
              <a:gd name="connsiteX150" fmla="*/ 4691209 w 5842566"/>
              <a:gd name="connsiteY150" fmla="*/ 884254 h 6858000"/>
              <a:gd name="connsiteX151" fmla="*/ 4700773 w 5842566"/>
              <a:gd name="connsiteY151" fmla="*/ 891208 h 6858000"/>
              <a:gd name="connsiteX152" fmla="*/ 4714873 w 5842566"/>
              <a:gd name="connsiteY152" fmla="*/ 895994 h 6858000"/>
              <a:gd name="connsiteX153" fmla="*/ 4727298 w 5842566"/>
              <a:gd name="connsiteY153" fmla="*/ 900493 h 6858000"/>
              <a:gd name="connsiteX154" fmla="*/ 4731099 w 5842566"/>
              <a:gd name="connsiteY154" fmla="*/ 906916 h 6858000"/>
              <a:gd name="connsiteX155" fmla="*/ 4726971 w 5842566"/>
              <a:gd name="connsiteY155" fmla="*/ 914238 h 6858000"/>
              <a:gd name="connsiteX156" fmla="*/ 4716222 w 5842566"/>
              <a:gd name="connsiteY156" fmla="*/ 917101 h 6858000"/>
              <a:gd name="connsiteX157" fmla="*/ 4704778 w 5842566"/>
              <a:gd name="connsiteY157" fmla="*/ 913992 h 6858000"/>
              <a:gd name="connsiteX158" fmla="*/ 4700282 w 5842566"/>
              <a:gd name="connsiteY158" fmla="*/ 906752 h 6858000"/>
              <a:gd name="connsiteX159" fmla="*/ 4700282 w 5842566"/>
              <a:gd name="connsiteY159" fmla="*/ 906016 h 6858000"/>
              <a:gd name="connsiteX160" fmla="*/ 4698811 w 5842566"/>
              <a:gd name="connsiteY160" fmla="*/ 904543 h 6858000"/>
              <a:gd name="connsiteX161" fmla="*/ 4688184 w 5842566"/>
              <a:gd name="connsiteY161" fmla="*/ 904543 h 6858000"/>
              <a:gd name="connsiteX162" fmla="*/ 4686713 w 5842566"/>
              <a:gd name="connsiteY162" fmla="*/ 906016 h 6858000"/>
              <a:gd name="connsiteX163" fmla="*/ 4686713 w 5842566"/>
              <a:gd name="connsiteY163" fmla="*/ 907652 h 6858000"/>
              <a:gd name="connsiteX164" fmla="*/ 4690391 w 5842566"/>
              <a:gd name="connsiteY164" fmla="*/ 917919 h 6858000"/>
              <a:gd name="connsiteX165" fmla="*/ 4700773 w 5842566"/>
              <a:gd name="connsiteY165" fmla="*/ 925241 h 6858000"/>
              <a:gd name="connsiteX166" fmla="*/ 4716345 w 5842566"/>
              <a:gd name="connsiteY166" fmla="*/ 927900 h 6858000"/>
              <a:gd name="connsiteX167" fmla="*/ 4737393 w 5842566"/>
              <a:gd name="connsiteY167" fmla="*/ 921969 h 6858000"/>
              <a:gd name="connsiteX168" fmla="*/ 4745282 w 5842566"/>
              <a:gd name="connsiteY168" fmla="*/ 906016 h 6858000"/>
              <a:gd name="connsiteX169" fmla="*/ 4741276 w 5842566"/>
              <a:gd name="connsiteY169" fmla="*/ 894276 h 6858000"/>
              <a:gd name="connsiteX170" fmla="*/ 4731631 w 5842566"/>
              <a:gd name="connsiteY170" fmla="*/ 887485 h 6858000"/>
              <a:gd name="connsiteX171" fmla="*/ 4717407 w 5842566"/>
              <a:gd name="connsiteY171" fmla="*/ 882863 h 6858000"/>
              <a:gd name="connsiteX172" fmla="*/ 4704778 w 5842566"/>
              <a:gd name="connsiteY172" fmla="*/ 878118 h 6858000"/>
              <a:gd name="connsiteX173" fmla="*/ 4700854 w 5842566"/>
              <a:gd name="connsiteY173" fmla="*/ 871614 h 6858000"/>
              <a:gd name="connsiteX174" fmla="*/ 4704901 w 5842566"/>
              <a:gd name="connsiteY174" fmla="*/ 864824 h 6858000"/>
              <a:gd name="connsiteX175" fmla="*/ 4715486 w 5842566"/>
              <a:gd name="connsiteY175" fmla="*/ 862329 h 6858000"/>
              <a:gd name="connsiteX176" fmla="*/ 4726890 w 5842566"/>
              <a:gd name="connsiteY176" fmla="*/ 865192 h 6858000"/>
              <a:gd name="connsiteX177" fmla="*/ 4731099 w 5842566"/>
              <a:gd name="connsiteY177" fmla="*/ 872350 h 6858000"/>
              <a:gd name="connsiteX178" fmla="*/ 4731099 w 5842566"/>
              <a:gd name="connsiteY178" fmla="*/ 872800 h 6858000"/>
              <a:gd name="connsiteX179" fmla="*/ 4732571 w 5842566"/>
              <a:gd name="connsiteY179" fmla="*/ 874273 h 6858000"/>
              <a:gd name="connsiteX180" fmla="*/ 4742911 w 5842566"/>
              <a:gd name="connsiteY180" fmla="*/ 874273 h 6858000"/>
              <a:gd name="connsiteX181" fmla="*/ 4744383 w 5842566"/>
              <a:gd name="connsiteY181" fmla="*/ 872800 h 6858000"/>
              <a:gd name="connsiteX182" fmla="*/ 4744383 w 5842566"/>
              <a:gd name="connsiteY182" fmla="*/ 872350 h 6858000"/>
              <a:gd name="connsiteX183" fmla="*/ 4740867 w 5842566"/>
              <a:gd name="connsiteY183" fmla="*/ 861429 h 6858000"/>
              <a:gd name="connsiteX184" fmla="*/ 4730731 w 5842566"/>
              <a:gd name="connsiteY184" fmla="*/ 853820 h 6858000"/>
              <a:gd name="connsiteX185" fmla="*/ 4715609 w 5842566"/>
              <a:gd name="connsiteY185" fmla="*/ 851080 h 6858000"/>
              <a:gd name="connsiteX186" fmla="*/ 4115219 w 5842566"/>
              <a:gd name="connsiteY186" fmla="*/ 851080 h 6858000"/>
              <a:gd name="connsiteX187" fmla="*/ 4097023 w 5842566"/>
              <a:gd name="connsiteY187" fmla="*/ 861403 h 6858000"/>
              <a:gd name="connsiteX188" fmla="*/ 4096655 w 5842566"/>
              <a:gd name="connsiteY188" fmla="*/ 861648 h 6858000"/>
              <a:gd name="connsiteX189" fmla="*/ 4096450 w 5842566"/>
              <a:gd name="connsiteY189" fmla="*/ 861117 h 6858000"/>
              <a:gd name="connsiteX190" fmla="*/ 4096450 w 5842566"/>
              <a:gd name="connsiteY190" fmla="*/ 853324 h 6858000"/>
              <a:gd name="connsiteX191" fmla="*/ 4094975 w 5842566"/>
              <a:gd name="connsiteY191" fmla="*/ 851855 h 6858000"/>
              <a:gd name="connsiteX192" fmla="*/ 4083705 w 5842566"/>
              <a:gd name="connsiteY192" fmla="*/ 851855 h 6858000"/>
              <a:gd name="connsiteX193" fmla="*/ 4082230 w 5842566"/>
              <a:gd name="connsiteY193" fmla="*/ 853324 h 6858000"/>
              <a:gd name="connsiteX194" fmla="*/ 4082230 w 5842566"/>
              <a:gd name="connsiteY194" fmla="*/ 925341 h 6858000"/>
              <a:gd name="connsiteX195" fmla="*/ 4083705 w 5842566"/>
              <a:gd name="connsiteY195" fmla="*/ 926810 h 6858000"/>
              <a:gd name="connsiteX196" fmla="*/ 4094975 w 5842566"/>
              <a:gd name="connsiteY196" fmla="*/ 926810 h 6858000"/>
              <a:gd name="connsiteX197" fmla="*/ 4096450 w 5842566"/>
              <a:gd name="connsiteY197" fmla="*/ 925341 h 6858000"/>
              <a:gd name="connsiteX198" fmla="*/ 4096450 w 5842566"/>
              <a:gd name="connsiteY198" fmla="*/ 882335 h 6858000"/>
              <a:gd name="connsiteX199" fmla="*/ 4100958 w 5842566"/>
              <a:gd name="connsiteY199" fmla="*/ 870624 h 6858000"/>
              <a:gd name="connsiteX200" fmla="*/ 4112432 w 5842566"/>
              <a:gd name="connsiteY200" fmla="*/ 865850 h 6858000"/>
              <a:gd name="connsiteX201" fmla="*/ 4114481 w 5842566"/>
              <a:gd name="connsiteY201" fmla="*/ 865687 h 6858000"/>
              <a:gd name="connsiteX202" fmla="*/ 4120423 w 5842566"/>
              <a:gd name="connsiteY202" fmla="*/ 866707 h 6858000"/>
              <a:gd name="connsiteX203" fmla="*/ 4122185 w 5842566"/>
              <a:gd name="connsiteY203" fmla="*/ 865850 h 6858000"/>
              <a:gd name="connsiteX204" fmla="*/ 4124562 w 5842566"/>
              <a:gd name="connsiteY204" fmla="*/ 854793 h 6858000"/>
              <a:gd name="connsiteX205" fmla="*/ 4123825 w 5842566"/>
              <a:gd name="connsiteY205" fmla="*/ 852997 h 6858000"/>
              <a:gd name="connsiteX206" fmla="*/ 4115219 w 5842566"/>
              <a:gd name="connsiteY206" fmla="*/ 851080 h 6858000"/>
              <a:gd name="connsiteX207" fmla="*/ 5273444 w 5842566"/>
              <a:gd name="connsiteY207" fmla="*/ 850807 h 6858000"/>
              <a:gd name="connsiteX208" fmla="*/ 5254714 w 5842566"/>
              <a:gd name="connsiteY208" fmla="*/ 858926 h 6858000"/>
              <a:gd name="connsiteX209" fmla="*/ 5254346 w 5842566"/>
              <a:gd name="connsiteY209" fmla="*/ 859048 h 6858000"/>
              <a:gd name="connsiteX210" fmla="*/ 5254142 w 5842566"/>
              <a:gd name="connsiteY210" fmla="*/ 858640 h 6858000"/>
              <a:gd name="connsiteX211" fmla="*/ 5254142 w 5842566"/>
              <a:gd name="connsiteY211" fmla="*/ 853337 h 6858000"/>
              <a:gd name="connsiteX212" fmla="*/ 5252673 w 5842566"/>
              <a:gd name="connsiteY212" fmla="*/ 851868 h 6858000"/>
              <a:gd name="connsiteX213" fmla="*/ 5241493 w 5842566"/>
              <a:gd name="connsiteY213" fmla="*/ 851868 h 6858000"/>
              <a:gd name="connsiteX214" fmla="*/ 5239983 w 5842566"/>
              <a:gd name="connsiteY214" fmla="*/ 853337 h 6858000"/>
              <a:gd name="connsiteX215" fmla="*/ 5239983 w 5842566"/>
              <a:gd name="connsiteY215" fmla="*/ 925342 h 6858000"/>
              <a:gd name="connsiteX216" fmla="*/ 5241493 w 5842566"/>
              <a:gd name="connsiteY216" fmla="*/ 926810 h 6858000"/>
              <a:gd name="connsiteX217" fmla="*/ 5252673 w 5842566"/>
              <a:gd name="connsiteY217" fmla="*/ 926810 h 6858000"/>
              <a:gd name="connsiteX218" fmla="*/ 5254142 w 5842566"/>
              <a:gd name="connsiteY218" fmla="*/ 925342 h 6858000"/>
              <a:gd name="connsiteX219" fmla="*/ 5254142 w 5842566"/>
              <a:gd name="connsiteY219" fmla="*/ 879405 h 6858000"/>
              <a:gd name="connsiteX220" fmla="*/ 5258549 w 5842566"/>
              <a:gd name="connsiteY220" fmla="*/ 867615 h 6858000"/>
              <a:gd name="connsiteX221" fmla="*/ 5269893 w 5842566"/>
              <a:gd name="connsiteY221" fmla="*/ 863046 h 6858000"/>
              <a:gd name="connsiteX222" fmla="*/ 5281238 w 5842566"/>
              <a:gd name="connsiteY222" fmla="*/ 867615 h 6858000"/>
              <a:gd name="connsiteX223" fmla="*/ 5285522 w 5842566"/>
              <a:gd name="connsiteY223" fmla="*/ 879528 h 6858000"/>
              <a:gd name="connsiteX224" fmla="*/ 5285522 w 5842566"/>
              <a:gd name="connsiteY224" fmla="*/ 925342 h 6858000"/>
              <a:gd name="connsiteX225" fmla="*/ 5286991 w 5842566"/>
              <a:gd name="connsiteY225" fmla="*/ 926810 h 6858000"/>
              <a:gd name="connsiteX226" fmla="*/ 5298172 w 5842566"/>
              <a:gd name="connsiteY226" fmla="*/ 926810 h 6858000"/>
              <a:gd name="connsiteX227" fmla="*/ 5299641 w 5842566"/>
              <a:gd name="connsiteY227" fmla="*/ 925342 h 6858000"/>
              <a:gd name="connsiteX228" fmla="*/ 5299641 w 5842566"/>
              <a:gd name="connsiteY228" fmla="*/ 876754 h 6858000"/>
              <a:gd name="connsiteX229" fmla="*/ 5292582 w 5842566"/>
              <a:gd name="connsiteY229" fmla="*/ 857824 h 6858000"/>
              <a:gd name="connsiteX230" fmla="*/ 5273444 w 5842566"/>
              <a:gd name="connsiteY230" fmla="*/ 850807 h 6858000"/>
              <a:gd name="connsiteX231" fmla="*/ 5189757 w 5842566"/>
              <a:gd name="connsiteY231" fmla="*/ 850807 h 6858000"/>
              <a:gd name="connsiteX232" fmla="*/ 5170483 w 5842566"/>
              <a:gd name="connsiteY232" fmla="*/ 856677 h 6858000"/>
              <a:gd name="connsiteX233" fmla="*/ 5159889 w 5842566"/>
              <a:gd name="connsiteY233" fmla="*/ 872737 h 6858000"/>
              <a:gd name="connsiteX234" fmla="*/ 5158259 w 5842566"/>
              <a:gd name="connsiteY234" fmla="*/ 889041 h 6858000"/>
              <a:gd name="connsiteX235" fmla="*/ 5161804 w 5842566"/>
              <a:gd name="connsiteY235" fmla="*/ 910074 h 6858000"/>
              <a:gd name="connsiteX236" fmla="*/ 5172806 w 5842566"/>
              <a:gd name="connsiteY236" fmla="*/ 923485 h 6858000"/>
              <a:gd name="connsiteX237" fmla="*/ 5190898 w 5842566"/>
              <a:gd name="connsiteY237" fmla="*/ 928172 h 6858000"/>
              <a:gd name="connsiteX238" fmla="*/ 5208053 w 5842566"/>
              <a:gd name="connsiteY238" fmla="*/ 924341 h 6858000"/>
              <a:gd name="connsiteX239" fmla="*/ 5219747 w 5842566"/>
              <a:gd name="connsiteY239" fmla="*/ 913906 h 6858000"/>
              <a:gd name="connsiteX240" fmla="*/ 5219299 w 5842566"/>
              <a:gd name="connsiteY240" fmla="*/ 911990 h 6858000"/>
              <a:gd name="connsiteX241" fmla="*/ 5210905 w 5842566"/>
              <a:gd name="connsiteY241" fmla="*/ 906406 h 6858000"/>
              <a:gd name="connsiteX242" fmla="*/ 5208990 w 5842566"/>
              <a:gd name="connsiteY242" fmla="*/ 906854 h 6858000"/>
              <a:gd name="connsiteX243" fmla="*/ 5192242 w 5842566"/>
              <a:gd name="connsiteY243" fmla="*/ 915822 h 6858000"/>
              <a:gd name="connsiteX244" fmla="*/ 5179814 w 5842566"/>
              <a:gd name="connsiteY244" fmla="*/ 912520 h 6858000"/>
              <a:gd name="connsiteX245" fmla="*/ 5173254 w 5842566"/>
              <a:gd name="connsiteY245" fmla="*/ 903308 h 6858000"/>
              <a:gd name="connsiteX246" fmla="*/ 5172398 w 5842566"/>
              <a:gd name="connsiteY246" fmla="*/ 895686 h 6858000"/>
              <a:gd name="connsiteX247" fmla="*/ 5172969 w 5842566"/>
              <a:gd name="connsiteY247" fmla="*/ 895074 h 6858000"/>
              <a:gd name="connsiteX248" fmla="*/ 5219910 w 5842566"/>
              <a:gd name="connsiteY248" fmla="*/ 895074 h 6858000"/>
              <a:gd name="connsiteX249" fmla="*/ 5221377 w 5842566"/>
              <a:gd name="connsiteY249" fmla="*/ 893607 h 6858000"/>
              <a:gd name="connsiteX250" fmla="*/ 5220929 w 5842566"/>
              <a:gd name="connsiteY250" fmla="*/ 880074 h 6858000"/>
              <a:gd name="connsiteX251" fmla="*/ 5211964 w 5842566"/>
              <a:gd name="connsiteY251" fmla="*/ 858226 h 6858000"/>
              <a:gd name="connsiteX252" fmla="*/ 5189757 w 5842566"/>
              <a:gd name="connsiteY252" fmla="*/ 850807 h 6858000"/>
              <a:gd name="connsiteX253" fmla="*/ 5067431 w 5842566"/>
              <a:gd name="connsiteY253" fmla="*/ 850807 h 6858000"/>
              <a:gd name="connsiteX254" fmla="*/ 5050566 w 5842566"/>
              <a:gd name="connsiteY254" fmla="*/ 856152 h 6858000"/>
              <a:gd name="connsiteX255" fmla="*/ 5040602 w 5842566"/>
              <a:gd name="connsiteY255" fmla="*/ 870391 h 6858000"/>
              <a:gd name="connsiteX256" fmla="*/ 5038397 w 5842566"/>
              <a:gd name="connsiteY256" fmla="*/ 889240 h 6858000"/>
              <a:gd name="connsiteX257" fmla="*/ 5040317 w 5842566"/>
              <a:gd name="connsiteY257" fmla="*/ 907191 h 6858000"/>
              <a:gd name="connsiteX258" fmla="*/ 5050975 w 5842566"/>
              <a:gd name="connsiteY258" fmla="*/ 921919 h 6858000"/>
              <a:gd name="connsiteX259" fmla="*/ 5068330 w 5842566"/>
              <a:gd name="connsiteY259" fmla="*/ 926938 h 6858000"/>
              <a:gd name="connsiteX260" fmla="*/ 5086461 w 5842566"/>
              <a:gd name="connsiteY260" fmla="*/ 919716 h 6858000"/>
              <a:gd name="connsiteX261" fmla="*/ 5086951 w 5842566"/>
              <a:gd name="connsiteY261" fmla="*/ 919553 h 6858000"/>
              <a:gd name="connsiteX262" fmla="*/ 5087196 w 5842566"/>
              <a:gd name="connsiteY262" fmla="*/ 920002 h 6858000"/>
              <a:gd name="connsiteX263" fmla="*/ 5087196 w 5842566"/>
              <a:gd name="connsiteY263" fmla="*/ 922654 h 6858000"/>
              <a:gd name="connsiteX264" fmla="*/ 5081601 w 5842566"/>
              <a:gd name="connsiteY264" fmla="*/ 938361 h 6858000"/>
              <a:gd name="connsiteX265" fmla="*/ 5063470 w 5842566"/>
              <a:gd name="connsiteY265" fmla="*/ 942972 h 6858000"/>
              <a:gd name="connsiteX266" fmla="*/ 5057427 w 5842566"/>
              <a:gd name="connsiteY266" fmla="*/ 942849 h 6858000"/>
              <a:gd name="connsiteX267" fmla="*/ 5056242 w 5842566"/>
              <a:gd name="connsiteY267" fmla="*/ 943135 h 6858000"/>
              <a:gd name="connsiteX268" fmla="*/ 5055793 w 5842566"/>
              <a:gd name="connsiteY268" fmla="*/ 944155 h 6858000"/>
              <a:gd name="connsiteX269" fmla="*/ 5055344 w 5842566"/>
              <a:gd name="connsiteY269" fmla="*/ 954314 h 6858000"/>
              <a:gd name="connsiteX270" fmla="*/ 5056814 w 5842566"/>
              <a:gd name="connsiteY270" fmla="*/ 955946 h 6858000"/>
              <a:gd name="connsiteX271" fmla="*/ 5064205 w 5842566"/>
              <a:gd name="connsiteY271" fmla="*/ 956231 h 6858000"/>
              <a:gd name="connsiteX272" fmla="*/ 5091238 w 5842566"/>
              <a:gd name="connsiteY272" fmla="*/ 948602 h 6858000"/>
              <a:gd name="connsiteX273" fmla="*/ 5101325 w 5842566"/>
              <a:gd name="connsiteY273" fmla="*/ 923103 h 6858000"/>
              <a:gd name="connsiteX274" fmla="*/ 5101325 w 5842566"/>
              <a:gd name="connsiteY274" fmla="*/ 853459 h 6858000"/>
              <a:gd name="connsiteX275" fmla="*/ 5099855 w 5842566"/>
              <a:gd name="connsiteY275" fmla="*/ 851990 h 6858000"/>
              <a:gd name="connsiteX276" fmla="*/ 5088666 w 5842566"/>
              <a:gd name="connsiteY276" fmla="*/ 851990 h 6858000"/>
              <a:gd name="connsiteX277" fmla="*/ 5087196 w 5842566"/>
              <a:gd name="connsiteY277" fmla="*/ 853459 h 6858000"/>
              <a:gd name="connsiteX278" fmla="*/ 5087196 w 5842566"/>
              <a:gd name="connsiteY278" fmla="*/ 858029 h 6858000"/>
              <a:gd name="connsiteX279" fmla="*/ 5086951 w 5842566"/>
              <a:gd name="connsiteY279" fmla="*/ 858396 h 6858000"/>
              <a:gd name="connsiteX280" fmla="*/ 5086461 w 5842566"/>
              <a:gd name="connsiteY280" fmla="*/ 858151 h 6858000"/>
              <a:gd name="connsiteX281" fmla="*/ 5067431 w 5842566"/>
              <a:gd name="connsiteY281" fmla="*/ 850807 h 6858000"/>
              <a:gd name="connsiteX282" fmla="*/ 4937870 w 5842566"/>
              <a:gd name="connsiteY282" fmla="*/ 850807 h 6858000"/>
              <a:gd name="connsiteX283" fmla="*/ 4918554 w 5842566"/>
              <a:gd name="connsiteY283" fmla="*/ 856677 h 6858000"/>
              <a:gd name="connsiteX284" fmla="*/ 4907914 w 5842566"/>
              <a:gd name="connsiteY284" fmla="*/ 872737 h 6858000"/>
              <a:gd name="connsiteX285" fmla="*/ 4906277 w 5842566"/>
              <a:gd name="connsiteY285" fmla="*/ 889041 h 6858000"/>
              <a:gd name="connsiteX286" fmla="*/ 4909838 w 5842566"/>
              <a:gd name="connsiteY286" fmla="*/ 910074 h 6858000"/>
              <a:gd name="connsiteX287" fmla="*/ 4920887 w 5842566"/>
              <a:gd name="connsiteY287" fmla="*/ 923485 h 6858000"/>
              <a:gd name="connsiteX288" fmla="*/ 4939057 w 5842566"/>
              <a:gd name="connsiteY288" fmla="*/ 928172 h 6858000"/>
              <a:gd name="connsiteX289" fmla="*/ 4956286 w 5842566"/>
              <a:gd name="connsiteY289" fmla="*/ 924341 h 6858000"/>
              <a:gd name="connsiteX290" fmla="*/ 4968031 w 5842566"/>
              <a:gd name="connsiteY290" fmla="*/ 913906 h 6858000"/>
              <a:gd name="connsiteX291" fmla="*/ 4967581 w 5842566"/>
              <a:gd name="connsiteY291" fmla="*/ 911990 h 6858000"/>
              <a:gd name="connsiteX292" fmla="*/ 4959150 w 5842566"/>
              <a:gd name="connsiteY292" fmla="*/ 906406 h 6858000"/>
              <a:gd name="connsiteX293" fmla="*/ 4957227 w 5842566"/>
              <a:gd name="connsiteY293" fmla="*/ 906854 h 6858000"/>
              <a:gd name="connsiteX294" fmla="*/ 4940407 w 5842566"/>
              <a:gd name="connsiteY294" fmla="*/ 915822 h 6858000"/>
              <a:gd name="connsiteX295" fmla="*/ 4927926 w 5842566"/>
              <a:gd name="connsiteY295" fmla="*/ 912520 h 6858000"/>
              <a:gd name="connsiteX296" fmla="*/ 4921337 w 5842566"/>
              <a:gd name="connsiteY296" fmla="*/ 903308 h 6858000"/>
              <a:gd name="connsiteX297" fmla="*/ 4920478 w 5842566"/>
              <a:gd name="connsiteY297" fmla="*/ 895686 h 6858000"/>
              <a:gd name="connsiteX298" fmla="*/ 4921051 w 5842566"/>
              <a:gd name="connsiteY298" fmla="*/ 895074 h 6858000"/>
              <a:gd name="connsiteX299" fmla="*/ 4968153 w 5842566"/>
              <a:gd name="connsiteY299" fmla="*/ 895074 h 6858000"/>
              <a:gd name="connsiteX300" fmla="*/ 4969668 w 5842566"/>
              <a:gd name="connsiteY300" fmla="*/ 893607 h 6858000"/>
              <a:gd name="connsiteX301" fmla="*/ 4969218 w 5842566"/>
              <a:gd name="connsiteY301" fmla="*/ 880074 h 6858000"/>
              <a:gd name="connsiteX302" fmla="*/ 4960214 w 5842566"/>
              <a:gd name="connsiteY302" fmla="*/ 858226 h 6858000"/>
              <a:gd name="connsiteX303" fmla="*/ 4937870 w 5842566"/>
              <a:gd name="connsiteY303" fmla="*/ 850807 h 6858000"/>
              <a:gd name="connsiteX304" fmla="*/ 4862060 w 5842566"/>
              <a:gd name="connsiteY304" fmla="*/ 850807 h 6858000"/>
              <a:gd name="connsiteX305" fmla="*/ 4843371 w 5842566"/>
              <a:gd name="connsiteY305" fmla="*/ 858926 h 6858000"/>
              <a:gd name="connsiteX306" fmla="*/ 4843003 w 5842566"/>
              <a:gd name="connsiteY306" fmla="*/ 859048 h 6858000"/>
              <a:gd name="connsiteX307" fmla="*/ 4842759 w 5842566"/>
              <a:gd name="connsiteY307" fmla="*/ 858640 h 6858000"/>
              <a:gd name="connsiteX308" fmla="*/ 4842759 w 5842566"/>
              <a:gd name="connsiteY308" fmla="*/ 853337 h 6858000"/>
              <a:gd name="connsiteX309" fmla="*/ 4841290 w 5842566"/>
              <a:gd name="connsiteY309" fmla="*/ 851868 h 6858000"/>
              <a:gd name="connsiteX310" fmla="*/ 4830109 w 5842566"/>
              <a:gd name="connsiteY310" fmla="*/ 851868 h 6858000"/>
              <a:gd name="connsiteX311" fmla="*/ 4828640 w 5842566"/>
              <a:gd name="connsiteY311" fmla="*/ 853337 h 6858000"/>
              <a:gd name="connsiteX312" fmla="*/ 4828640 w 5842566"/>
              <a:gd name="connsiteY312" fmla="*/ 925342 h 6858000"/>
              <a:gd name="connsiteX313" fmla="*/ 4830109 w 5842566"/>
              <a:gd name="connsiteY313" fmla="*/ 926810 h 6858000"/>
              <a:gd name="connsiteX314" fmla="*/ 4841290 w 5842566"/>
              <a:gd name="connsiteY314" fmla="*/ 926810 h 6858000"/>
              <a:gd name="connsiteX315" fmla="*/ 4842759 w 5842566"/>
              <a:gd name="connsiteY315" fmla="*/ 925342 h 6858000"/>
              <a:gd name="connsiteX316" fmla="*/ 4842759 w 5842566"/>
              <a:gd name="connsiteY316" fmla="*/ 879405 h 6858000"/>
              <a:gd name="connsiteX317" fmla="*/ 4847166 w 5842566"/>
              <a:gd name="connsiteY317" fmla="*/ 867615 h 6858000"/>
              <a:gd name="connsiteX318" fmla="*/ 4858510 w 5842566"/>
              <a:gd name="connsiteY318" fmla="*/ 863046 h 6858000"/>
              <a:gd name="connsiteX319" fmla="*/ 4869854 w 5842566"/>
              <a:gd name="connsiteY319" fmla="*/ 867615 h 6858000"/>
              <a:gd name="connsiteX320" fmla="*/ 4874138 w 5842566"/>
              <a:gd name="connsiteY320" fmla="*/ 879528 h 6858000"/>
              <a:gd name="connsiteX321" fmla="*/ 4874138 w 5842566"/>
              <a:gd name="connsiteY321" fmla="*/ 925342 h 6858000"/>
              <a:gd name="connsiteX322" fmla="*/ 4875607 w 5842566"/>
              <a:gd name="connsiteY322" fmla="*/ 926810 h 6858000"/>
              <a:gd name="connsiteX323" fmla="*/ 4886788 w 5842566"/>
              <a:gd name="connsiteY323" fmla="*/ 926810 h 6858000"/>
              <a:gd name="connsiteX324" fmla="*/ 4888298 w 5842566"/>
              <a:gd name="connsiteY324" fmla="*/ 925342 h 6858000"/>
              <a:gd name="connsiteX325" fmla="*/ 4888298 w 5842566"/>
              <a:gd name="connsiteY325" fmla="*/ 876754 h 6858000"/>
              <a:gd name="connsiteX326" fmla="*/ 4881198 w 5842566"/>
              <a:gd name="connsiteY326" fmla="*/ 857824 h 6858000"/>
              <a:gd name="connsiteX327" fmla="*/ 4862060 w 5842566"/>
              <a:gd name="connsiteY327" fmla="*/ 850807 h 6858000"/>
              <a:gd name="connsiteX328" fmla="*/ 4612571 w 5842566"/>
              <a:gd name="connsiteY328" fmla="*/ 850807 h 6858000"/>
              <a:gd name="connsiteX329" fmla="*/ 4593841 w 5842566"/>
              <a:gd name="connsiteY329" fmla="*/ 858926 h 6858000"/>
              <a:gd name="connsiteX330" fmla="*/ 4593473 w 5842566"/>
              <a:gd name="connsiteY330" fmla="*/ 859048 h 6858000"/>
              <a:gd name="connsiteX331" fmla="*/ 4593269 w 5842566"/>
              <a:gd name="connsiteY331" fmla="*/ 858640 h 6858000"/>
              <a:gd name="connsiteX332" fmla="*/ 4593269 w 5842566"/>
              <a:gd name="connsiteY332" fmla="*/ 853337 h 6858000"/>
              <a:gd name="connsiteX333" fmla="*/ 4591801 w 5842566"/>
              <a:gd name="connsiteY333" fmla="*/ 851868 h 6858000"/>
              <a:gd name="connsiteX334" fmla="*/ 4580579 w 5842566"/>
              <a:gd name="connsiteY334" fmla="*/ 851868 h 6858000"/>
              <a:gd name="connsiteX335" fmla="*/ 4579110 w 5842566"/>
              <a:gd name="connsiteY335" fmla="*/ 853337 h 6858000"/>
              <a:gd name="connsiteX336" fmla="*/ 4579110 w 5842566"/>
              <a:gd name="connsiteY336" fmla="*/ 925342 h 6858000"/>
              <a:gd name="connsiteX337" fmla="*/ 4580579 w 5842566"/>
              <a:gd name="connsiteY337" fmla="*/ 926810 h 6858000"/>
              <a:gd name="connsiteX338" fmla="*/ 4591801 w 5842566"/>
              <a:gd name="connsiteY338" fmla="*/ 926810 h 6858000"/>
              <a:gd name="connsiteX339" fmla="*/ 4593269 w 5842566"/>
              <a:gd name="connsiteY339" fmla="*/ 925342 h 6858000"/>
              <a:gd name="connsiteX340" fmla="*/ 4593269 w 5842566"/>
              <a:gd name="connsiteY340" fmla="*/ 879405 h 6858000"/>
              <a:gd name="connsiteX341" fmla="*/ 4597677 w 5842566"/>
              <a:gd name="connsiteY341" fmla="*/ 867615 h 6858000"/>
              <a:gd name="connsiteX342" fmla="*/ 4609021 w 5842566"/>
              <a:gd name="connsiteY342" fmla="*/ 863046 h 6858000"/>
              <a:gd name="connsiteX343" fmla="*/ 4620365 w 5842566"/>
              <a:gd name="connsiteY343" fmla="*/ 867615 h 6858000"/>
              <a:gd name="connsiteX344" fmla="*/ 4624649 w 5842566"/>
              <a:gd name="connsiteY344" fmla="*/ 879528 h 6858000"/>
              <a:gd name="connsiteX345" fmla="*/ 4624649 w 5842566"/>
              <a:gd name="connsiteY345" fmla="*/ 925342 h 6858000"/>
              <a:gd name="connsiteX346" fmla="*/ 4626118 w 5842566"/>
              <a:gd name="connsiteY346" fmla="*/ 926810 h 6858000"/>
              <a:gd name="connsiteX347" fmla="*/ 4637299 w 5842566"/>
              <a:gd name="connsiteY347" fmla="*/ 926810 h 6858000"/>
              <a:gd name="connsiteX348" fmla="*/ 4638768 w 5842566"/>
              <a:gd name="connsiteY348" fmla="*/ 925342 h 6858000"/>
              <a:gd name="connsiteX349" fmla="*/ 4638768 w 5842566"/>
              <a:gd name="connsiteY349" fmla="*/ 876754 h 6858000"/>
              <a:gd name="connsiteX350" fmla="*/ 4631709 w 5842566"/>
              <a:gd name="connsiteY350" fmla="*/ 857824 h 6858000"/>
              <a:gd name="connsiteX351" fmla="*/ 4612571 w 5842566"/>
              <a:gd name="connsiteY351" fmla="*/ 850807 h 6858000"/>
              <a:gd name="connsiteX352" fmla="*/ 4529136 w 5842566"/>
              <a:gd name="connsiteY352" fmla="*/ 850807 h 6858000"/>
              <a:gd name="connsiteX353" fmla="*/ 4509850 w 5842566"/>
              <a:gd name="connsiteY353" fmla="*/ 856677 h 6858000"/>
              <a:gd name="connsiteX354" fmla="*/ 4499249 w 5842566"/>
              <a:gd name="connsiteY354" fmla="*/ 872737 h 6858000"/>
              <a:gd name="connsiteX355" fmla="*/ 4497659 w 5842566"/>
              <a:gd name="connsiteY355" fmla="*/ 889041 h 6858000"/>
              <a:gd name="connsiteX356" fmla="*/ 4501166 w 5842566"/>
              <a:gd name="connsiteY356" fmla="*/ 910074 h 6858000"/>
              <a:gd name="connsiteX357" fmla="*/ 4512215 w 5842566"/>
              <a:gd name="connsiteY357" fmla="*/ 923485 h 6858000"/>
              <a:gd name="connsiteX358" fmla="*/ 4530319 w 5842566"/>
              <a:gd name="connsiteY358" fmla="*/ 928172 h 6858000"/>
              <a:gd name="connsiteX359" fmla="*/ 4547444 w 5842566"/>
              <a:gd name="connsiteY359" fmla="*/ 924341 h 6858000"/>
              <a:gd name="connsiteX360" fmla="*/ 4559187 w 5842566"/>
              <a:gd name="connsiteY360" fmla="*/ 913906 h 6858000"/>
              <a:gd name="connsiteX361" fmla="*/ 4558738 w 5842566"/>
              <a:gd name="connsiteY361" fmla="*/ 911990 h 6858000"/>
              <a:gd name="connsiteX362" fmla="*/ 4550339 w 5842566"/>
              <a:gd name="connsiteY362" fmla="*/ 906406 h 6858000"/>
              <a:gd name="connsiteX363" fmla="*/ 4548422 w 5842566"/>
              <a:gd name="connsiteY363" fmla="*/ 906854 h 6858000"/>
              <a:gd name="connsiteX364" fmla="*/ 4531624 w 5842566"/>
              <a:gd name="connsiteY364" fmla="*/ 915822 h 6858000"/>
              <a:gd name="connsiteX365" fmla="*/ 4519187 w 5842566"/>
              <a:gd name="connsiteY365" fmla="*/ 912520 h 6858000"/>
              <a:gd name="connsiteX366" fmla="*/ 4512664 w 5842566"/>
              <a:gd name="connsiteY366" fmla="*/ 903308 h 6858000"/>
              <a:gd name="connsiteX367" fmla="*/ 4511767 w 5842566"/>
              <a:gd name="connsiteY367" fmla="*/ 895686 h 6858000"/>
              <a:gd name="connsiteX368" fmla="*/ 4512378 w 5842566"/>
              <a:gd name="connsiteY368" fmla="*/ 895074 h 6858000"/>
              <a:gd name="connsiteX369" fmla="*/ 4559309 w 5842566"/>
              <a:gd name="connsiteY369" fmla="*/ 895074 h 6858000"/>
              <a:gd name="connsiteX370" fmla="*/ 4560777 w 5842566"/>
              <a:gd name="connsiteY370" fmla="*/ 893607 h 6858000"/>
              <a:gd name="connsiteX371" fmla="*/ 4560328 w 5842566"/>
              <a:gd name="connsiteY371" fmla="*/ 880074 h 6858000"/>
              <a:gd name="connsiteX372" fmla="*/ 4551358 w 5842566"/>
              <a:gd name="connsiteY372" fmla="*/ 858226 h 6858000"/>
              <a:gd name="connsiteX373" fmla="*/ 4529136 w 5842566"/>
              <a:gd name="connsiteY373" fmla="*/ 850807 h 6858000"/>
              <a:gd name="connsiteX374" fmla="*/ 4411563 w 5842566"/>
              <a:gd name="connsiteY374" fmla="*/ 850807 h 6858000"/>
              <a:gd name="connsiteX375" fmla="*/ 4392700 w 5842566"/>
              <a:gd name="connsiteY375" fmla="*/ 858640 h 6858000"/>
              <a:gd name="connsiteX376" fmla="*/ 4392169 w 5842566"/>
              <a:gd name="connsiteY376" fmla="*/ 858763 h 6858000"/>
              <a:gd name="connsiteX377" fmla="*/ 4391965 w 5842566"/>
              <a:gd name="connsiteY377" fmla="*/ 858314 h 6858000"/>
              <a:gd name="connsiteX378" fmla="*/ 4391965 w 5842566"/>
              <a:gd name="connsiteY378" fmla="*/ 853337 h 6858000"/>
              <a:gd name="connsiteX379" fmla="*/ 4390495 w 5842566"/>
              <a:gd name="connsiteY379" fmla="*/ 851868 h 6858000"/>
              <a:gd name="connsiteX380" fmla="*/ 4379308 w 5842566"/>
              <a:gd name="connsiteY380" fmla="*/ 851868 h 6858000"/>
              <a:gd name="connsiteX381" fmla="*/ 4377797 w 5842566"/>
              <a:gd name="connsiteY381" fmla="*/ 853337 h 6858000"/>
              <a:gd name="connsiteX382" fmla="*/ 4377797 w 5842566"/>
              <a:gd name="connsiteY382" fmla="*/ 925342 h 6858000"/>
              <a:gd name="connsiteX383" fmla="*/ 4379308 w 5842566"/>
              <a:gd name="connsiteY383" fmla="*/ 926810 h 6858000"/>
              <a:gd name="connsiteX384" fmla="*/ 4390495 w 5842566"/>
              <a:gd name="connsiteY384" fmla="*/ 926810 h 6858000"/>
              <a:gd name="connsiteX385" fmla="*/ 4391965 w 5842566"/>
              <a:gd name="connsiteY385" fmla="*/ 925342 h 6858000"/>
              <a:gd name="connsiteX386" fmla="*/ 4391965 w 5842566"/>
              <a:gd name="connsiteY386" fmla="*/ 878793 h 6858000"/>
              <a:gd name="connsiteX387" fmla="*/ 4396007 w 5842566"/>
              <a:gd name="connsiteY387" fmla="*/ 867330 h 6858000"/>
              <a:gd name="connsiteX388" fmla="*/ 4406868 w 5842566"/>
              <a:gd name="connsiteY388" fmla="*/ 863046 h 6858000"/>
              <a:gd name="connsiteX389" fmla="*/ 4417688 w 5842566"/>
              <a:gd name="connsiteY389" fmla="*/ 867370 h 6858000"/>
              <a:gd name="connsiteX390" fmla="*/ 4421730 w 5842566"/>
              <a:gd name="connsiteY390" fmla="*/ 879079 h 6858000"/>
              <a:gd name="connsiteX391" fmla="*/ 4421730 w 5842566"/>
              <a:gd name="connsiteY391" fmla="*/ 925342 h 6858000"/>
              <a:gd name="connsiteX392" fmla="*/ 4423200 w 5842566"/>
              <a:gd name="connsiteY392" fmla="*/ 926810 h 6858000"/>
              <a:gd name="connsiteX393" fmla="*/ 4434264 w 5842566"/>
              <a:gd name="connsiteY393" fmla="*/ 926810 h 6858000"/>
              <a:gd name="connsiteX394" fmla="*/ 4435734 w 5842566"/>
              <a:gd name="connsiteY394" fmla="*/ 925342 h 6858000"/>
              <a:gd name="connsiteX395" fmla="*/ 4435734 w 5842566"/>
              <a:gd name="connsiteY395" fmla="*/ 878793 h 6858000"/>
              <a:gd name="connsiteX396" fmla="*/ 4440021 w 5842566"/>
              <a:gd name="connsiteY396" fmla="*/ 867330 h 6858000"/>
              <a:gd name="connsiteX397" fmla="*/ 4451045 w 5842566"/>
              <a:gd name="connsiteY397" fmla="*/ 863046 h 6858000"/>
              <a:gd name="connsiteX398" fmla="*/ 4461906 w 5842566"/>
              <a:gd name="connsiteY398" fmla="*/ 867370 h 6858000"/>
              <a:gd name="connsiteX399" fmla="*/ 4465948 w 5842566"/>
              <a:gd name="connsiteY399" fmla="*/ 879079 h 6858000"/>
              <a:gd name="connsiteX400" fmla="*/ 4465948 w 5842566"/>
              <a:gd name="connsiteY400" fmla="*/ 925342 h 6858000"/>
              <a:gd name="connsiteX401" fmla="*/ 4467418 w 5842566"/>
              <a:gd name="connsiteY401" fmla="*/ 926810 h 6858000"/>
              <a:gd name="connsiteX402" fmla="*/ 4478482 w 5842566"/>
              <a:gd name="connsiteY402" fmla="*/ 926810 h 6858000"/>
              <a:gd name="connsiteX403" fmla="*/ 4479952 w 5842566"/>
              <a:gd name="connsiteY403" fmla="*/ 925342 h 6858000"/>
              <a:gd name="connsiteX404" fmla="*/ 4479952 w 5842566"/>
              <a:gd name="connsiteY404" fmla="*/ 876142 h 6858000"/>
              <a:gd name="connsiteX405" fmla="*/ 4473460 w 5842566"/>
              <a:gd name="connsiteY405" fmla="*/ 857539 h 6858000"/>
              <a:gd name="connsiteX406" fmla="*/ 4455781 w 5842566"/>
              <a:gd name="connsiteY406" fmla="*/ 850807 h 6858000"/>
              <a:gd name="connsiteX407" fmla="*/ 4442879 w 5842566"/>
              <a:gd name="connsiteY407" fmla="*/ 853622 h 6858000"/>
              <a:gd name="connsiteX408" fmla="*/ 4433529 w 5842566"/>
              <a:gd name="connsiteY408" fmla="*/ 862148 h 6858000"/>
              <a:gd name="connsiteX409" fmla="*/ 4432631 w 5842566"/>
              <a:gd name="connsiteY409" fmla="*/ 862148 h 6858000"/>
              <a:gd name="connsiteX410" fmla="*/ 4424384 w 5842566"/>
              <a:gd name="connsiteY410" fmla="*/ 853704 h 6858000"/>
              <a:gd name="connsiteX411" fmla="*/ 4411563 w 5842566"/>
              <a:gd name="connsiteY411" fmla="*/ 850807 h 6858000"/>
              <a:gd name="connsiteX412" fmla="*/ 4247073 w 5842566"/>
              <a:gd name="connsiteY412" fmla="*/ 850807 h 6858000"/>
              <a:gd name="connsiteX413" fmla="*/ 4227717 w 5842566"/>
              <a:gd name="connsiteY413" fmla="*/ 856677 h 6858000"/>
              <a:gd name="connsiteX414" fmla="*/ 4217077 w 5842566"/>
              <a:gd name="connsiteY414" fmla="*/ 872737 h 6858000"/>
              <a:gd name="connsiteX415" fmla="*/ 4215440 w 5842566"/>
              <a:gd name="connsiteY415" fmla="*/ 889041 h 6858000"/>
              <a:gd name="connsiteX416" fmla="*/ 4219000 w 5842566"/>
              <a:gd name="connsiteY416" fmla="*/ 910074 h 6858000"/>
              <a:gd name="connsiteX417" fmla="*/ 4230090 w 5842566"/>
              <a:gd name="connsiteY417" fmla="*/ 923485 h 6858000"/>
              <a:gd name="connsiteX418" fmla="*/ 4248260 w 5842566"/>
              <a:gd name="connsiteY418" fmla="*/ 928172 h 6858000"/>
              <a:gd name="connsiteX419" fmla="*/ 4265448 w 5842566"/>
              <a:gd name="connsiteY419" fmla="*/ 924341 h 6858000"/>
              <a:gd name="connsiteX420" fmla="*/ 4277193 w 5842566"/>
              <a:gd name="connsiteY420" fmla="*/ 913906 h 6858000"/>
              <a:gd name="connsiteX421" fmla="*/ 4276743 w 5842566"/>
              <a:gd name="connsiteY421" fmla="*/ 911990 h 6858000"/>
              <a:gd name="connsiteX422" fmla="*/ 4268354 w 5842566"/>
              <a:gd name="connsiteY422" fmla="*/ 906406 h 6858000"/>
              <a:gd name="connsiteX423" fmla="*/ 4266430 w 5842566"/>
              <a:gd name="connsiteY423" fmla="*/ 906854 h 6858000"/>
              <a:gd name="connsiteX424" fmla="*/ 4249570 w 5842566"/>
              <a:gd name="connsiteY424" fmla="*/ 915822 h 6858000"/>
              <a:gd name="connsiteX425" fmla="*/ 4237088 w 5842566"/>
              <a:gd name="connsiteY425" fmla="*/ 912520 h 6858000"/>
              <a:gd name="connsiteX426" fmla="*/ 4230540 w 5842566"/>
              <a:gd name="connsiteY426" fmla="*/ 903308 h 6858000"/>
              <a:gd name="connsiteX427" fmla="*/ 4229640 w 5842566"/>
              <a:gd name="connsiteY427" fmla="*/ 895686 h 6858000"/>
              <a:gd name="connsiteX428" fmla="*/ 4230213 w 5842566"/>
              <a:gd name="connsiteY428" fmla="*/ 895074 h 6858000"/>
              <a:gd name="connsiteX429" fmla="*/ 4277357 w 5842566"/>
              <a:gd name="connsiteY429" fmla="*/ 895074 h 6858000"/>
              <a:gd name="connsiteX430" fmla="*/ 4278830 w 5842566"/>
              <a:gd name="connsiteY430" fmla="*/ 893607 h 6858000"/>
              <a:gd name="connsiteX431" fmla="*/ 4278380 w 5842566"/>
              <a:gd name="connsiteY431" fmla="*/ 880074 h 6858000"/>
              <a:gd name="connsiteX432" fmla="*/ 4269377 w 5842566"/>
              <a:gd name="connsiteY432" fmla="*/ 858226 h 6858000"/>
              <a:gd name="connsiteX433" fmla="*/ 4247073 w 5842566"/>
              <a:gd name="connsiteY433" fmla="*/ 850807 h 6858000"/>
              <a:gd name="connsiteX434" fmla="*/ 4171263 w 5842566"/>
              <a:gd name="connsiteY434" fmla="*/ 850807 h 6858000"/>
              <a:gd name="connsiteX435" fmla="*/ 4152533 w 5842566"/>
              <a:gd name="connsiteY435" fmla="*/ 858926 h 6858000"/>
              <a:gd name="connsiteX436" fmla="*/ 4152207 w 5842566"/>
              <a:gd name="connsiteY436" fmla="*/ 859048 h 6858000"/>
              <a:gd name="connsiteX437" fmla="*/ 4151962 w 5842566"/>
              <a:gd name="connsiteY437" fmla="*/ 858640 h 6858000"/>
              <a:gd name="connsiteX438" fmla="*/ 4151962 w 5842566"/>
              <a:gd name="connsiteY438" fmla="*/ 853337 h 6858000"/>
              <a:gd name="connsiteX439" fmla="*/ 4150493 w 5842566"/>
              <a:gd name="connsiteY439" fmla="*/ 851868 h 6858000"/>
              <a:gd name="connsiteX440" fmla="*/ 4139312 w 5842566"/>
              <a:gd name="connsiteY440" fmla="*/ 851868 h 6858000"/>
              <a:gd name="connsiteX441" fmla="*/ 4137802 w 5842566"/>
              <a:gd name="connsiteY441" fmla="*/ 853337 h 6858000"/>
              <a:gd name="connsiteX442" fmla="*/ 4137802 w 5842566"/>
              <a:gd name="connsiteY442" fmla="*/ 925342 h 6858000"/>
              <a:gd name="connsiteX443" fmla="*/ 4139312 w 5842566"/>
              <a:gd name="connsiteY443" fmla="*/ 926810 h 6858000"/>
              <a:gd name="connsiteX444" fmla="*/ 4150493 w 5842566"/>
              <a:gd name="connsiteY444" fmla="*/ 926810 h 6858000"/>
              <a:gd name="connsiteX445" fmla="*/ 4151962 w 5842566"/>
              <a:gd name="connsiteY445" fmla="*/ 925342 h 6858000"/>
              <a:gd name="connsiteX446" fmla="*/ 4151962 w 5842566"/>
              <a:gd name="connsiteY446" fmla="*/ 879405 h 6858000"/>
              <a:gd name="connsiteX447" fmla="*/ 4156369 w 5842566"/>
              <a:gd name="connsiteY447" fmla="*/ 867615 h 6858000"/>
              <a:gd name="connsiteX448" fmla="*/ 4167713 w 5842566"/>
              <a:gd name="connsiteY448" fmla="*/ 863046 h 6858000"/>
              <a:gd name="connsiteX449" fmla="*/ 4179057 w 5842566"/>
              <a:gd name="connsiteY449" fmla="*/ 867615 h 6858000"/>
              <a:gd name="connsiteX450" fmla="*/ 4183342 w 5842566"/>
              <a:gd name="connsiteY450" fmla="*/ 879528 h 6858000"/>
              <a:gd name="connsiteX451" fmla="*/ 4183342 w 5842566"/>
              <a:gd name="connsiteY451" fmla="*/ 925342 h 6858000"/>
              <a:gd name="connsiteX452" fmla="*/ 4184811 w 5842566"/>
              <a:gd name="connsiteY452" fmla="*/ 926810 h 6858000"/>
              <a:gd name="connsiteX453" fmla="*/ 4195991 w 5842566"/>
              <a:gd name="connsiteY453" fmla="*/ 926810 h 6858000"/>
              <a:gd name="connsiteX454" fmla="*/ 4197461 w 5842566"/>
              <a:gd name="connsiteY454" fmla="*/ 925342 h 6858000"/>
              <a:gd name="connsiteX455" fmla="*/ 4197461 w 5842566"/>
              <a:gd name="connsiteY455" fmla="*/ 876754 h 6858000"/>
              <a:gd name="connsiteX456" fmla="*/ 4190401 w 5842566"/>
              <a:gd name="connsiteY456" fmla="*/ 857824 h 6858000"/>
              <a:gd name="connsiteX457" fmla="*/ 4171263 w 5842566"/>
              <a:gd name="connsiteY457" fmla="*/ 850807 h 6858000"/>
              <a:gd name="connsiteX458" fmla="*/ 4032256 w 5842566"/>
              <a:gd name="connsiteY458" fmla="*/ 850807 h 6858000"/>
              <a:gd name="connsiteX459" fmla="*/ 4012970 w 5842566"/>
              <a:gd name="connsiteY459" fmla="*/ 856677 h 6858000"/>
              <a:gd name="connsiteX460" fmla="*/ 4002369 w 5842566"/>
              <a:gd name="connsiteY460" fmla="*/ 872737 h 6858000"/>
              <a:gd name="connsiteX461" fmla="*/ 4000779 w 5842566"/>
              <a:gd name="connsiteY461" fmla="*/ 889041 h 6858000"/>
              <a:gd name="connsiteX462" fmla="*/ 4004285 w 5842566"/>
              <a:gd name="connsiteY462" fmla="*/ 910074 h 6858000"/>
              <a:gd name="connsiteX463" fmla="*/ 4015335 w 5842566"/>
              <a:gd name="connsiteY463" fmla="*/ 923485 h 6858000"/>
              <a:gd name="connsiteX464" fmla="*/ 4033438 w 5842566"/>
              <a:gd name="connsiteY464" fmla="*/ 928172 h 6858000"/>
              <a:gd name="connsiteX465" fmla="*/ 4050563 w 5842566"/>
              <a:gd name="connsiteY465" fmla="*/ 924341 h 6858000"/>
              <a:gd name="connsiteX466" fmla="*/ 4062266 w 5842566"/>
              <a:gd name="connsiteY466" fmla="*/ 913906 h 6858000"/>
              <a:gd name="connsiteX467" fmla="*/ 4061817 w 5842566"/>
              <a:gd name="connsiteY467" fmla="*/ 911990 h 6858000"/>
              <a:gd name="connsiteX468" fmla="*/ 4053459 w 5842566"/>
              <a:gd name="connsiteY468" fmla="*/ 906406 h 6858000"/>
              <a:gd name="connsiteX469" fmla="*/ 4051542 w 5842566"/>
              <a:gd name="connsiteY469" fmla="*/ 906854 h 6858000"/>
              <a:gd name="connsiteX470" fmla="*/ 4034743 w 5842566"/>
              <a:gd name="connsiteY470" fmla="*/ 915822 h 6858000"/>
              <a:gd name="connsiteX471" fmla="*/ 4022307 w 5842566"/>
              <a:gd name="connsiteY471" fmla="*/ 912520 h 6858000"/>
              <a:gd name="connsiteX472" fmla="*/ 4015783 w 5842566"/>
              <a:gd name="connsiteY472" fmla="*/ 903308 h 6858000"/>
              <a:gd name="connsiteX473" fmla="*/ 4014886 w 5842566"/>
              <a:gd name="connsiteY473" fmla="*/ 895686 h 6858000"/>
              <a:gd name="connsiteX474" fmla="*/ 4015457 w 5842566"/>
              <a:gd name="connsiteY474" fmla="*/ 895074 h 6858000"/>
              <a:gd name="connsiteX475" fmla="*/ 4062429 w 5842566"/>
              <a:gd name="connsiteY475" fmla="*/ 895074 h 6858000"/>
              <a:gd name="connsiteX476" fmla="*/ 4063897 w 5842566"/>
              <a:gd name="connsiteY476" fmla="*/ 893607 h 6858000"/>
              <a:gd name="connsiteX477" fmla="*/ 4063448 w 5842566"/>
              <a:gd name="connsiteY477" fmla="*/ 880074 h 6858000"/>
              <a:gd name="connsiteX478" fmla="*/ 4054478 w 5842566"/>
              <a:gd name="connsiteY478" fmla="*/ 858226 h 6858000"/>
              <a:gd name="connsiteX479" fmla="*/ 4032256 w 5842566"/>
              <a:gd name="connsiteY479" fmla="*/ 850807 h 6858000"/>
              <a:gd name="connsiteX480" fmla="*/ 3902119 w 5842566"/>
              <a:gd name="connsiteY480" fmla="*/ 850807 h 6858000"/>
              <a:gd name="connsiteX481" fmla="*/ 3883389 w 5842566"/>
              <a:gd name="connsiteY481" fmla="*/ 858926 h 6858000"/>
              <a:gd name="connsiteX482" fmla="*/ 3883022 w 5842566"/>
              <a:gd name="connsiteY482" fmla="*/ 859048 h 6858000"/>
              <a:gd name="connsiteX483" fmla="*/ 3882818 w 5842566"/>
              <a:gd name="connsiteY483" fmla="*/ 858640 h 6858000"/>
              <a:gd name="connsiteX484" fmla="*/ 3882818 w 5842566"/>
              <a:gd name="connsiteY484" fmla="*/ 853337 h 6858000"/>
              <a:gd name="connsiteX485" fmla="*/ 3881349 w 5842566"/>
              <a:gd name="connsiteY485" fmla="*/ 851868 h 6858000"/>
              <a:gd name="connsiteX486" fmla="*/ 3870127 w 5842566"/>
              <a:gd name="connsiteY486" fmla="*/ 851868 h 6858000"/>
              <a:gd name="connsiteX487" fmla="*/ 3868658 w 5842566"/>
              <a:gd name="connsiteY487" fmla="*/ 853337 h 6858000"/>
              <a:gd name="connsiteX488" fmla="*/ 3868658 w 5842566"/>
              <a:gd name="connsiteY488" fmla="*/ 925342 h 6858000"/>
              <a:gd name="connsiteX489" fmla="*/ 3870127 w 5842566"/>
              <a:gd name="connsiteY489" fmla="*/ 926810 h 6858000"/>
              <a:gd name="connsiteX490" fmla="*/ 3881349 w 5842566"/>
              <a:gd name="connsiteY490" fmla="*/ 926810 h 6858000"/>
              <a:gd name="connsiteX491" fmla="*/ 3882818 w 5842566"/>
              <a:gd name="connsiteY491" fmla="*/ 925342 h 6858000"/>
              <a:gd name="connsiteX492" fmla="*/ 3882818 w 5842566"/>
              <a:gd name="connsiteY492" fmla="*/ 879405 h 6858000"/>
              <a:gd name="connsiteX493" fmla="*/ 3887225 w 5842566"/>
              <a:gd name="connsiteY493" fmla="*/ 867615 h 6858000"/>
              <a:gd name="connsiteX494" fmla="*/ 3898569 w 5842566"/>
              <a:gd name="connsiteY494" fmla="*/ 863046 h 6858000"/>
              <a:gd name="connsiteX495" fmla="*/ 3909913 w 5842566"/>
              <a:gd name="connsiteY495" fmla="*/ 867615 h 6858000"/>
              <a:gd name="connsiteX496" fmla="*/ 3914198 w 5842566"/>
              <a:gd name="connsiteY496" fmla="*/ 879528 h 6858000"/>
              <a:gd name="connsiteX497" fmla="*/ 3914198 w 5842566"/>
              <a:gd name="connsiteY497" fmla="*/ 925342 h 6858000"/>
              <a:gd name="connsiteX498" fmla="*/ 3915667 w 5842566"/>
              <a:gd name="connsiteY498" fmla="*/ 926810 h 6858000"/>
              <a:gd name="connsiteX499" fmla="*/ 3926848 w 5842566"/>
              <a:gd name="connsiteY499" fmla="*/ 926810 h 6858000"/>
              <a:gd name="connsiteX500" fmla="*/ 3928317 w 5842566"/>
              <a:gd name="connsiteY500" fmla="*/ 925342 h 6858000"/>
              <a:gd name="connsiteX501" fmla="*/ 3928317 w 5842566"/>
              <a:gd name="connsiteY501" fmla="*/ 876754 h 6858000"/>
              <a:gd name="connsiteX502" fmla="*/ 3921257 w 5842566"/>
              <a:gd name="connsiteY502" fmla="*/ 857824 h 6858000"/>
              <a:gd name="connsiteX503" fmla="*/ 3902119 w 5842566"/>
              <a:gd name="connsiteY503" fmla="*/ 850807 h 6858000"/>
              <a:gd name="connsiteX504" fmla="*/ 3956148 w 5842566"/>
              <a:gd name="connsiteY504" fmla="*/ 832283 h 6858000"/>
              <a:gd name="connsiteX505" fmla="*/ 3954674 w 5842566"/>
              <a:gd name="connsiteY505" fmla="*/ 833754 h 6858000"/>
              <a:gd name="connsiteX506" fmla="*/ 3954674 w 5842566"/>
              <a:gd name="connsiteY506" fmla="*/ 851153 h 6858000"/>
              <a:gd name="connsiteX507" fmla="*/ 3954100 w 5842566"/>
              <a:gd name="connsiteY507" fmla="*/ 851725 h 6858000"/>
              <a:gd name="connsiteX508" fmla="*/ 3945088 w 5842566"/>
              <a:gd name="connsiteY508" fmla="*/ 851725 h 6858000"/>
              <a:gd name="connsiteX509" fmla="*/ 3943572 w 5842566"/>
              <a:gd name="connsiteY509" fmla="*/ 853236 h 6858000"/>
              <a:gd name="connsiteX510" fmla="*/ 3943572 w 5842566"/>
              <a:gd name="connsiteY510" fmla="*/ 861936 h 6858000"/>
              <a:gd name="connsiteX511" fmla="*/ 3945088 w 5842566"/>
              <a:gd name="connsiteY511" fmla="*/ 863406 h 6858000"/>
              <a:gd name="connsiteX512" fmla="*/ 3954100 w 5842566"/>
              <a:gd name="connsiteY512" fmla="*/ 863406 h 6858000"/>
              <a:gd name="connsiteX513" fmla="*/ 3954674 w 5842566"/>
              <a:gd name="connsiteY513" fmla="*/ 863978 h 6858000"/>
              <a:gd name="connsiteX514" fmla="*/ 3954674 w 5842566"/>
              <a:gd name="connsiteY514" fmla="*/ 908050 h 6858000"/>
              <a:gd name="connsiteX515" fmla="*/ 3960368 w 5842566"/>
              <a:gd name="connsiteY515" fmla="*/ 923039 h 6858000"/>
              <a:gd name="connsiteX516" fmla="*/ 3977328 w 5842566"/>
              <a:gd name="connsiteY516" fmla="*/ 927083 h 6858000"/>
              <a:gd name="connsiteX517" fmla="*/ 3984129 w 5842566"/>
              <a:gd name="connsiteY517" fmla="*/ 926797 h 6858000"/>
              <a:gd name="connsiteX518" fmla="*/ 3985603 w 5842566"/>
              <a:gd name="connsiteY518" fmla="*/ 925327 h 6858000"/>
              <a:gd name="connsiteX519" fmla="*/ 3985603 w 5842566"/>
              <a:gd name="connsiteY519" fmla="*/ 916177 h 6858000"/>
              <a:gd name="connsiteX520" fmla="*/ 3984129 w 5842566"/>
              <a:gd name="connsiteY520" fmla="*/ 914707 h 6858000"/>
              <a:gd name="connsiteX521" fmla="*/ 3979827 w 5842566"/>
              <a:gd name="connsiteY521" fmla="*/ 914707 h 6858000"/>
              <a:gd name="connsiteX522" fmla="*/ 3971101 w 5842566"/>
              <a:gd name="connsiteY522" fmla="*/ 911971 h 6858000"/>
              <a:gd name="connsiteX523" fmla="*/ 3968274 w 5842566"/>
              <a:gd name="connsiteY523" fmla="*/ 903066 h 6858000"/>
              <a:gd name="connsiteX524" fmla="*/ 3968274 w 5842566"/>
              <a:gd name="connsiteY524" fmla="*/ 863978 h 6858000"/>
              <a:gd name="connsiteX525" fmla="*/ 3968889 w 5842566"/>
              <a:gd name="connsiteY525" fmla="*/ 863406 h 6858000"/>
              <a:gd name="connsiteX526" fmla="*/ 3984866 w 5842566"/>
              <a:gd name="connsiteY526" fmla="*/ 863406 h 6858000"/>
              <a:gd name="connsiteX527" fmla="*/ 3986341 w 5842566"/>
              <a:gd name="connsiteY527" fmla="*/ 861936 h 6858000"/>
              <a:gd name="connsiteX528" fmla="*/ 3986341 w 5842566"/>
              <a:gd name="connsiteY528" fmla="*/ 853236 h 6858000"/>
              <a:gd name="connsiteX529" fmla="*/ 3984866 w 5842566"/>
              <a:gd name="connsiteY529" fmla="*/ 851725 h 6858000"/>
              <a:gd name="connsiteX530" fmla="*/ 3968889 w 5842566"/>
              <a:gd name="connsiteY530" fmla="*/ 851725 h 6858000"/>
              <a:gd name="connsiteX531" fmla="*/ 3968274 w 5842566"/>
              <a:gd name="connsiteY531" fmla="*/ 851153 h 6858000"/>
              <a:gd name="connsiteX532" fmla="*/ 3968274 w 5842566"/>
              <a:gd name="connsiteY532" fmla="*/ 833754 h 6858000"/>
              <a:gd name="connsiteX533" fmla="*/ 3966800 w 5842566"/>
              <a:gd name="connsiteY533" fmla="*/ 832283 h 6858000"/>
              <a:gd name="connsiteX534" fmla="*/ 3956148 w 5842566"/>
              <a:gd name="connsiteY534" fmla="*/ 832283 h 6858000"/>
              <a:gd name="connsiteX535" fmla="*/ 4298905 w 5842566"/>
              <a:gd name="connsiteY535" fmla="*/ 823838 h 6858000"/>
              <a:gd name="connsiteX536" fmla="*/ 4297436 w 5842566"/>
              <a:gd name="connsiteY536" fmla="*/ 825305 h 6858000"/>
              <a:gd name="connsiteX537" fmla="*/ 4297436 w 5842566"/>
              <a:gd name="connsiteY537" fmla="*/ 925343 h 6858000"/>
              <a:gd name="connsiteX538" fmla="*/ 4298905 w 5842566"/>
              <a:gd name="connsiteY538" fmla="*/ 926810 h 6858000"/>
              <a:gd name="connsiteX539" fmla="*/ 4310086 w 5842566"/>
              <a:gd name="connsiteY539" fmla="*/ 926810 h 6858000"/>
              <a:gd name="connsiteX540" fmla="*/ 4311555 w 5842566"/>
              <a:gd name="connsiteY540" fmla="*/ 925343 h 6858000"/>
              <a:gd name="connsiteX541" fmla="*/ 4311555 w 5842566"/>
              <a:gd name="connsiteY541" fmla="*/ 879460 h 6858000"/>
              <a:gd name="connsiteX542" fmla="*/ 4316002 w 5842566"/>
              <a:gd name="connsiteY542" fmla="*/ 867684 h 6858000"/>
              <a:gd name="connsiteX543" fmla="*/ 4327347 w 5842566"/>
              <a:gd name="connsiteY543" fmla="*/ 863120 h 6858000"/>
              <a:gd name="connsiteX544" fmla="*/ 4338691 w 5842566"/>
              <a:gd name="connsiteY544" fmla="*/ 867684 h 6858000"/>
              <a:gd name="connsiteX545" fmla="*/ 4342935 w 5842566"/>
              <a:gd name="connsiteY545" fmla="*/ 879583 h 6858000"/>
              <a:gd name="connsiteX546" fmla="*/ 4342935 w 5842566"/>
              <a:gd name="connsiteY546" fmla="*/ 925343 h 6858000"/>
              <a:gd name="connsiteX547" fmla="*/ 4344404 w 5842566"/>
              <a:gd name="connsiteY547" fmla="*/ 926810 h 6858000"/>
              <a:gd name="connsiteX548" fmla="*/ 4355625 w 5842566"/>
              <a:gd name="connsiteY548" fmla="*/ 926810 h 6858000"/>
              <a:gd name="connsiteX549" fmla="*/ 4357094 w 5842566"/>
              <a:gd name="connsiteY549" fmla="*/ 925343 h 6858000"/>
              <a:gd name="connsiteX550" fmla="*/ 4357094 w 5842566"/>
              <a:gd name="connsiteY550" fmla="*/ 876812 h 6858000"/>
              <a:gd name="connsiteX551" fmla="*/ 4350035 w 5842566"/>
              <a:gd name="connsiteY551" fmla="*/ 857904 h 6858000"/>
              <a:gd name="connsiteX552" fmla="*/ 4330856 w 5842566"/>
              <a:gd name="connsiteY552" fmla="*/ 850895 h 6858000"/>
              <a:gd name="connsiteX553" fmla="*/ 4312167 w 5842566"/>
              <a:gd name="connsiteY553" fmla="*/ 859005 h 6858000"/>
              <a:gd name="connsiteX554" fmla="*/ 4311799 w 5842566"/>
              <a:gd name="connsiteY554" fmla="*/ 859127 h 6858000"/>
              <a:gd name="connsiteX555" fmla="*/ 4311555 w 5842566"/>
              <a:gd name="connsiteY555" fmla="*/ 858719 h 6858000"/>
              <a:gd name="connsiteX556" fmla="*/ 4311555 w 5842566"/>
              <a:gd name="connsiteY556" fmla="*/ 825305 h 6858000"/>
              <a:gd name="connsiteX557" fmla="*/ 4310086 w 5842566"/>
              <a:gd name="connsiteY557" fmla="*/ 823838 h 6858000"/>
              <a:gd name="connsiteX558" fmla="*/ 4298905 w 5842566"/>
              <a:gd name="connsiteY558" fmla="*/ 823838 h 6858000"/>
              <a:gd name="connsiteX559" fmla="*/ 5130473 w 5842566"/>
              <a:gd name="connsiteY559" fmla="*/ 821114 h 6858000"/>
              <a:gd name="connsiteX560" fmla="*/ 5123621 w 5842566"/>
              <a:gd name="connsiteY560" fmla="*/ 823797 h 6858000"/>
              <a:gd name="connsiteX561" fmla="*/ 5120938 w 5842566"/>
              <a:gd name="connsiteY561" fmla="*/ 830648 h 6858000"/>
              <a:gd name="connsiteX562" fmla="*/ 5123621 w 5842566"/>
              <a:gd name="connsiteY562" fmla="*/ 837500 h 6858000"/>
              <a:gd name="connsiteX563" fmla="*/ 5130473 w 5842566"/>
              <a:gd name="connsiteY563" fmla="*/ 840183 h 6858000"/>
              <a:gd name="connsiteX564" fmla="*/ 5137366 w 5842566"/>
              <a:gd name="connsiteY564" fmla="*/ 837500 h 6858000"/>
              <a:gd name="connsiteX565" fmla="*/ 5140007 w 5842566"/>
              <a:gd name="connsiteY565" fmla="*/ 830648 h 6858000"/>
              <a:gd name="connsiteX566" fmla="*/ 5137366 w 5842566"/>
              <a:gd name="connsiteY566" fmla="*/ 823797 h 6858000"/>
              <a:gd name="connsiteX567" fmla="*/ 5130473 w 5842566"/>
              <a:gd name="connsiteY567" fmla="*/ 821114 h 6858000"/>
              <a:gd name="connsiteX568" fmla="*/ 3282317 w 5842566"/>
              <a:gd name="connsiteY568" fmla="*/ 615715 h 6858000"/>
              <a:gd name="connsiteX569" fmla="*/ 3320081 w 5842566"/>
              <a:gd name="connsiteY569" fmla="*/ 615715 h 6858000"/>
              <a:gd name="connsiteX570" fmla="*/ 3324923 w 5842566"/>
              <a:gd name="connsiteY570" fmla="*/ 620167 h 6858000"/>
              <a:gd name="connsiteX571" fmla="*/ 3324923 w 5842566"/>
              <a:gd name="connsiteY571" fmla="*/ 716580 h 6858000"/>
              <a:gd name="connsiteX572" fmla="*/ 3318128 w 5842566"/>
              <a:gd name="connsiteY572" fmla="*/ 723237 h 6858000"/>
              <a:gd name="connsiteX573" fmla="*/ 3297170 w 5842566"/>
              <a:gd name="connsiteY573" fmla="*/ 722992 h 6858000"/>
              <a:gd name="connsiteX574" fmla="*/ 3282317 w 5842566"/>
              <a:gd name="connsiteY574" fmla="*/ 722992 h 6858000"/>
              <a:gd name="connsiteX575" fmla="*/ 3264249 w 5842566"/>
              <a:gd name="connsiteY575" fmla="*/ 717724 h 6858000"/>
              <a:gd name="connsiteX576" fmla="*/ 3259000 w 5842566"/>
              <a:gd name="connsiteY576" fmla="*/ 699593 h 6858000"/>
              <a:gd name="connsiteX577" fmla="*/ 3259000 w 5842566"/>
              <a:gd name="connsiteY577" fmla="*/ 639523 h 6858000"/>
              <a:gd name="connsiteX578" fmla="*/ 3264249 w 5842566"/>
              <a:gd name="connsiteY578" fmla="*/ 621147 h 6858000"/>
              <a:gd name="connsiteX579" fmla="*/ 3282317 w 5842566"/>
              <a:gd name="connsiteY579" fmla="*/ 615715 h 6858000"/>
              <a:gd name="connsiteX580" fmla="*/ 4217847 w 5842566"/>
              <a:gd name="connsiteY580" fmla="*/ 598281 h 6858000"/>
              <a:gd name="connsiteX581" fmla="*/ 4245994 w 5842566"/>
              <a:gd name="connsiteY581" fmla="*/ 598281 h 6858000"/>
              <a:gd name="connsiteX582" fmla="*/ 4279729 w 5842566"/>
              <a:gd name="connsiteY582" fmla="*/ 632832 h 6858000"/>
              <a:gd name="connsiteX583" fmla="*/ 4279729 w 5842566"/>
              <a:gd name="connsiteY583" fmla="*/ 717330 h 6858000"/>
              <a:gd name="connsiteX584" fmla="*/ 4245994 w 5842566"/>
              <a:gd name="connsiteY584" fmla="*/ 751921 h 6858000"/>
              <a:gd name="connsiteX585" fmla="*/ 4217847 w 5842566"/>
              <a:gd name="connsiteY585" fmla="*/ 751921 h 6858000"/>
              <a:gd name="connsiteX586" fmla="*/ 4184112 w 5842566"/>
              <a:gd name="connsiteY586" fmla="*/ 717330 h 6858000"/>
              <a:gd name="connsiteX587" fmla="*/ 4184112 w 5842566"/>
              <a:gd name="connsiteY587" fmla="*/ 632832 h 6858000"/>
              <a:gd name="connsiteX588" fmla="*/ 4217847 w 5842566"/>
              <a:gd name="connsiteY588" fmla="*/ 598281 h 6858000"/>
              <a:gd name="connsiteX589" fmla="*/ 4816003 w 5842566"/>
              <a:gd name="connsiteY589" fmla="*/ 598009 h 6858000"/>
              <a:gd name="connsiteX590" fmla="*/ 4872311 w 5842566"/>
              <a:gd name="connsiteY590" fmla="*/ 598009 h 6858000"/>
              <a:gd name="connsiteX591" fmla="*/ 4876312 w 5842566"/>
              <a:gd name="connsiteY591" fmla="*/ 601649 h 6858000"/>
              <a:gd name="connsiteX592" fmla="*/ 4876312 w 5842566"/>
              <a:gd name="connsiteY592" fmla="*/ 714865 h 6858000"/>
              <a:gd name="connsiteX593" fmla="*/ 4866676 w 5842566"/>
              <a:gd name="connsiteY593" fmla="*/ 742269 h 6858000"/>
              <a:gd name="connsiteX594" fmla="*/ 4838910 w 5842566"/>
              <a:gd name="connsiteY594" fmla="*/ 751921 h 6858000"/>
              <a:gd name="connsiteX595" fmla="*/ 4816003 w 5842566"/>
              <a:gd name="connsiteY595" fmla="*/ 751921 h 6858000"/>
              <a:gd name="connsiteX596" fmla="*/ 4782602 w 5842566"/>
              <a:gd name="connsiteY596" fmla="*/ 716869 h 6858000"/>
              <a:gd name="connsiteX597" fmla="*/ 4782602 w 5842566"/>
              <a:gd name="connsiteY597" fmla="*/ 633061 h 6858000"/>
              <a:gd name="connsiteX598" fmla="*/ 4816003 w 5842566"/>
              <a:gd name="connsiteY598" fmla="*/ 598009 h 6858000"/>
              <a:gd name="connsiteX599" fmla="*/ 5269374 w 5842566"/>
              <a:gd name="connsiteY599" fmla="*/ 572402 h 6858000"/>
              <a:gd name="connsiteX600" fmla="*/ 5259739 w 5842566"/>
              <a:gd name="connsiteY600" fmla="*/ 577629 h 6858000"/>
              <a:gd name="connsiteX601" fmla="*/ 5202620 w 5842566"/>
              <a:gd name="connsiteY601" fmla="*/ 667716 h 6858000"/>
              <a:gd name="connsiteX602" fmla="*/ 5202620 w 5842566"/>
              <a:gd name="connsiteY602" fmla="*/ 676170 h 6858000"/>
              <a:gd name="connsiteX603" fmla="*/ 5264557 w 5842566"/>
              <a:gd name="connsiteY603" fmla="*/ 771893 h 6858000"/>
              <a:gd name="connsiteX604" fmla="*/ 5275825 w 5842566"/>
              <a:gd name="connsiteY604" fmla="*/ 777528 h 6858000"/>
              <a:gd name="connsiteX605" fmla="*/ 5294688 w 5842566"/>
              <a:gd name="connsiteY605" fmla="*/ 777528 h 6858000"/>
              <a:gd name="connsiteX606" fmla="*/ 5299138 w 5842566"/>
              <a:gd name="connsiteY606" fmla="*/ 775731 h 6858000"/>
              <a:gd name="connsiteX607" fmla="*/ 5298730 w 5842566"/>
              <a:gd name="connsiteY607" fmla="*/ 771117 h 6858000"/>
              <a:gd name="connsiteX608" fmla="*/ 5233568 w 5842566"/>
              <a:gd name="connsiteY608" fmla="*/ 672168 h 6858000"/>
              <a:gd name="connsiteX609" fmla="*/ 5233568 w 5842566"/>
              <a:gd name="connsiteY609" fmla="*/ 670534 h 6858000"/>
              <a:gd name="connsiteX610" fmla="*/ 5292687 w 5842566"/>
              <a:gd name="connsiteY610" fmla="*/ 578854 h 6858000"/>
              <a:gd name="connsiteX611" fmla="*/ 5293708 w 5842566"/>
              <a:gd name="connsiteY611" fmla="*/ 574199 h 6858000"/>
              <a:gd name="connsiteX612" fmla="*/ 5289462 w 5842566"/>
              <a:gd name="connsiteY612" fmla="*/ 572402 h 6858000"/>
              <a:gd name="connsiteX613" fmla="*/ 5269374 w 5842566"/>
              <a:gd name="connsiteY613" fmla="*/ 572402 h 6858000"/>
              <a:gd name="connsiteX614" fmla="*/ 5091035 w 5842566"/>
              <a:gd name="connsiteY614" fmla="*/ 572402 h 6858000"/>
              <a:gd name="connsiteX615" fmla="*/ 5085797 w 5842566"/>
              <a:gd name="connsiteY615" fmla="*/ 578037 h 6858000"/>
              <a:gd name="connsiteX616" fmla="*/ 5085797 w 5842566"/>
              <a:gd name="connsiteY616" fmla="*/ 771934 h 6858000"/>
              <a:gd name="connsiteX617" fmla="*/ 5091444 w 5842566"/>
              <a:gd name="connsiteY617" fmla="*/ 777528 h 6858000"/>
              <a:gd name="connsiteX618" fmla="*/ 5109612 w 5842566"/>
              <a:gd name="connsiteY618" fmla="*/ 777528 h 6858000"/>
              <a:gd name="connsiteX619" fmla="*/ 5115218 w 5842566"/>
              <a:gd name="connsiteY619" fmla="*/ 771934 h 6858000"/>
              <a:gd name="connsiteX620" fmla="*/ 5115218 w 5842566"/>
              <a:gd name="connsiteY620" fmla="*/ 578037 h 6858000"/>
              <a:gd name="connsiteX621" fmla="*/ 5109612 w 5842566"/>
              <a:gd name="connsiteY621" fmla="*/ 572402 h 6858000"/>
              <a:gd name="connsiteX622" fmla="*/ 5091035 w 5842566"/>
              <a:gd name="connsiteY622" fmla="*/ 572402 h 6858000"/>
              <a:gd name="connsiteX623" fmla="*/ 4812764 w 5842566"/>
              <a:gd name="connsiteY623" fmla="*/ 572402 h 6858000"/>
              <a:gd name="connsiteX624" fmla="*/ 4769119 w 5842566"/>
              <a:gd name="connsiteY624" fmla="*/ 588084 h 6858000"/>
              <a:gd name="connsiteX625" fmla="*/ 4753182 w 5842566"/>
              <a:gd name="connsiteY625" fmla="*/ 631943 h 6858000"/>
              <a:gd name="connsiteX626" fmla="*/ 4753182 w 5842566"/>
              <a:gd name="connsiteY626" fmla="*/ 718028 h 6858000"/>
              <a:gd name="connsiteX627" fmla="*/ 4769119 w 5842566"/>
              <a:gd name="connsiteY627" fmla="*/ 761847 h 6858000"/>
              <a:gd name="connsiteX628" fmla="*/ 4812764 w 5842566"/>
              <a:gd name="connsiteY628" fmla="*/ 777528 h 6858000"/>
              <a:gd name="connsiteX629" fmla="*/ 4833687 w 5842566"/>
              <a:gd name="connsiteY629" fmla="*/ 777528 h 6858000"/>
              <a:gd name="connsiteX630" fmla="*/ 4874757 w 5842566"/>
              <a:gd name="connsiteY630" fmla="*/ 756211 h 6858000"/>
              <a:gd name="connsiteX631" fmla="*/ 4876350 w 5842566"/>
              <a:gd name="connsiteY631" fmla="*/ 756211 h 6858000"/>
              <a:gd name="connsiteX632" fmla="*/ 4876350 w 5842566"/>
              <a:gd name="connsiteY632" fmla="*/ 771934 h 6858000"/>
              <a:gd name="connsiteX633" fmla="*/ 4881990 w 5842566"/>
              <a:gd name="connsiteY633" fmla="*/ 777528 h 6858000"/>
              <a:gd name="connsiteX634" fmla="*/ 4900134 w 5842566"/>
              <a:gd name="connsiteY634" fmla="*/ 777528 h 6858000"/>
              <a:gd name="connsiteX635" fmla="*/ 4905733 w 5842566"/>
              <a:gd name="connsiteY635" fmla="*/ 771934 h 6858000"/>
              <a:gd name="connsiteX636" fmla="*/ 4905733 w 5842566"/>
              <a:gd name="connsiteY636" fmla="*/ 578037 h 6858000"/>
              <a:gd name="connsiteX637" fmla="*/ 4900134 w 5842566"/>
              <a:gd name="connsiteY637" fmla="*/ 572402 h 6858000"/>
              <a:gd name="connsiteX638" fmla="*/ 4812764 w 5842566"/>
              <a:gd name="connsiteY638" fmla="*/ 572402 h 6858000"/>
              <a:gd name="connsiteX639" fmla="*/ 4467331 w 5842566"/>
              <a:gd name="connsiteY639" fmla="*/ 572402 h 6858000"/>
              <a:gd name="connsiteX640" fmla="*/ 4461700 w 5842566"/>
              <a:gd name="connsiteY640" fmla="*/ 578037 h 6858000"/>
              <a:gd name="connsiteX641" fmla="*/ 4461700 w 5842566"/>
              <a:gd name="connsiteY641" fmla="*/ 771893 h 6858000"/>
              <a:gd name="connsiteX642" fmla="*/ 4467331 w 5842566"/>
              <a:gd name="connsiteY642" fmla="*/ 777528 h 6858000"/>
              <a:gd name="connsiteX643" fmla="*/ 4485405 w 5842566"/>
              <a:gd name="connsiteY643" fmla="*/ 777528 h 6858000"/>
              <a:gd name="connsiteX644" fmla="*/ 4491035 w 5842566"/>
              <a:gd name="connsiteY644" fmla="*/ 771893 h 6858000"/>
              <a:gd name="connsiteX645" fmla="*/ 4491035 w 5842566"/>
              <a:gd name="connsiteY645" fmla="*/ 635169 h 6858000"/>
              <a:gd name="connsiteX646" fmla="*/ 4500664 w 5842566"/>
              <a:gd name="connsiteY646" fmla="*/ 607808 h 6858000"/>
              <a:gd name="connsiteX647" fmla="*/ 4528408 w 5842566"/>
              <a:gd name="connsiteY647" fmla="*/ 598170 h 6858000"/>
              <a:gd name="connsiteX648" fmla="*/ 4543259 w 5842566"/>
              <a:gd name="connsiteY648" fmla="*/ 598170 h 6858000"/>
              <a:gd name="connsiteX649" fmla="*/ 4577041 w 5842566"/>
              <a:gd name="connsiteY649" fmla="*/ 633127 h 6858000"/>
              <a:gd name="connsiteX650" fmla="*/ 4577041 w 5842566"/>
              <a:gd name="connsiteY650" fmla="*/ 771893 h 6858000"/>
              <a:gd name="connsiteX651" fmla="*/ 4582671 w 5842566"/>
              <a:gd name="connsiteY651" fmla="*/ 777528 h 6858000"/>
              <a:gd name="connsiteX652" fmla="*/ 4600745 w 5842566"/>
              <a:gd name="connsiteY652" fmla="*/ 777528 h 6858000"/>
              <a:gd name="connsiteX653" fmla="*/ 4606376 w 5842566"/>
              <a:gd name="connsiteY653" fmla="*/ 771893 h 6858000"/>
              <a:gd name="connsiteX654" fmla="*/ 4606376 w 5842566"/>
              <a:gd name="connsiteY654" fmla="*/ 636353 h 6858000"/>
              <a:gd name="connsiteX655" fmla="*/ 4616208 w 5842566"/>
              <a:gd name="connsiteY655" fmla="*/ 608420 h 6858000"/>
              <a:gd name="connsiteX656" fmla="*/ 4644156 w 5842566"/>
              <a:gd name="connsiteY656" fmla="*/ 598170 h 6858000"/>
              <a:gd name="connsiteX657" fmla="*/ 4657416 w 5842566"/>
              <a:gd name="connsiteY657" fmla="*/ 598170 h 6858000"/>
              <a:gd name="connsiteX658" fmla="*/ 4691157 w 5842566"/>
              <a:gd name="connsiteY658" fmla="*/ 633127 h 6858000"/>
              <a:gd name="connsiteX659" fmla="*/ 4691157 w 5842566"/>
              <a:gd name="connsiteY659" fmla="*/ 771893 h 6858000"/>
              <a:gd name="connsiteX660" fmla="*/ 4696788 w 5842566"/>
              <a:gd name="connsiteY660" fmla="*/ 777528 h 6858000"/>
              <a:gd name="connsiteX661" fmla="*/ 4714862 w 5842566"/>
              <a:gd name="connsiteY661" fmla="*/ 777528 h 6858000"/>
              <a:gd name="connsiteX662" fmla="*/ 4720492 w 5842566"/>
              <a:gd name="connsiteY662" fmla="*/ 771893 h 6858000"/>
              <a:gd name="connsiteX663" fmla="*/ 4720492 w 5842566"/>
              <a:gd name="connsiteY663" fmla="*/ 631943 h 6858000"/>
              <a:gd name="connsiteX664" fmla="*/ 4705233 w 5842566"/>
              <a:gd name="connsiteY664" fmla="*/ 588084 h 6858000"/>
              <a:gd name="connsiteX665" fmla="*/ 4662638 w 5842566"/>
              <a:gd name="connsiteY665" fmla="*/ 572402 h 6858000"/>
              <a:gd name="connsiteX666" fmla="*/ 4648562 w 5842566"/>
              <a:gd name="connsiteY666" fmla="*/ 572402 h 6858000"/>
              <a:gd name="connsiteX667" fmla="*/ 4619431 w 5842566"/>
              <a:gd name="connsiteY667" fmla="*/ 579426 h 6858000"/>
              <a:gd name="connsiteX668" fmla="*/ 4599154 w 5842566"/>
              <a:gd name="connsiteY668" fmla="*/ 599763 h 6858000"/>
              <a:gd name="connsiteX669" fmla="*/ 4550113 w 5842566"/>
              <a:gd name="connsiteY669" fmla="*/ 572402 h 6858000"/>
              <a:gd name="connsiteX670" fmla="*/ 4535221 w 5842566"/>
              <a:gd name="connsiteY670" fmla="*/ 572402 h 6858000"/>
              <a:gd name="connsiteX671" fmla="*/ 4492627 w 5842566"/>
              <a:gd name="connsiteY671" fmla="*/ 593719 h 6858000"/>
              <a:gd name="connsiteX672" fmla="*/ 4491035 w 5842566"/>
              <a:gd name="connsiteY672" fmla="*/ 593719 h 6858000"/>
              <a:gd name="connsiteX673" fmla="*/ 4491035 w 5842566"/>
              <a:gd name="connsiteY673" fmla="*/ 578037 h 6858000"/>
              <a:gd name="connsiteX674" fmla="*/ 4485405 w 5842566"/>
              <a:gd name="connsiteY674" fmla="*/ 572402 h 6858000"/>
              <a:gd name="connsiteX675" fmla="*/ 4467331 w 5842566"/>
              <a:gd name="connsiteY675" fmla="*/ 572402 h 6858000"/>
              <a:gd name="connsiteX676" fmla="*/ 4346327 w 5842566"/>
              <a:gd name="connsiteY676" fmla="*/ 572402 h 6858000"/>
              <a:gd name="connsiteX677" fmla="*/ 4340749 w 5842566"/>
              <a:gd name="connsiteY677" fmla="*/ 578037 h 6858000"/>
              <a:gd name="connsiteX678" fmla="*/ 4340749 w 5842566"/>
              <a:gd name="connsiteY678" fmla="*/ 771893 h 6858000"/>
              <a:gd name="connsiteX679" fmla="*/ 4346327 w 5842566"/>
              <a:gd name="connsiteY679" fmla="*/ 777528 h 6858000"/>
              <a:gd name="connsiteX680" fmla="*/ 4364404 w 5842566"/>
              <a:gd name="connsiteY680" fmla="*/ 777528 h 6858000"/>
              <a:gd name="connsiteX681" fmla="*/ 4369982 w 5842566"/>
              <a:gd name="connsiteY681" fmla="*/ 771893 h 6858000"/>
              <a:gd name="connsiteX682" fmla="*/ 4369982 w 5842566"/>
              <a:gd name="connsiteY682" fmla="*/ 638763 h 6858000"/>
              <a:gd name="connsiteX683" fmla="*/ 4379631 w 5842566"/>
              <a:gd name="connsiteY683" fmla="*/ 609033 h 6858000"/>
              <a:gd name="connsiteX684" fmla="*/ 4407316 w 5842566"/>
              <a:gd name="connsiteY684" fmla="*/ 598170 h 6858000"/>
              <a:gd name="connsiteX685" fmla="*/ 4428975 w 5842566"/>
              <a:gd name="connsiteY685" fmla="*/ 598170 h 6858000"/>
              <a:gd name="connsiteX686" fmla="*/ 4432965 w 5842566"/>
              <a:gd name="connsiteY686" fmla="*/ 597149 h 6858000"/>
              <a:gd name="connsiteX687" fmla="*/ 4434187 w 5842566"/>
              <a:gd name="connsiteY687" fmla="*/ 592902 h 6858000"/>
              <a:gd name="connsiteX688" fmla="*/ 4434187 w 5842566"/>
              <a:gd name="connsiteY688" fmla="*/ 578037 h 6858000"/>
              <a:gd name="connsiteX689" fmla="*/ 4428975 w 5842566"/>
              <a:gd name="connsiteY689" fmla="*/ 572402 h 6858000"/>
              <a:gd name="connsiteX690" fmla="*/ 4413301 w 5842566"/>
              <a:gd name="connsiteY690" fmla="*/ 572402 h 6858000"/>
              <a:gd name="connsiteX691" fmla="*/ 4386837 w 5842566"/>
              <a:gd name="connsiteY691" fmla="*/ 578854 h 6858000"/>
              <a:gd name="connsiteX692" fmla="*/ 4371610 w 5842566"/>
              <a:gd name="connsiteY692" fmla="*/ 594127 h 6858000"/>
              <a:gd name="connsiteX693" fmla="*/ 4369982 w 5842566"/>
              <a:gd name="connsiteY693" fmla="*/ 594127 h 6858000"/>
              <a:gd name="connsiteX694" fmla="*/ 4369982 w 5842566"/>
              <a:gd name="connsiteY694" fmla="*/ 578037 h 6858000"/>
              <a:gd name="connsiteX695" fmla="*/ 4364404 w 5842566"/>
              <a:gd name="connsiteY695" fmla="*/ 572402 h 6858000"/>
              <a:gd name="connsiteX696" fmla="*/ 4346327 w 5842566"/>
              <a:gd name="connsiteY696" fmla="*/ 572402 h 6858000"/>
              <a:gd name="connsiteX697" fmla="*/ 4214635 w 5842566"/>
              <a:gd name="connsiteY697" fmla="*/ 572402 h 6858000"/>
              <a:gd name="connsiteX698" fmla="*/ 4171095 w 5842566"/>
              <a:gd name="connsiteY698" fmla="*/ 588084 h 6858000"/>
              <a:gd name="connsiteX699" fmla="*/ 4155236 w 5842566"/>
              <a:gd name="connsiteY699" fmla="*/ 631943 h 6858000"/>
              <a:gd name="connsiteX700" fmla="*/ 4155236 w 5842566"/>
              <a:gd name="connsiteY700" fmla="*/ 718028 h 6858000"/>
              <a:gd name="connsiteX701" fmla="*/ 4171095 w 5842566"/>
              <a:gd name="connsiteY701" fmla="*/ 761847 h 6858000"/>
              <a:gd name="connsiteX702" fmla="*/ 4214635 w 5842566"/>
              <a:gd name="connsiteY702" fmla="*/ 777528 h 6858000"/>
              <a:gd name="connsiteX703" fmla="*/ 4249165 w 5842566"/>
              <a:gd name="connsiteY703" fmla="*/ 777528 h 6858000"/>
              <a:gd name="connsiteX704" fmla="*/ 4292746 w 5842566"/>
              <a:gd name="connsiteY704" fmla="*/ 761847 h 6858000"/>
              <a:gd name="connsiteX705" fmla="*/ 4308605 w 5842566"/>
              <a:gd name="connsiteY705" fmla="*/ 718028 h 6858000"/>
              <a:gd name="connsiteX706" fmla="*/ 4308605 w 5842566"/>
              <a:gd name="connsiteY706" fmla="*/ 631943 h 6858000"/>
              <a:gd name="connsiteX707" fmla="*/ 4292746 w 5842566"/>
              <a:gd name="connsiteY707" fmla="*/ 588084 h 6858000"/>
              <a:gd name="connsiteX708" fmla="*/ 4249165 w 5842566"/>
              <a:gd name="connsiteY708" fmla="*/ 572402 h 6858000"/>
              <a:gd name="connsiteX709" fmla="*/ 4214635 w 5842566"/>
              <a:gd name="connsiteY709" fmla="*/ 572402 h 6858000"/>
              <a:gd name="connsiteX710" fmla="*/ 3862029 w 5842566"/>
              <a:gd name="connsiteY710" fmla="*/ 572402 h 6858000"/>
              <a:gd name="connsiteX711" fmla="*/ 3856400 w 5842566"/>
              <a:gd name="connsiteY711" fmla="*/ 578037 h 6858000"/>
              <a:gd name="connsiteX712" fmla="*/ 3856400 w 5842566"/>
              <a:gd name="connsiteY712" fmla="*/ 771893 h 6858000"/>
              <a:gd name="connsiteX713" fmla="*/ 3862029 w 5842566"/>
              <a:gd name="connsiteY713" fmla="*/ 777528 h 6858000"/>
              <a:gd name="connsiteX714" fmla="*/ 3880100 w 5842566"/>
              <a:gd name="connsiteY714" fmla="*/ 777528 h 6858000"/>
              <a:gd name="connsiteX715" fmla="*/ 3885730 w 5842566"/>
              <a:gd name="connsiteY715" fmla="*/ 771893 h 6858000"/>
              <a:gd name="connsiteX716" fmla="*/ 3885730 w 5842566"/>
              <a:gd name="connsiteY716" fmla="*/ 635169 h 6858000"/>
              <a:gd name="connsiteX717" fmla="*/ 3895357 w 5842566"/>
              <a:gd name="connsiteY717" fmla="*/ 607808 h 6858000"/>
              <a:gd name="connsiteX718" fmla="*/ 3923096 w 5842566"/>
              <a:gd name="connsiteY718" fmla="*/ 598170 h 6858000"/>
              <a:gd name="connsiteX719" fmla="*/ 3945613 w 5842566"/>
              <a:gd name="connsiteY719" fmla="*/ 598170 h 6858000"/>
              <a:gd name="connsiteX720" fmla="*/ 3979349 w 5842566"/>
              <a:gd name="connsiteY720" fmla="*/ 633127 h 6858000"/>
              <a:gd name="connsiteX721" fmla="*/ 3979349 w 5842566"/>
              <a:gd name="connsiteY721" fmla="*/ 771893 h 6858000"/>
              <a:gd name="connsiteX722" fmla="*/ 3984978 w 5842566"/>
              <a:gd name="connsiteY722" fmla="*/ 777528 h 6858000"/>
              <a:gd name="connsiteX723" fmla="*/ 4003049 w 5842566"/>
              <a:gd name="connsiteY723" fmla="*/ 777528 h 6858000"/>
              <a:gd name="connsiteX724" fmla="*/ 4008678 w 5842566"/>
              <a:gd name="connsiteY724" fmla="*/ 771893 h 6858000"/>
              <a:gd name="connsiteX725" fmla="*/ 4008678 w 5842566"/>
              <a:gd name="connsiteY725" fmla="*/ 631943 h 6858000"/>
              <a:gd name="connsiteX726" fmla="*/ 3993422 w 5842566"/>
              <a:gd name="connsiteY726" fmla="*/ 588084 h 6858000"/>
              <a:gd name="connsiteX727" fmla="*/ 3950835 w 5842566"/>
              <a:gd name="connsiteY727" fmla="*/ 572402 h 6858000"/>
              <a:gd name="connsiteX728" fmla="*/ 3928317 w 5842566"/>
              <a:gd name="connsiteY728" fmla="*/ 572402 h 6858000"/>
              <a:gd name="connsiteX729" fmla="*/ 3887321 w 5842566"/>
              <a:gd name="connsiteY729" fmla="*/ 593719 h 6858000"/>
              <a:gd name="connsiteX730" fmla="*/ 3885730 w 5842566"/>
              <a:gd name="connsiteY730" fmla="*/ 593719 h 6858000"/>
              <a:gd name="connsiteX731" fmla="*/ 3885730 w 5842566"/>
              <a:gd name="connsiteY731" fmla="*/ 578037 h 6858000"/>
              <a:gd name="connsiteX732" fmla="*/ 3880100 w 5842566"/>
              <a:gd name="connsiteY732" fmla="*/ 572402 h 6858000"/>
              <a:gd name="connsiteX733" fmla="*/ 3862029 w 5842566"/>
              <a:gd name="connsiteY733" fmla="*/ 572402 h 6858000"/>
              <a:gd name="connsiteX734" fmla="*/ 3794352 w 5842566"/>
              <a:gd name="connsiteY734" fmla="*/ 572402 h 6858000"/>
              <a:gd name="connsiteX735" fmla="*/ 3789114 w 5842566"/>
              <a:gd name="connsiteY735" fmla="*/ 578037 h 6858000"/>
              <a:gd name="connsiteX736" fmla="*/ 3789114 w 5842566"/>
              <a:gd name="connsiteY736" fmla="*/ 771934 h 6858000"/>
              <a:gd name="connsiteX737" fmla="*/ 3794761 w 5842566"/>
              <a:gd name="connsiteY737" fmla="*/ 777528 h 6858000"/>
              <a:gd name="connsiteX738" fmla="*/ 3812888 w 5842566"/>
              <a:gd name="connsiteY738" fmla="*/ 777528 h 6858000"/>
              <a:gd name="connsiteX739" fmla="*/ 3818535 w 5842566"/>
              <a:gd name="connsiteY739" fmla="*/ 771934 h 6858000"/>
              <a:gd name="connsiteX740" fmla="*/ 3818535 w 5842566"/>
              <a:gd name="connsiteY740" fmla="*/ 578037 h 6858000"/>
              <a:gd name="connsiteX741" fmla="*/ 3812888 w 5842566"/>
              <a:gd name="connsiteY741" fmla="*/ 572402 h 6858000"/>
              <a:gd name="connsiteX742" fmla="*/ 3794352 w 5842566"/>
              <a:gd name="connsiteY742" fmla="*/ 572402 h 6858000"/>
              <a:gd name="connsiteX743" fmla="*/ 3517798 w 5842566"/>
              <a:gd name="connsiteY743" fmla="*/ 571312 h 6858000"/>
              <a:gd name="connsiteX744" fmla="*/ 3511756 w 5842566"/>
              <a:gd name="connsiteY744" fmla="*/ 579766 h 6858000"/>
              <a:gd name="connsiteX745" fmla="*/ 3562174 w 5842566"/>
              <a:gd name="connsiteY745" fmla="*/ 768121 h 6858000"/>
              <a:gd name="connsiteX746" fmla="*/ 3573033 w 5842566"/>
              <a:gd name="connsiteY746" fmla="*/ 776984 h 6858000"/>
              <a:gd name="connsiteX747" fmla="*/ 3624227 w 5842566"/>
              <a:gd name="connsiteY747" fmla="*/ 776984 h 6858000"/>
              <a:gd name="connsiteX748" fmla="*/ 3635127 w 5842566"/>
              <a:gd name="connsiteY748" fmla="*/ 768121 h 6858000"/>
              <a:gd name="connsiteX749" fmla="*/ 3685912 w 5842566"/>
              <a:gd name="connsiteY749" fmla="*/ 579766 h 6858000"/>
              <a:gd name="connsiteX750" fmla="*/ 3679870 w 5842566"/>
              <a:gd name="connsiteY750" fmla="*/ 571312 h 6858000"/>
              <a:gd name="connsiteX751" fmla="*/ 3644394 w 5842566"/>
              <a:gd name="connsiteY751" fmla="*/ 571312 h 6858000"/>
              <a:gd name="connsiteX752" fmla="*/ 3634310 w 5842566"/>
              <a:gd name="connsiteY752" fmla="*/ 579766 h 6858000"/>
              <a:gd name="connsiteX753" fmla="*/ 3600467 w 5842566"/>
              <a:gd name="connsiteY753" fmla="*/ 731406 h 6858000"/>
              <a:gd name="connsiteX754" fmla="*/ 3597609 w 5842566"/>
              <a:gd name="connsiteY754" fmla="*/ 731406 h 6858000"/>
              <a:gd name="connsiteX755" fmla="*/ 3562950 w 5842566"/>
              <a:gd name="connsiteY755" fmla="*/ 579766 h 6858000"/>
              <a:gd name="connsiteX756" fmla="*/ 3553274 w 5842566"/>
              <a:gd name="connsiteY756" fmla="*/ 571312 h 6858000"/>
              <a:gd name="connsiteX757" fmla="*/ 3517798 w 5842566"/>
              <a:gd name="connsiteY757" fmla="*/ 571312 h 6858000"/>
              <a:gd name="connsiteX758" fmla="*/ 3453993 w 5842566"/>
              <a:gd name="connsiteY758" fmla="*/ 571312 h 6858000"/>
              <a:gd name="connsiteX759" fmla="*/ 3440315 w 5842566"/>
              <a:gd name="connsiteY759" fmla="*/ 579358 h 6858000"/>
              <a:gd name="connsiteX760" fmla="*/ 3391935 w 5842566"/>
              <a:gd name="connsiteY760" fmla="*/ 665286 h 6858000"/>
              <a:gd name="connsiteX761" fmla="*/ 3391935 w 5842566"/>
              <a:gd name="connsiteY761" fmla="*/ 678600 h 6858000"/>
              <a:gd name="connsiteX762" fmla="*/ 3443133 w 5842566"/>
              <a:gd name="connsiteY762" fmla="*/ 768489 h 6858000"/>
              <a:gd name="connsiteX763" fmla="*/ 3449379 w 5842566"/>
              <a:gd name="connsiteY763" fmla="*/ 775350 h 6858000"/>
              <a:gd name="connsiteX764" fmla="*/ 3459259 w 5842566"/>
              <a:gd name="connsiteY764" fmla="*/ 776984 h 6858000"/>
              <a:gd name="connsiteX765" fmla="*/ 3493922 w 5842566"/>
              <a:gd name="connsiteY765" fmla="*/ 776984 h 6858000"/>
              <a:gd name="connsiteX766" fmla="*/ 3501189 w 5842566"/>
              <a:gd name="connsiteY766" fmla="*/ 773962 h 6858000"/>
              <a:gd name="connsiteX767" fmla="*/ 3500781 w 5842566"/>
              <a:gd name="connsiteY767" fmla="*/ 766896 h 6858000"/>
              <a:gd name="connsiteX768" fmla="*/ 3444725 w 5842566"/>
              <a:gd name="connsiteY768" fmla="*/ 671330 h 6858000"/>
              <a:gd name="connsiteX769" fmla="*/ 3444725 w 5842566"/>
              <a:gd name="connsiteY769" fmla="*/ 669697 h 6858000"/>
              <a:gd name="connsiteX770" fmla="*/ 3498372 w 5842566"/>
              <a:gd name="connsiteY770" fmla="*/ 581400 h 6858000"/>
              <a:gd name="connsiteX771" fmla="*/ 3499556 w 5842566"/>
              <a:gd name="connsiteY771" fmla="*/ 574130 h 6858000"/>
              <a:gd name="connsiteX772" fmla="*/ 3493105 w 5842566"/>
              <a:gd name="connsiteY772" fmla="*/ 571312 h 6858000"/>
              <a:gd name="connsiteX773" fmla="*/ 3453993 w 5842566"/>
              <a:gd name="connsiteY773" fmla="*/ 571312 h 6858000"/>
              <a:gd name="connsiteX774" fmla="*/ 3274237 w 5842566"/>
              <a:gd name="connsiteY774" fmla="*/ 571312 h 6858000"/>
              <a:gd name="connsiteX775" fmla="*/ 3225082 w 5842566"/>
              <a:gd name="connsiteY775" fmla="*/ 588266 h 6858000"/>
              <a:gd name="connsiteX776" fmla="*/ 3207786 w 5842566"/>
              <a:gd name="connsiteY776" fmla="*/ 637043 h 6858000"/>
              <a:gd name="connsiteX777" fmla="*/ 3207786 w 5842566"/>
              <a:gd name="connsiteY777" fmla="*/ 701997 h 6858000"/>
              <a:gd name="connsiteX778" fmla="*/ 3223654 w 5842566"/>
              <a:gd name="connsiteY778" fmla="*/ 750815 h 6858000"/>
              <a:gd name="connsiteX779" fmla="*/ 3270606 w 5842566"/>
              <a:gd name="connsiteY779" fmla="*/ 767768 h 6858000"/>
              <a:gd name="connsiteX780" fmla="*/ 3283905 w 5842566"/>
              <a:gd name="connsiteY780" fmla="*/ 767932 h 6858000"/>
              <a:gd name="connsiteX781" fmla="*/ 3307646 w 5842566"/>
              <a:gd name="connsiteY781" fmla="*/ 767932 h 6858000"/>
              <a:gd name="connsiteX782" fmla="*/ 3323351 w 5842566"/>
              <a:gd name="connsiteY782" fmla="*/ 767891 h 6858000"/>
              <a:gd name="connsiteX783" fmla="*/ 3324983 w 5842566"/>
              <a:gd name="connsiteY783" fmla="*/ 767891 h 6858000"/>
              <a:gd name="connsiteX784" fmla="*/ 3324983 w 5842566"/>
              <a:gd name="connsiteY784" fmla="*/ 776224 h 6858000"/>
              <a:gd name="connsiteX785" fmla="*/ 3319558 w 5842566"/>
              <a:gd name="connsiteY785" fmla="*/ 794199 h 6858000"/>
              <a:gd name="connsiteX786" fmla="*/ 3301201 w 5842566"/>
              <a:gd name="connsiteY786" fmla="*/ 799632 h 6858000"/>
              <a:gd name="connsiteX787" fmla="*/ 3232343 w 5842566"/>
              <a:gd name="connsiteY787" fmla="*/ 799632 h 6858000"/>
              <a:gd name="connsiteX788" fmla="*/ 3223858 w 5842566"/>
              <a:gd name="connsiteY788" fmla="*/ 808089 h 6858000"/>
              <a:gd name="connsiteX789" fmla="*/ 3223858 w 5842566"/>
              <a:gd name="connsiteY789" fmla="*/ 835909 h 6858000"/>
              <a:gd name="connsiteX790" fmla="*/ 3225694 w 5842566"/>
              <a:gd name="connsiteY790" fmla="*/ 842159 h 6858000"/>
              <a:gd name="connsiteX791" fmla="*/ 3232343 w 5842566"/>
              <a:gd name="connsiteY791" fmla="*/ 843997 h 6858000"/>
              <a:gd name="connsiteX792" fmla="*/ 3309686 w 5842566"/>
              <a:gd name="connsiteY792" fmla="*/ 843997 h 6858000"/>
              <a:gd name="connsiteX793" fmla="*/ 3358596 w 5842566"/>
              <a:gd name="connsiteY793" fmla="*/ 827044 h 6858000"/>
              <a:gd name="connsiteX794" fmla="*/ 3376137 w 5842566"/>
              <a:gd name="connsiteY794" fmla="*/ 778635 h 6858000"/>
              <a:gd name="connsiteX795" fmla="*/ 3376137 w 5842566"/>
              <a:gd name="connsiteY795" fmla="*/ 579769 h 6858000"/>
              <a:gd name="connsiteX796" fmla="*/ 3367244 w 5842566"/>
              <a:gd name="connsiteY796" fmla="*/ 571312 h 6858000"/>
              <a:gd name="connsiteX797" fmla="*/ 3274237 w 5842566"/>
              <a:gd name="connsiteY797" fmla="*/ 571312 h 6858000"/>
              <a:gd name="connsiteX798" fmla="*/ 4972306 w 5842566"/>
              <a:gd name="connsiteY798" fmla="*/ 528543 h 6858000"/>
              <a:gd name="connsiteX799" fmla="*/ 4966709 w 5842566"/>
              <a:gd name="connsiteY799" fmla="*/ 534179 h 6858000"/>
              <a:gd name="connsiteX800" fmla="*/ 4966709 w 5842566"/>
              <a:gd name="connsiteY800" fmla="*/ 568768 h 6858000"/>
              <a:gd name="connsiteX801" fmla="*/ 4962664 w 5842566"/>
              <a:gd name="connsiteY801" fmla="*/ 572403 h 6858000"/>
              <a:gd name="connsiteX802" fmla="*/ 4940519 w 5842566"/>
              <a:gd name="connsiteY802" fmla="*/ 572403 h 6858000"/>
              <a:gd name="connsiteX803" fmla="*/ 4934881 w 5842566"/>
              <a:gd name="connsiteY803" fmla="*/ 578038 h 6858000"/>
              <a:gd name="connsiteX804" fmla="*/ 4934881 w 5842566"/>
              <a:gd name="connsiteY804" fmla="*/ 592903 h 6858000"/>
              <a:gd name="connsiteX805" fmla="*/ 4940519 w 5842566"/>
              <a:gd name="connsiteY805" fmla="*/ 598130 h 6858000"/>
              <a:gd name="connsiteX806" fmla="*/ 4962664 w 5842566"/>
              <a:gd name="connsiteY806" fmla="*/ 598130 h 6858000"/>
              <a:gd name="connsiteX807" fmla="*/ 4966709 w 5842566"/>
              <a:gd name="connsiteY807" fmla="*/ 601764 h 6858000"/>
              <a:gd name="connsiteX808" fmla="*/ 4966709 w 5842566"/>
              <a:gd name="connsiteY808" fmla="*/ 718804 h 6858000"/>
              <a:gd name="connsiteX809" fmla="*/ 4983215 w 5842566"/>
              <a:gd name="connsiteY809" fmla="*/ 762051 h 6858000"/>
              <a:gd name="connsiteX810" fmla="*/ 5027463 w 5842566"/>
              <a:gd name="connsiteY810" fmla="*/ 777528 h 6858000"/>
              <a:gd name="connsiteX811" fmla="*/ 5046789 w 5842566"/>
              <a:gd name="connsiteY811" fmla="*/ 777528 h 6858000"/>
              <a:gd name="connsiteX812" fmla="*/ 5052835 w 5842566"/>
              <a:gd name="connsiteY812" fmla="*/ 772301 h 6858000"/>
              <a:gd name="connsiteX813" fmla="*/ 5052835 w 5842566"/>
              <a:gd name="connsiteY813" fmla="*/ 757436 h 6858000"/>
              <a:gd name="connsiteX814" fmla="*/ 5046789 w 5842566"/>
              <a:gd name="connsiteY814" fmla="*/ 751801 h 6858000"/>
              <a:gd name="connsiteX815" fmla="*/ 5031099 w 5842566"/>
              <a:gd name="connsiteY815" fmla="*/ 751801 h 6858000"/>
              <a:gd name="connsiteX816" fmla="*/ 4995676 w 5842566"/>
              <a:gd name="connsiteY816" fmla="*/ 717620 h 6858000"/>
              <a:gd name="connsiteX817" fmla="*/ 4995676 w 5842566"/>
              <a:gd name="connsiteY817" fmla="*/ 601764 h 6858000"/>
              <a:gd name="connsiteX818" fmla="*/ 5000089 w 5842566"/>
              <a:gd name="connsiteY818" fmla="*/ 598130 h 6858000"/>
              <a:gd name="connsiteX819" fmla="*/ 5042744 w 5842566"/>
              <a:gd name="connsiteY819" fmla="*/ 598130 h 6858000"/>
              <a:gd name="connsiteX820" fmla="*/ 5048791 w 5842566"/>
              <a:gd name="connsiteY820" fmla="*/ 592903 h 6858000"/>
              <a:gd name="connsiteX821" fmla="*/ 5048791 w 5842566"/>
              <a:gd name="connsiteY821" fmla="*/ 578038 h 6858000"/>
              <a:gd name="connsiteX822" fmla="*/ 5042744 w 5842566"/>
              <a:gd name="connsiteY822" fmla="*/ 572403 h 6858000"/>
              <a:gd name="connsiteX823" fmla="*/ 5000089 w 5842566"/>
              <a:gd name="connsiteY823" fmla="*/ 572403 h 6858000"/>
              <a:gd name="connsiteX824" fmla="*/ 4995676 w 5842566"/>
              <a:gd name="connsiteY824" fmla="*/ 568768 h 6858000"/>
              <a:gd name="connsiteX825" fmla="*/ 4995676 w 5842566"/>
              <a:gd name="connsiteY825" fmla="*/ 534179 h 6858000"/>
              <a:gd name="connsiteX826" fmla="*/ 4990447 w 5842566"/>
              <a:gd name="connsiteY826" fmla="*/ 528543 h 6858000"/>
              <a:gd name="connsiteX827" fmla="*/ 4972306 w 5842566"/>
              <a:gd name="connsiteY827" fmla="*/ 528543 h 6858000"/>
              <a:gd name="connsiteX828" fmla="*/ 5091035 w 5842566"/>
              <a:gd name="connsiteY828" fmla="*/ 495037 h 6858000"/>
              <a:gd name="connsiteX829" fmla="*/ 5085797 w 5842566"/>
              <a:gd name="connsiteY829" fmla="*/ 500698 h 6858000"/>
              <a:gd name="connsiteX830" fmla="*/ 5085797 w 5842566"/>
              <a:gd name="connsiteY830" fmla="*/ 538683 h 6858000"/>
              <a:gd name="connsiteX831" fmla="*/ 5091035 w 5842566"/>
              <a:gd name="connsiteY831" fmla="*/ 544343 h 6858000"/>
              <a:gd name="connsiteX832" fmla="*/ 5109612 w 5842566"/>
              <a:gd name="connsiteY832" fmla="*/ 544343 h 6858000"/>
              <a:gd name="connsiteX833" fmla="*/ 5115218 w 5842566"/>
              <a:gd name="connsiteY833" fmla="*/ 538683 h 6858000"/>
              <a:gd name="connsiteX834" fmla="*/ 5115218 w 5842566"/>
              <a:gd name="connsiteY834" fmla="*/ 500698 h 6858000"/>
              <a:gd name="connsiteX835" fmla="*/ 5109612 w 5842566"/>
              <a:gd name="connsiteY835" fmla="*/ 495037 h 6858000"/>
              <a:gd name="connsiteX836" fmla="*/ 5091035 w 5842566"/>
              <a:gd name="connsiteY836" fmla="*/ 495037 h 6858000"/>
              <a:gd name="connsiteX837" fmla="*/ 3794352 w 5842566"/>
              <a:gd name="connsiteY837" fmla="*/ 495037 h 6858000"/>
              <a:gd name="connsiteX838" fmla="*/ 3789114 w 5842566"/>
              <a:gd name="connsiteY838" fmla="*/ 500698 h 6858000"/>
              <a:gd name="connsiteX839" fmla="*/ 3789114 w 5842566"/>
              <a:gd name="connsiteY839" fmla="*/ 538683 h 6858000"/>
              <a:gd name="connsiteX840" fmla="*/ 3794352 w 5842566"/>
              <a:gd name="connsiteY840" fmla="*/ 544343 h 6858000"/>
              <a:gd name="connsiteX841" fmla="*/ 3812888 w 5842566"/>
              <a:gd name="connsiteY841" fmla="*/ 544343 h 6858000"/>
              <a:gd name="connsiteX842" fmla="*/ 3818535 w 5842566"/>
              <a:gd name="connsiteY842" fmla="*/ 538683 h 6858000"/>
              <a:gd name="connsiteX843" fmla="*/ 3818535 w 5842566"/>
              <a:gd name="connsiteY843" fmla="*/ 500698 h 6858000"/>
              <a:gd name="connsiteX844" fmla="*/ 3812888 w 5842566"/>
              <a:gd name="connsiteY844" fmla="*/ 495037 h 6858000"/>
              <a:gd name="connsiteX845" fmla="*/ 3794352 w 5842566"/>
              <a:gd name="connsiteY845" fmla="*/ 495037 h 6858000"/>
              <a:gd name="connsiteX846" fmla="*/ 5158730 w 5842566"/>
              <a:gd name="connsiteY846" fmla="*/ 494764 h 6858000"/>
              <a:gd name="connsiteX847" fmla="*/ 5153083 w 5842566"/>
              <a:gd name="connsiteY847" fmla="*/ 500400 h 6858000"/>
              <a:gd name="connsiteX848" fmla="*/ 5153083 w 5842566"/>
              <a:gd name="connsiteY848" fmla="*/ 771892 h 6858000"/>
              <a:gd name="connsiteX849" fmla="*/ 5158730 w 5842566"/>
              <a:gd name="connsiteY849" fmla="*/ 777528 h 6858000"/>
              <a:gd name="connsiteX850" fmla="*/ 5176898 w 5842566"/>
              <a:gd name="connsiteY850" fmla="*/ 777528 h 6858000"/>
              <a:gd name="connsiteX851" fmla="*/ 5182504 w 5842566"/>
              <a:gd name="connsiteY851" fmla="*/ 771892 h 6858000"/>
              <a:gd name="connsiteX852" fmla="*/ 5182504 w 5842566"/>
              <a:gd name="connsiteY852" fmla="*/ 500400 h 6858000"/>
              <a:gd name="connsiteX853" fmla="*/ 5176898 w 5842566"/>
              <a:gd name="connsiteY853" fmla="*/ 494764 h 6858000"/>
              <a:gd name="connsiteX854" fmla="*/ 5158730 w 5842566"/>
              <a:gd name="connsiteY854" fmla="*/ 494764 h 6858000"/>
              <a:gd name="connsiteX855" fmla="*/ 4119019 w 5842566"/>
              <a:gd name="connsiteY855" fmla="*/ 494764 h 6858000"/>
              <a:gd name="connsiteX856" fmla="*/ 4077953 w 5842566"/>
              <a:gd name="connsiteY856" fmla="*/ 510038 h 6858000"/>
              <a:gd name="connsiteX857" fmla="*/ 4063896 w 5842566"/>
              <a:gd name="connsiteY857" fmla="*/ 553898 h 6858000"/>
              <a:gd name="connsiteX858" fmla="*/ 4063896 w 5842566"/>
              <a:gd name="connsiteY858" fmla="*/ 568763 h 6858000"/>
              <a:gd name="connsiteX859" fmla="*/ 4059851 w 5842566"/>
              <a:gd name="connsiteY859" fmla="*/ 572398 h 6858000"/>
              <a:gd name="connsiteX860" fmla="*/ 4036110 w 5842566"/>
              <a:gd name="connsiteY860" fmla="*/ 572398 h 6858000"/>
              <a:gd name="connsiteX861" fmla="*/ 4030471 w 5842566"/>
              <a:gd name="connsiteY861" fmla="*/ 577625 h 6858000"/>
              <a:gd name="connsiteX862" fmla="*/ 4030471 w 5842566"/>
              <a:gd name="connsiteY862" fmla="*/ 592531 h 6858000"/>
              <a:gd name="connsiteX863" fmla="*/ 4036110 w 5842566"/>
              <a:gd name="connsiteY863" fmla="*/ 598126 h 6858000"/>
              <a:gd name="connsiteX864" fmla="*/ 4059851 w 5842566"/>
              <a:gd name="connsiteY864" fmla="*/ 598126 h 6858000"/>
              <a:gd name="connsiteX865" fmla="*/ 4063896 w 5842566"/>
              <a:gd name="connsiteY865" fmla="*/ 601760 h 6858000"/>
              <a:gd name="connsiteX866" fmla="*/ 4063896 w 5842566"/>
              <a:gd name="connsiteY866" fmla="*/ 771892 h 6858000"/>
              <a:gd name="connsiteX867" fmla="*/ 4069535 w 5842566"/>
              <a:gd name="connsiteY867" fmla="*/ 777528 h 6858000"/>
              <a:gd name="connsiteX868" fmla="*/ 4087229 w 5842566"/>
              <a:gd name="connsiteY868" fmla="*/ 777528 h 6858000"/>
              <a:gd name="connsiteX869" fmla="*/ 4093276 w 5842566"/>
              <a:gd name="connsiteY869" fmla="*/ 771892 h 6858000"/>
              <a:gd name="connsiteX870" fmla="*/ 4093276 w 5842566"/>
              <a:gd name="connsiteY870" fmla="*/ 601760 h 6858000"/>
              <a:gd name="connsiteX871" fmla="*/ 4096872 w 5842566"/>
              <a:gd name="connsiteY871" fmla="*/ 598126 h 6858000"/>
              <a:gd name="connsiteX872" fmla="*/ 4132299 w 5842566"/>
              <a:gd name="connsiteY872" fmla="*/ 598126 h 6858000"/>
              <a:gd name="connsiteX873" fmla="*/ 4138347 w 5842566"/>
              <a:gd name="connsiteY873" fmla="*/ 592531 h 6858000"/>
              <a:gd name="connsiteX874" fmla="*/ 4138347 w 5842566"/>
              <a:gd name="connsiteY874" fmla="*/ 577625 h 6858000"/>
              <a:gd name="connsiteX875" fmla="*/ 4132299 w 5842566"/>
              <a:gd name="connsiteY875" fmla="*/ 572398 h 6858000"/>
              <a:gd name="connsiteX876" fmla="*/ 4096872 w 5842566"/>
              <a:gd name="connsiteY876" fmla="*/ 572398 h 6858000"/>
              <a:gd name="connsiteX877" fmla="*/ 4093276 w 5842566"/>
              <a:gd name="connsiteY877" fmla="*/ 568763 h 6858000"/>
              <a:gd name="connsiteX878" fmla="*/ 4093276 w 5842566"/>
              <a:gd name="connsiteY878" fmla="*/ 555123 h 6858000"/>
              <a:gd name="connsiteX879" fmla="*/ 4099691 w 5842566"/>
              <a:gd name="connsiteY879" fmla="*/ 528742 h 6858000"/>
              <a:gd name="connsiteX880" fmla="*/ 4122656 w 5842566"/>
              <a:gd name="connsiteY880" fmla="*/ 520492 h 6858000"/>
              <a:gd name="connsiteX881" fmla="*/ 4132708 w 5842566"/>
              <a:gd name="connsiteY881" fmla="*/ 520492 h 6858000"/>
              <a:gd name="connsiteX882" fmla="*/ 4138347 w 5842566"/>
              <a:gd name="connsiteY882" fmla="*/ 514897 h 6858000"/>
              <a:gd name="connsiteX883" fmla="*/ 4138347 w 5842566"/>
              <a:gd name="connsiteY883" fmla="*/ 499992 h 6858000"/>
              <a:gd name="connsiteX884" fmla="*/ 4132708 w 5842566"/>
              <a:gd name="connsiteY884" fmla="*/ 494764 h 6858000"/>
              <a:gd name="connsiteX885" fmla="*/ 4119019 w 5842566"/>
              <a:gd name="connsiteY885" fmla="*/ 494764 h 6858000"/>
              <a:gd name="connsiteX886" fmla="*/ 2051714 w 5842566"/>
              <a:gd name="connsiteY886" fmla="*/ 0 h 6858000"/>
              <a:gd name="connsiteX887" fmla="*/ 5842566 w 5842566"/>
              <a:gd name="connsiteY887" fmla="*/ 0 h 6858000"/>
              <a:gd name="connsiteX888" fmla="*/ 5842566 w 5842566"/>
              <a:gd name="connsiteY888" fmla="*/ 6858000 h 6858000"/>
              <a:gd name="connsiteX889" fmla="*/ 5006271 w 5842566"/>
              <a:gd name="connsiteY889" fmla="*/ 6858000 h 6858000"/>
              <a:gd name="connsiteX890" fmla="*/ 5027080 w 5842566"/>
              <a:gd name="connsiteY890" fmla="*/ 6823698 h 6858000"/>
              <a:gd name="connsiteX891" fmla="*/ 5286791 w 5842566"/>
              <a:gd name="connsiteY891" fmla="*/ 6395583 h 6858000"/>
              <a:gd name="connsiteX892" fmla="*/ 5295477 w 5842566"/>
              <a:gd name="connsiteY892" fmla="*/ 6343543 h 6858000"/>
              <a:gd name="connsiteX893" fmla="*/ 5249238 w 5842566"/>
              <a:gd name="connsiteY893" fmla="*/ 6323213 h 6858000"/>
              <a:gd name="connsiteX894" fmla="*/ 4968611 w 5842566"/>
              <a:gd name="connsiteY894" fmla="*/ 6323213 h 6858000"/>
              <a:gd name="connsiteX895" fmla="*/ 4870257 w 5842566"/>
              <a:gd name="connsiteY895" fmla="*/ 6381135 h 6858000"/>
              <a:gd name="connsiteX896" fmla="*/ 4637677 w 5842566"/>
              <a:gd name="connsiteY896" fmla="*/ 6794349 h 6858000"/>
              <a:gd name="connsiteX897" fmla="*/ 4601850 w 5842566"/>
              <a:gd name="connsiteY897" fmla="*/ 6858000 h 6858000"/>
              <a:gd name="connsiteX898" fmla="*/ 1995706 w 5842566"/>
              <a:gd name="connsiteY898" fmla="*/ 6858000 h 6858000"/>
              <a:gd name="connsiteX899" fmla="*/ 1980234 w 5842566"/>
              <a:gd name="connsiteY899" fmla="*/ 6831589 h 6858000"/>
              <a:gd name="connsiteX900" fmla="*/ 226650 w 5842566"/>
              <a:gd name="connsiteY900" fmla="*/ 3838300 h 6858000"/>
              <a:gd name="connsiteX901" fmla="*/ 0 w 5842566"/>
              <a:gd name="connsiteY901" fmla="*/ 3451419 h 6858000"/>
              <a:gd name="connsiteX902" fmla="*/ 0 w 5842566"/>
              <a:gd name="connsiteY902" fmla="*/ 3386892 h 6858000"/>
              <a:gd name="connsiteX903" fmla="*/ 2852 w 5842566"/>
              <a:gd name="connsiteY903" fmla="*/ 3382191 h 6858000"/>
              <a:gd name="connsiteX904" fmla="*/ 2030876 w 5842566"/>
              <a:gd name="connsiteY904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</a:cxnLst>
            <a:rect l="l" t="t" r="r" b="b"/>
            <a:pathLst>
              <a:path w="5842566" h="6858000">
                <a:moveTo>
                  <a:pt x="5189797" y="862793"/>
                </a:moveTo>
                <a:cubicBezTo>
                  <a:pt x="5194080" y="862793"/>
                  <a:pt x="5197709" y="863989"/>
                  <a:pt x="5200605" y="866299"/>
                </a:cubicBezTo>
                <a:cubicBezTo>
                  <a:pt x="5203500" y="868650"/>
                  <a:pt x="5205417" y="871743"/>
                  <a:pt x="5206437" y="875620"/>
                </a:cubicBezTo>
                <a:cubicBezTo>
                  <a:pt x="5206804" y="877187"/>
                  <a:pt x="5207089" y="879620"/>
                  <a:pt x="5207293" y="882920"/>
                </a:cubicBezTo>
                <a:cubicBezTo>
                  <a:pt x="5207293" y="883291"/>
                  <a:pt x="5207089" y="883497"/>
                  <a:pt x="5206722" y="883497"/>
                </a:cubicBezTo>
                <a:cubicBezTo>
                  <a:pt x="5206722" y="883497"/>
                  <a:pt x="5206722" y="883497"/>
                  <a:pt x="5172995" y="883497"/>
                </a:cubicBezTo>
                <a:cubicBezTo>
                  <a:pt x="5172587" y="883497"/>
                  <a:pt x="5172424" y="883291"/>
                  <a:pt x="5172424" y="882920"/>
                </a:cubicBezTo>
                <a:cubicBezTo>
                  <a:pt x="5172587" y="879538"/>
                  <a:pt x="5173036" y="876733"/>
                  <a:pt x="5173729" y="874547"/>
                </a:cubicBezTo>
                <a:cubicBezTo>
                  <a:pt x="5174708" y="871001"/>
                  <a:pt x="5176584" y="868155"/>
                  <a:pt x="5179317" y="866010"/>
                </a:cubicBezTo>
                <a:cubicBezTo>
                  <a:pt x="5182089" y="863866"/>
                  <a:pt x="5185556" y="862793"/>
                  <a:pt x="5189797" y="862793"/>
                </a:cubicBezTo>
                <a:close/>
                <a:moveTo>
                  <a:pt x="5070727" y="862793"/>
                </a:moveTo>
                <a:cubicBezTo>
                  <a:pt x="5074862" y="862793"/>
                  <a:pt x="5078301" y="863983"/>
                  <a:pt x="5081045" y="866279"/>
                </a:cubicBezTo>
                <a:cubicBezTo>
                  <a:pt x="5083829" y="868617"/>
                  <a:pt x="5085589" y="871611"/>
                  <a:pt x="5086367" y="875261"/>
                </a:cubicBezTo>
                <a:cubicBezTo>
                  <a:pt x="5086777" y="876819"/>
                  <a:pt x="5087063" y="878459"/>
                  <a:pt x="5087186" y="880182"/>
                </a:cubicBezTo>
                <a:cubicBezTo>
                  <a:pt x="5087350" y="881946"/>
                  <a:pt x="5087432" y="884857"/>
                  <a:pt x="5087432" y="888999"/>
                </a:cubicBezTo>
                <a:cubicBezTo>
                  <a:pt x="5087432" y="893141"/>
                  <a:pt x="5087350" y="896094"/>
                  <a:pt x="5087186" y="897899"/>
                </a:cubicBezTo>
                <a:cubicBezTo>
                  <a:pt x="5087063" y="899662"/>
                  <a:pt x="5086818" y="901344"/>
                  <a:pt x="5086531" y="902943"/>
                </a:cubicBezTo>
                <a:cubicBezTo>
                  <a:pt x="5085753" y="906593"/>
                  <a:pt x="5083993" y="909546"/>
                  <a:pt x="5081290" y="911883"/>
                </a:cubicBezTo>
                <a:cubicBezTo>
                  <a:pt x="5078588" y="914221"/>
                  <a:pt x="5075067" y="915369"/>
                  <a:pt x="5070727" y="915369"/>
                </a:cubicBezTo>
                <a:cubicBezTo>
                  <a:pt x="5066592" y="915369"/>
                  <a:pt x="5063071" y="914221"/>
                  <a:pt x="5060164" y="911883"/>
                </a:cubicBezTo>
                <a:cubicBezTo>
                  <a:pt x="5057257" y="909546"/>
                  <a:pt x="5055292" y="906593"/>
                  <a:pt x="5054309" y="902943"/>
                </a:cubicBezTo>
                <a:cubicBezTo>
                  <a:pt x="5053327" y="900441"/>
                  <a:pt x="5052835" y="895807"/>
                  <a:pt x="5052835" y="888999"/>
                </a:cubicBezTo>
                <a:cubicBezTo>
                  <a:pt x="5052835" y="882807"/>
                  <a:pt x="5053368" y="878213"/>
                  <a:pt x="5054473" y="875261"/>
                </a:cubicBezTo>
                <a:cubicBezTo>
                  <a:pt x="5055660" y="871611"/>
                  <a:pt x="5057626" y="868617"/>
                  <a:pt x="5060369" y="866279"/>
                </a:cubicBezTo>
                <a:cubicBezTo>
                  <a:pt x="5063112" y="863983"/>
                  <a:pt x="5066592" y="862793"/>
                  <a:pt x="5070727" y="862793"/>
                </a:cubicBezTo>
                <a:close/>
                <a:moveTo>
                  <a:pt x="4937775" y="862793"/>
                </a:moveTo>
                <a:cubicBezTo>
                  <a:pt x="4942098" y="862793"/>
                  <a:pt x="4945728" y="863989"/>
                  <a:pt x="4948623" y="866299"/>
                </a:cubicBezTo>
                <a:cubicBezTo>
                  <a:pt x="4951519" y="868650"/>
                  <a:pt x="4953435" y="871743"/>
                  <a:pt x="4954414" y="875620"/>
                </a:cubicBezTo>
                <a:cubicBezTo>
                  <a:pt x="4954822" y="877187"/>
                  <a:pt x="4955108" y="879620"/>
                  <a:pt x="4955312" y="882920"/>
                </a:cubicBezTo>
                <a:cubicBezTo>
                  <a:pt x="4955312" y="883291"/>
                  <a:pt x="4955108" y="883497"/>
                  <a:pt x="4954741" y="883497"/>
                </a:cubicBezTo>
                <a:cubicBezTo>
                  <a:pt x="4954741" y="883497"/>
                  <a:pt x="4954741" y="883497"/>
                  <a:pt x="4921014" y="883497"/>
                </a:cubicBezTo>
                <a:cubicBezTo>
                  <a:pt x="4920606" y="883497"/>
                  <a:pt x="4920443" y="883291"/>
                  <a:pt x="4920443" y="882920"/>
                </a:cubicBezTo>
                <a:cubicBezTo>
                  <a:pt x="4920606" y="879538"/>
                  <a:pt x="4921055" y="876733"/>
                  <a:pt x="4921748" y="874547"/>
                </a:cubicBezTo>
                <a:cubicBezTo>
                  <a:pt x="4922727" y="871001"/>
                  <a:pt x="4924603" y="868155"/>
                  <a:pt x="4927335" y="866010"/>
                </a:cubicBezTo>
                <a:cubicBezTo>
                  <a:pt x="4930108" y="863866"/>
                  <a:pt x="4933575" y="862793"/>
                  <a:pt x="4937775" y="862793"/>
                </a:cubicBezTo>
                <a:close/>
                <a:moveTo>
                  <a:pt x="4529177" y="862793"/>
                </a:moveTo>
                <a:cubicBezTo>
                  <a:pt x="4533495" y="862793"/>
                  <a:pt x="4537080" y="863989"/>
                  <a:pt x="4539972" y="866299"/>
                </a:cubicBezTo>
                <a:cubicBezTo>
                  <a:pt x="4542864" y="868650"/>
                  <a:pt x="4544819" y="871743"/>
                  <a:pt x="4545797" y="875620"/>
                </a:cubicBezTo>
                <a:cubicBezTo>
                  <a:pt x="4546204" y="877187"/>
                  <a:pt x="4546489" y="879620"/>
                  <a:pt x="4546693" y="882920"/>
                </a:cubicBezTo>
                <a:cubicBezTo>
                  <a:pt x="4546693" y="883291"/>
                  <a:pt x="4546489" y="883497"/>
                  <a:pt x="4546082" y="883497"/>
                </a:cubicBezTo>
                <a:cubicBezTo>
                  <a:pt x="4546082" y="883497"/>
                  <a:pt x="4546082" y="883497"/>
                  <a:pt x="4512435" y="883497"/>
                </a:cubicBezTo>
                <a:cubicBezTo>
                  <a:pt x="4512028" y="883497"/>
                  <a:pt x="4511824" y="883291"/>
                  <a:pt x="4511824" y="882920"/>
                </a:cubicBezTo>
                <a:cubicBezTo>
                  <a:pt x="4512028" y="879538"/>
                  <a:pt x="4512476" y="876733"/>
                  <a:pt x="4513169" y="874547"/>
                </a:cubicBezTo>
                <a:cubicBezTo>
                  <a:pt x="4514146" y="871001"/>
                  <a:pt x="4515979" y="868155"/>
                  <a:pt x="4518749" y="866010"/>
                </a:cubicBezTo>
                <a:cubicBezTo>
                  <a:pt x="4521479" y="863866"/>
                  <a:pt x="4524982" y="862793"/>
                  <a:pt x="4529177" y="862793"/>
                </a:cubicBezTo>
                <a:close/>
                <a:moveTo>
                  <a:pt x="4247114" y="862793"/>
                </a:moveTo>
                <a:cubicBezTo>
                  <a:pt x="4251471" y="862793"/>
                  <a:pt x="4255088" y="863989"/>
                  <a:pt x="4258006" y="866299"/>
                </a:cubicBezTo>
                <a:cubicBezTo>
                  <a:pt x="4260924" y="868650"/>
                  <a:pt x="4262897" y="871743"/>
                  <a:pt x="4263883" y="875620"/>
                </a:cubicBezTo>
                <a:cubicBezTo>
                  <a:pt x="4264253" y="877187"/>
                  <a:pt x="4264582" y="879620"/>
                  <a:pt x="4264746" y="882920"/>
                </a:cubicBezTo>
                <a:cubicBezTo>
                  <a:pt x="4264746" y="883291"/>
                  <a:pt x="4264582" y="883497"/>
                  <a:pt x="4264171" y="883497"/>
                </a:cubicBezTo>
                <a:cubicBezTo>
                  <a:pt x="4264171" y="883497"/>
                  <a:pt x="4264171" y="883497"/>
                  <a:pt x="4230181" y="883497"/>
                </a:cubicBezTo>
                <a:cubicBezTo>
                  <a:pt x="4229811" y="883497"/>
                  <a:pt x="4229605" y="883291"/>
                  <a:pt x="4229605" y="882920"/>
                </a:cubicBezTo>
                <a:cubicBezTo>
                  <a:pt x="4229811" y="879538"/>
                  <a:pt x="4230263" y="876733"/>
                  <a:pt x="4230920" y="874547"/>
                </a:cubicBezTo>
                <a:cubicBezTo>
                  <a:pt x="4231948" y="871001"/>
                  <a:pt x="4233797" y="868155"/>
                  <a:pt x="4236592" y="866010"/>
                </a:cubicBezTo>
                <a:cubicBezTo>
                  <a:pt x="4239346" y="863866"/>
                  <a:pt x="4242840" y="862793"/>
                  <a:pt x="4247114" y="862793"/>
                </a:cubicBezTo>
                <a:close/>
                <a:moveTo>
                  <a:pt x="4032297" y="862793"/>
                </a:moveTo>
                <a:cubicBezTo>
                  <a:pt x="4036615" y="862793"/>
                  <a:pt x="4040199" y="863989"/>
                  <a:pt x="4043092" y="866299"/>
                </a:cubicBezTo>
                <a:cubicBezTo>
                  <a:pt x="4045984" y="868650"/>
                  <a:pt x="4047939" y="871743"/>
                  <a:pt x="4048916" y="875620"/>
                </a:cubicBezTo>
                <a:cubicBezTo>
                  <a:pt x="4049283" y="877187"/>
                  <a:pt x="4049609" y="879620"/>
                  <a:pt x="4049813" y="882920"/>
                </a:cubicBezTo>
                <a:cubicBezTo>
                  <a:pt x="4049813" y="883291"/>
                  <a:pt x="4049609" y="883497"/>
                  <a:pt x="4049202" y="883497"/>
                </a:cubicBezTo>
                <a:cubicBezTo>
                  <a:pt x="4049202" y="883497"/>
                  <a:pt x="4049202" y="883497"/>
                  <a:pt x="4015514" y="883497"/>
                </a:cubicBezTo>
                <a:cubicBezTo>
                  <a:pt x="4015148" y="883497"/>
                  <a:pt x="4014944" y="883291"/>
                  <a:pt x="4014944" y="882920"/>
                </a:cubicBezTo>
                <a:cubicBezTo>
                  <a:pt x="4015148" y="879538"/>
                  <a:pt x="4015596" y="876733"/>
                  <a:pt x="4016247" y="874547"/>
                </a:cubicBezTo>
                <a:cubicBezTo>
                  <a:pt x="4017266" y="871001"/>
                  <a:pt x="4019099" y="868155"/>
                  <a:pt x="4021869" y="866010"/>
                </a:cubicBezTo>
                <a:cubicBezTo>
                  <a:pt x="4024598" y="863866"/>
                  <a:pt x="4028101" y="862793"/>
                  <a:pt x="4032297" y="862793"/>
                </a:cubicBezTo>
                <a:close/>
                <a:moveTo>
                  <a:pt x="5124587" y="851897"/>
                </a:moveTo>
                <a:cubicBezTo>
                  <a:pt x="5123608" y="851897"/>
                  <a:pt x="5123118" y="852387"/>
                  <a:pt x="5123118" y="853368"/>
                </a:cubicBezTo>
                <a:cubicBezTo>
                  <a:pt x="5123118" y="853368"/>
                  <a:pt x="5123118" y="853368"/>
                  <a:pt x="5123118" y="925339"/>
                </a:cubicBezTo>
                <a:cubicBezTo>
                  <a:pt x="5123118" y="926320"/>
                  <a:pt x="5123608" y="926810"/>
                  <a:pt x="5124587" y="926810"/>
                </a:cubicBezTo>
                <a:cubicBezTo>
                  <a:pt x="5124587" y="926810"/>
                  <a:pt x="5124587" y="926810"/>
                  <a:pt x="5135773" y="926810"/>
                </a:cubicBezTo>
                <a:cubicBezTo>
                  <a:pt x="5136752" y="926810"/>
                  <a:pt x="5137283" y="926320"/>
                  <a:pt x="5137283" y="925339"/>
                </a:cubicBezTo>
                <a:cubicBezTo>
                  <a:pt x="5137283" y="925339"/>
                  <a:pt x="5137283" y="925339"/>
                  <a:pt x="5137283" y="853368"/>
                </a:cubicBezTo>
                <a:cubicBezTo>
                  <a:pt x="5137283" y="852387"/>
                  <a:pt x="5136752" y="851897"/>
                  <a:pt x="5135773" y="851897"/>
                </a:cubicBezTo>
                <a:cubicBezTo>
                  <a:pt x="5135773" y="851897"/>
                  <a:pt x="5135773" y="851897"/>
                  <a:pt x="5124587" y="851897"/>
                </a:cubicBezTo>
                <a:close/>
                <a:moveTo>
                  <a:pt x="4752078" y="851897"/>
                </a:moveTo>
                <a:cubicBezTo>
                  <a:pt x="4751179" y="851897"/>
                  <a:pt x="4750730" y="852224"/>
                  <a:pt x="4750730" y="852918"/>
                </a:cubicBezTo>
                <a:cubicBezTo>
                  <a:pt x="4750730" y="852918"/>
                  <a:pt x="4750730" y="852918"/>
                  <a:pt x="4750893" y="853490"/>
                </a:cubicBezTo>
                <a:cubicBezTo>
                  <a:pt x="4750893" y="853490"/>
                  <a:pt x="4750893" y="853490"/>
                  <a:pt x="4775487" y="926462"/>
                </a:cubicBezTo>
                <a:cubicBezTo>
                  <a:pt x="4775609" y="926952"/>
                  <a:pt x="4775609" y="927238"/>
                  <a:pt x="4775487" y="927361"/>
                </a:cubicBezTo>
                <a:cubicBezTo>
                  <a:pt x="4774139" y="932179"/>
                  <a:pt x="4772709" y="935773"/>
                  <a:pt x="4771238" y="938182"/>
                </a:cubicBezTo>
                <a:cubicBezTo>
                  <a:pt x="4769767" y="940591"/>
                  <a:pt x="4767888" y="942225"/>
                  <a:pt x="4765641" y="943123"/>
                </a:cubicBezTo>
                <a:cubicBezTo>
                  <a:pt x="4763353" y="944021"/>
                  <a:pt x="4760249" y="944511"/>
                  <a:pt x="4756327" y="944593"/>
                </a:cubicBezTo>
                <a:cubicBezTo>
                  <a:pt x="4756327" y="944593"/>
                  <a:pt x="4756327" y="944593"/>
                  <a:pt x="4756041" y="944593"/>
                </a:cubicBezTo>
                <a:cubicBezTo>
                  <a:pt x="4755060" y="944593"/>
                  <a:pt x="4754570" y="945083"/>
                  <a:pt x="4754570" y="946063"/>
                </a:cubicBezTo>
                <a:cubicBezTo>
                  <a:pt x="4754570" y="946063"/>
                  <a:pt x="4754570" y="946063"/>
                  <a:pt x="4754570" y="954761"/>
                </a:cubicBezTo>
                <a:cubicBezTo>
                  <a:pt x="4754570" y="954761"/>
                  <a:pt x="4754570" y="954761"/>
                  <a:pt x="4754570" y="956231"/>
                </a:cubicBezTo>
                <a:lnTo>
                  <a:pt x="4755591" y="956231"/>
                </a:lnTo>
                <a:cubicBezTo>
                  <a:pt x="4755591" y="956231"/>
                  <a:pt x="4755591" y="956231"/>
                  <a:pt x="4756613" y="956231"/>
                </a:cubicBezTo>
                <a:cubicBezTo>
                  <a:pt x="4763231" y="956231"/>
                  <a:pt x="4768337" y="955537"/>
                  <a:pt x="4771973" y="954189"/>
                </a:cubicBezTo>
                <a:cubicBezTo>
                  <a:pt x="4775609" y="952801"/>
                  <a:pt x="4778551" y="950473"/>
                  <a:pt x="4780798" y="947166"/>
                </a:cubicBezTo>
                <a:cubicBezTo>
                  <a:pt x="4783085" y="943899"/>
                  <a:pt x="4785332" y="938835"/>
                  <a:pt x="4787579" y="932057"/>
                </a:cubicBezTo>
                <a:cubicBezTo>
                  <a:pt x="4787579" y="932057"/>
                  <a:pt x="4787579" y="932057"/>
                  <a:pt x="4814461" y="853490"/>
                </a:cubicBezTo>
                <a:cubicBezTo>
                  <a:pt x="4814747" y="852428"/>
                  <a:pt x="4814338" y="851897"/>
                  <a:pt x="4813276" y="851897"/>
                </a:cubicBezTo>
                <a:cubicBezTo>
                  <a:pt x="4813276" y="851897"/>
                  <a:pt x="4813276" y="851897"/>
                  <a:pt x="4801592" y="851897"/>
                </a:cubicBezTo>
                <a:cubicBezTo>
                  <a:pt x="4800734" y="851897"/>
                  <a:pt x="4800121" y="852264"/>
                  <a:pt x="4799835" y="853040"/>
                </a:cubicBezTo>
                <a:cubicBezTo>
                  <a:pt x="4799835" y="853040"/>
                  <a:pt x="4799835" y="853040"/>
                  <a:pt x="4783331" y="908617"/>
                </a:cubicBezTo>
                <a:cubicBezTo>
                  <a:pt x="4783208" y="908821"/>
                  <a:pt x="4783085" y="908944"/>
                  <a:pt x="4782881" y="908944"/>
                </a:cubicBezTo>
                <a:cubicBezTo>
                  <a:pt x="4782677" y="908944"/>
                  <a:pt x="4782514" y="908821"/>
                  <a:pt x="4782432" y="908617"/>
                </a:cubicBezTo>
                <a:cubicBezTo>
                  <a:pt x="4782432" y="908617"/>
                  <a:pt x="4782432" y="908617"/>
                  <a:pt x="4765764" y="853040"/>
                </a:cubicBezTo>
                <a:cubicBezTo>
                  <a:pt x="4765478" y="852264"/>
                  <a:pt x="4764906" y="851897"/>
                  <a:pt x="4764007" y="851897"/>
                </a:cubicBezTo>
                <a:cubicBezTo>
                  <a:pt x="4764007" y="851897"/>
                  <a:pt x="4764007" y="851897"/>
                  <a:pt x="4752078" y="851897"/>
                </a:cubicBezTo>
                <a:close/>
                <a:moveTo>
                  <a:pt x="3789262" y="851897"/>
                </a:moveTo>
                <a:cubicBezTo>
                  <a:pt x="3788242" y="851897"/>
                  <a:pt x="3787752" y="852387"/>
                  <a:pt x="3787752" y="853366"/>
                </a:cubicBezTo>
                <a:cubicBezTo>
                  <a:pt x="3787752" y="853366"/>
                  <a:pt x="3787752" y="853366"/>
                  <a:pt x="3787752" y="903613"/>
                </a:cubicBezTo>
                <a:cubicBezTo>
                  <a:pt x="3787752" y="908797"/>
                  <a:pt x="3788976" y="913206"/>
                  <a:pt x="3791466" y="916839"/>
                </a:cubicBezTo>
                <a:cubicBezTo>
                  <a:pt x="3793914" y="920512"/>
                  <a:pt x="3797178" y="923247"/>
                  <a:pt x="3801259" y="925125"/>
                </a:cubicBezTo>
                <a:cubicBezTo>
                  <a:pt x="3805339" y="926961"/>
                  <a:pt x="3809746" y="927900"/>
                  <a:pt x="3814562" y="927900"/>
                </a:cubicBezTo>
                <a:cubicBezTo>
                  <a:pt x="3822723" y="927900"/>
                  <a:pt x="3828762" y="925206"/>
                  <a:pt x="3832679" y="919818"/>
                </a:cubicBezTo>
                <a:cubicBezTo>
                  <a:pt x="3832884" y="919614"/>
                  <a:pt x="3833047" y="919533"/>
                  <a:pt x="3833210" y="919573"/>
                </a:cubicBezTo>
                <a:cubicBezTo>
                  <a:pt x="3833373" y="919614"/>
                  <a:pt x="3833414" y="919737"/>
                  <a:pt x="3833414" y="919941"/>
                </a:cubicBezTo>
                <a:cubicBezTo>
                  <a:pt x="3833414" y="919941"/>
                  <a:pt x="3833414" y="919941"/>
                  <a:pt x="3833414" y="925410"/>
                </a:cubicBezTo>
                <a:cubicBezTo>
                  <a:pt x="3833414" y="926390"/>
                  <a:pt x="3833904" y="926880"/>
                  <a:pt x="3834924" y="926880"/>
                </a:cubicBezTo>
                <a:cubicBezTo>
                  <a:pt x="3834924" y="926880"/>
                  <a:pt x="3834924" y="926880"/>
                  <a:pt x="3845942" y="926880"/>
                </a:cubicBezTo>
                <a:cubicBezTo>
                  <a:pt x="3846921" y="926880"/>
                  <a:pt x="3847410" y="926390"/>
                  <a:pt x="3847410" y="925410"/>
                </a:cubicBezTo>
                <a:cubicBezTo>
                  <a:pt x="3847410" y="925410"/>
                  <a:pt x="3847410" y="925410"/>
                  <a:pt x="3847410" y="853366"/>
                </a:cubicBezTo>
                <a:cubicBezTo>
                  <a:pt x="3847410" y="852387"/>
                  <a:pt x="3846921" y="851897"/>
                  <a:pt x="3845942" y="851897"/>
                </a:cubicBezTo>
                <a:cubicBezTo>
                  <a:pt x="3845942" y="851897"/>
                  <a:pt x="3845942" y="851897"/>
                  <a:pt x="3834924" y="851897"/>
                </a:cubicBezTo>
                <a:cubicBezTo>
                  <a:pt x="3833904" y="851897"/>
                  <a:pt x="3833414" y="852387"/>
                  <a:pt x="3833414" y="853366"/>
                </a:cubicBezTo>
                <a:cubicBezTo>
                  <a:pt x="3833414" y="853366"/>
                  <a:pt x="3833414" y="853366"/>
                  <a:pt x="3833414" y="899164"/>
                </a:cubicBezTo>
                <a:cubicBezTo>
                  <a:pt x="3833414" y="904185"/>
                  <a:pt x="3831945" y="908185"/>
                  <a:pt x="3829007" y="911165"/>
                </a:cubicBezTo>
                <a:cubicBezTo>
                  <a:pt x="3826069" y="914185"/>
                  <a:pt x="3822151" y="915696"/>
                  <a:pt x="3817214" y="915696"/>
                </a:cubicBezTo>
                <a:cubicBezTo>
                  <a:pt x="3812318" y="915696"/>
                  <a:pt x="3808522" y="914185"/>
                  <a:pt x="3805829" y="911246"/>
                </a:cubicBezTo>
                <a:cubicBezTo>
                  <a:pt x="3803095" y="908308"/>
                  <a:pt x="3801748" y="904267"/>
                  <a:pt x="3801748" y="899164"/>
                </a:cubicBezTo>
                <a:cubicBezTo>
                  <a:pt x="3801748" y="899164"/>
                  <a:pt x="3801748" y="899164"/>
                  <a:pt x="3801748" y="853366"/>
                </a:cubicBezTo>
                <a:cubicBezTo>
                  <a:pt x="3801748" y="852387"/>
                  <a:pt x="3801259" y="851897"/>
                  <a:pt x="3800280" y="851897"/>
                </a:cubicBezTo>
                <a:cubicBezTo>
                  <a:pt x="3800280" y="851897"/>
                  <a:pt x="3800280" y="851897"/>
                  <a:pt x="3789262" y="851897"/>
                </a:cubicBezTo>
                <a:close/>
                <a:moveTo>
                  <a:pt x="5020779" y="851080"/>
                </a:moveTo>
                <a:cubicBezTo>
                  <a:pt x="5013124" y="851080"/>
                  <a:pt x="5007098" y="854548"/>
                  <a:pt x="5002700" y="861403"/>
                </a:cubicBezTo>
                <a:cubicBezTo>
                  <a:pt x="5002578" y="861607"/>
                  <a:pt x="5002456" y="861689"/>
                  <a:pt x="5002334" y="861648"/>
                </a:cubicBezTo>
                <a:cubicBezTo>
                  <a:pt x="5002171" y="861566"/>
                  <a:pt x="5002089" y="861403"/>
                  <a:pt x="5002089" y="861117"/>
                </a:cubicBezTo>
                <a:cubicBezTo>
                  <a:pt x="5002089" y="861117"/>
                  <a:pt x="5002089" y="861117"/>
                  <a:pt x="5002089" y="853324"/>
                </a:cubicBezTo>
                <a:cubicBezTo>
                  <a:pt x="5002089" y="852345"/>
                  <a:pt x="5001601" y="851855"/>
                  <a:pt x="5000623" y="851855"/>
                </a:cubicBezTo>
                <a:cubicBezTo>
                  <a:pt x="5000623" y="851855"/>
                  <a:pt x="5000623" y="851855"/>
                  <a:pt x="4989467" y="851855"/>
                </a:cubicBezTo>
                <a:cubicBezTo>
                  <a:pt x="4988490" y="851855"/>
                  <a:pt x="4988001" y="852345"/>
                  <a:pt x="4988001" y="853324"/>
                </a:cubicBezTo>
                <a:cubicBezTo>
                  <a:pt x="4988001" y="853324"/>
                  <a:pt x="4988001" y="853324"/>
                  <a:pt x="4988001" y="925341"/>
                </a:cubicBezTo>
                <a:cubicBezTo>
                  <a:pt x="4988001" y="926321"/>
                  <a:pt x="4988490" y="926810"/>
                  <a:pt x="4989467" y="926810"/>
                </a:cubicBezTo>
                <a:cubicBezTo>
                  <a:pt x="4989467" y="926810"/>
                  <a:pt x="4989467" y="926810"/>
                  <a:pt x="5000623" y="926810"/>
                </a:cubicBezTo>
                <a:cubicBezTo>
                  <a:pt x="5001601" y="926810"/>
                  <a:pt x="5002089" y="926321"/>
                  <a:pt x="5002089" y="925341"/>
                </a:cubicBezTo>
                <a:cubicBezTo>
                  <a:pt x="5002089" y="925341"/>
                  <a:pt x="5002089" y="925341"/>
                  <a:pt x="5002089" y="882335"/>
                </a:cubicBezTo>
                <a:cubicBezTo>
                  <a:pt x="5002089" y="877520"/>
                  <a:pt x="5003596" y="873603"/>
                  <a:pt x="5006568" y="870624"/>
                </a:cubicBezTo>
                <a:cubicBezTo>
                  <a:pt x="5009581" y="867605"/>
                  <a:pt x="5013368" y="866014"/>
                  <a:pt x="5017969" y="865850"/>
                </a:cubicBezTo>
                <a:cubicBezTo>
                  <a:pt x="5017969" y="865850"/>
                  <a:pt x="5017969" y="865850"/>
                  <a:pt x="5020046" y="865687"/>
                </a:cubicBezTo>
                <a:cubicBezTo>
                  <a:pt x="5022285" y="865687"/>
                  <a:pt x="5024240" y="866014"/>
                  <a:pt x="5025909" y="866707"/>
                </a:cubicBezTo>
                <a:cubicBezTo>
                  <a:pt x="5027008" y="866993"/>
                  <a:pt x="5027578" y="866707"/>
                  <a:pt x="5027660" y="865850"/>
                </a:cubicBezTo>
                <a:cubicBezTo>
                  <a:pt x="5027660" y="865850"/>
                  <a:pt x="5027660" y="865850"/>
                  <a:pt x="5030021" y="854793"/>
                </a:cubicBezTo>
                <a:cubicBezTo>
                  <a:pt x="5030225" y="853895"/>
                  <a:pt x="5029981" y="853324"/>
                  <a:pt x="5029289" y="852997"/>
                </a:cubicBezTo>
                <a:cubicBezTo>
                  <a:pt x="5026764" y="851733"/>
                  <a:pt x="5023914" y="851080"/>
                  <a:pt x="5020779" y="851080"/>
                </a:cubicBezTo>
                <a:close/>
                <a:moveTo>
                  <a:pt x="4715609" y="851080"/>
                </a:moveTo>
                <a:cubicBezTo>
                  <a:pt x="4707067" y="851080"/>
                  <a:pt x="4700201" y="853043"/>
                  <a:pt x="4695051" y="856929"/>
                </a:cubicBezTo>
                <a:cubicBezTo>
                  <a:pt x="4689860" y="860815"/>
                  <a:pt x="4687285" y="866051"/>
                  <a:pt x="4687285" y="872678"/>
                </a:cubicBezTo>
                <a:cubicBezTo>
                  <a:pt x="4687285" y="877382"/>
                  <a:pt x="4688593" y="881227"/>
                  <a:pt x="4691209" y="884254"/>
                </a:cubicBezTo>
                <a:cubicBezTo>
                  <a:pt x="4693825" y="887240"/>
                  <a:pt x="4697012" y="889572"/>
                  <a:pt x="4700773" y="891208"/>
                </a:cubicBezTo>
                <a:cubicBezTo>
                  <a:pt x="4704574" y="892803"/>
                  <a:pt x="4709274" y="894398"/>
                  <a:pt x="4714873" y="895994"/>
                </a:cubicBezTo>
                <a:cubicBezTo>
                  <a:pt x="4720595" y="897548"/>
                  <a:pt x="4724723" y="899062"/>
                  <a:pt x="4727298" y="900493"/>
                </a:cubicBezTo>
                <a:cubicBezTo>
                  <a:pt x="4729832" y="901925"/>
                  <a:pt x="4731099" y="904052"/>
                  <a:pt x="4731099" y="906916"/>
                </a:cubicBezTo>
                <a:cubicBezTo>
                  <a:pt x="4731099" y="909861"/>
                  <a:pt x="4729750" y="912315"/>
                  <a:pt x="4726971" y="914238"/>
                </a:cubicBezTo>
                <a:cubicBezTo>
                  <a:pt x="4724233" y="916160"/>
                  <a:pt x="4720636" y="917101"/>
                  <a:pt x="4716222" y="917101"/>
                </a:cubicBezTo>
                <a:cubicBezTo>
                  <a:pt x="4711604" y="917101"/>
                  <a:pt x="4707762" y="916078"/>
                  <a:pt x="4704778" y="913992"/>
                </a:cubicBezTo>
                <a:cubicBezTo>
                  <a:pt x="4701795" y="911947"/>
                  <a:pt x="4700282" y="909533"/>
                  <a:pt x="4700282" y="906752"/>
                </a:cubicBezTo>
                <a:cubicBezTo>
                  <a:pt x="4700282" y="906752"/>
                  <a:pt x="4700282" y="906752"/>
                  <a:pt x="4700282" y="906016"/>
                </a:cubicBezTo>
                <a:cubicBezTo>
                  <a:pt x="4700282" y="905034"/>
                  <a:pt x="4699792" y="904543"/>
                  <a:pt x="4698811" y="904543"/>
                </a:cubicBezTo>
                <a:cubicBezTo>
                  <a:pt x="4698811" y="904543"/>
                  <a:pt x="4698811" y="904543"/>
                  <a:pt x="4688184" y="904543"/>
                </a:cubicBezTo>
                <a:cubicBezTo>
                  <a:pt x="4687203" y="904543"/>
                  <a:pt x="4686713" y="905034"/>
                  <a:pt x="4686713" y="906016"/>
                </a:cubicBezTo>
                <a:cubicBezTo>
                  <a:pt x="4686713" y="906016"/>
                  <a:pt x="4686713" y="906016"/>
                  <a:pt x="4686713" y="907652"/>
                </a:cubicBezTo>
                <a:cubicBezTo>
                  <a:pt x="4686713" y="911374"/>
                  <a:pt x="4687939" y="914810"/>
                  <a:pt x="4690391" y="917919"/>
                </a:cubicBezTo>
                <a:cubicBezTo>
                  <a:pt x="4692844" y="921028"/>
                  <a:pt x="4696318" y="923441"/>
                  <a:pt x="4700773" y="925241"/>
                </a:cubicBezTo>
                <a:cubicBezTo>
                  <a:pt x="4705269" y="927000"/>
                  <a:pt x="4710459" y="927900"/>
                  <a:pt x="4716345" y="927900"/>
                </a:cubicBezTo>
                <a:cubicBezTo>
                  <a:pt x="4725132" y="927900"/>
                  <a:pt x="4732121" y="925896"/>
                  <a:pt x="4737393" y="921969"/>
                </a:cubicBezTo>
                <a:cubicBezTo>
                  <a:pt x="4742625" y="918042"/>
                  <a:pt x="4745282" y="912724"/>
                  <a:pt x="4745282" y="906016"/>
                </a:cubicBezTo>
                <a:cubicBezTo>
                  <a:pt x="4745282" y="901189"/>
                  <a:pt x="4743933" y="897303"/>
                  <a:pt x="4741276" y="894276"/>
                </a:cubicBezTo>
                <a:cubicBezTo>
                  <a:pt x="4738619" y="891290"/>
                  <a:pt x="4735432" y="889040"/>
                  <a:pt x="4731631" y="887485"/>
                </a:cubicBezTo>
                <a:cubicBezTo>
                  <a:pt x="4727830" y="885972"/>
                  <a:pt x="4723089" y="884418"/>
                  <a:pt x="4717407" y="882863"/>
                </a:cubicBezTo>
                <a:cubicBezTo>
                  <a:pt x="4711604" y="881186"/>
                  <a:pt x="4707394" y="879591"/>
                  <a:pt x="4704778" y="878118"/>
                </a:cubicBezTo>
                <a:cubicBezTo>
                  <a:pt x="4702162" y="876645"/>
                  <a:pt x="4700854" y="874478"/>
                  <a:pt x="4700854" y="871614"/>
                </a:cubicBezTo>
                <a:cubicBezTo>
                  <a:pt x="4700854" y="868751"/>
                  <a:pt x="4702203" y="866501"/>
                  <a:pt x="4704901" y="864824"/>
                </a:cubicBezTo>
                <a:cubicBezTo>
                  <a:pt x="4707639" y="863147"/>
                  <a:pt x="4711154" y="862329"/>
                  <a:pt x="4715486" y="862329"/>
                </a:cubicBezTo>
                <a:cubicBezTo>
                  <a:pt x="4720309" y="862329"/>
                  <a:pt x="4724110" y="863269"/>
                  <a:pt x="4726890" y="865192"/>
                </a:cubicBezTo>
                <a:cubicBezTo>
                  <a:pt x="4729710" y="867115"/>
                  <a:pt x="4731099" y="869487"/>
                  <a:pt x="4731099" y="872350"/>
                </a:cubicBezTo>
                <a:cubicBezTo>
                  <a:pt x="4731099" y="872350"/>
                  <a:pt x="4731099" y="872350"/>
                  <a:pt x="4731099" y="872800"/>
                </a:cubicBezTo>
                <a:cubicBezTo>
                  <a:pt x="4731099" y="873782"/>
                  <a:pt x="4731590" y="874273"/>
                  <a:pt x="4732571" y="874273"/>
                </a:cubicBezTo>
                <a:cubicBezTo>
                  <a:pt x="4732571" y="874273"/>
                  <a:pt x="4732571" y="874273"/>
                  <a:pt x="4742911" y="874273"/>
                </a:cubicBezTo>
                <a:cubicBezTo>
                  <a:pt x="4743892" y="874273"/>
                  <a:pt x="4744383" y="873782"/>
                  <a:pt x="4744383" y="872800"/>
                </a:cubicBezTo>
                <a:cubicBezTo>
                  <a:pt x="4744383" y="872800"/>
                  <a:pt x="4744383" y="872800"/>
                  <a:pt x="4744383" y="872350"/>
                </a:cubicBezTo>
                <a:cubicBezTo>
                  <a:pt x="4744383" y="868342"/>
                  <a:pt x="4743197" y="864660"/>
                  <a:pt x="4740867" y="861429"/>
                </a:cubicBezTo>
                <a:cubicBezTo>
                  <a:pt x="4738497" y="858197"/>
                  <a:pt x="4735105" y="855661"/>
                  <a:pt x="4730731" y="853820"/>
                </a:cubicBezTo>
                <a:cubicBezTo>
                  <a:pt x="4726358" y="852020"/>
                  <a:pt x="4721331" y="851080"/>
                  <a:pt x="4715609" y="851080"/>
                </a:cubicBezTo>
                <a:close/>
                <a:moveTo>
                  <a:pt x="4115219" y="851080"/>
                </a:moveTo>
                <a:cubicBezTo>
                  <a:pt x="4107555" y="851080"/>
                  <a:pt x="4101490" y="854548"/>
                  <a:pt x="4097023" y="861403"/>
                </a:cubicBezTo>
                <a:cubicBezTo>
                  <a:pt x="4096941" y="861607"/>
                  <a:pt x="4096819" y="861689"/>
                  <a:pt x="4096655" y="861648"/>
                </a:cubicBezTo>
                <a:cubicBezTo>
                  <a:pt x="4096532" y="861566"/>
                  <a:pt x="4096450" y="861403"/>
                  <a:pt x="4096450" y="861117"/>
                </a:cubicBezTo>
                <a:cubicBezTo>
                  <a:pt x="4096450" y="861117"/>
                  <a:pt x="4096450" y="861117"/>
                  <a:pt x="4096450" y="853324"/>
                </a:cubicBezTo>
                <a:cubicBezTo>
                  <a:pt x="4096450" y="852345"/>
                  <a:pt x="4095958" y="851855"/>
                  <a:pt x="4094975" y="851855"/>
                </a:cubicBezTo>
                <a:cubicBezTo>
                  <a:pt x="4094975" y="851855"/>
                  <a:pt x="4094975" y="851855"/>
                  <a:pt x="4083705" y="851855"/>
                </a:cubicBezTo>
                <a:cubicBezTo>
                  <a:pt x="4082721" y="851855"/>
                  <a:pt x="4082230" y="852345"/>
                  <a:pt x="4082230" y="853324"/>
                </a:cubicBezTo>
                <a:cubicBezTo>
                  <a:pt x="4082230" y="853324"/>
                  <a:pt x="4082230" y="853324"/>
                  <a:pt x="4082230" y="925341"/>
                </a:cubicBezTo>
                <a:cubicBezTo>
                  <a:pt x="4082230" y="926321"/>
                  <a:pt x="4082721" y="926810"/>
                  <a:pt x="4083705" y="926810"/>
                </a:cubicBezTo>
                <a:cubicBezTo>
                  <a:pt x="4083705" y="926810"/>
                  <a:pt x="4083705" y="926810"/>
                  <a:pt x="4094975" y="926810"/>
                </a:cubicBezTo>
                <a:cubicBezTo>
                  <a:pt x="4095958" y="926810"/>
                  <a:pt x="4096450" y="926321"/>
                  <a:pt x="4096450" y="925341"/>
                </a:cubicBezTo>
                <a:cubicBezTo>
                  <a:pt x="4096450" y="925341"/>
                  <a:pt x="4096450" y="925341"/>
                  <a:pt x="4096450" y="882335"/>
                </a:cubicBezTo>
                <a:cubicBezTo>
                  <a:pt x="4096450" y="877520"/>
                  <a:pt x="4097925" y="873603"/>
                  <a:pt x="4100958" y="870624"/>
                </a:cubicBezTo>
                <a:cubicBezTo>
                  <a:pt x="4103949" y="867605"/>
                  <a:pt x="4107801" y="866014"/>
                  <a:pt x="4112432" y="865850"/>
                </a:cubicBezTo>
                <a:cubicBezTo>
                  <a:pt x="4112432" y="865850"/>
                  <a:pt x="4112432" y="865850"/>
                  <a:pt x="4114481" y="865687"/>
                </a:cubicBezTo>
                <a:cubicBezTo>
                  <a:pt x="4116776" y="865687"/>
                  <a:pt x="4118743" y="866014"/>
                  <a:pt x="4120423" y="866707"/>
                </a:cubicBezTo>
                <a:cubicBezTo>
                  <a:pt x="4121489" y="866993"/>
                  <a:pt x="4122104" y="866707"/>
                  <a:pt x="4122185" y="865850"/>
                </a:cubicBezTo>
                <a:cubicBezTo>
                  <a:pt x="4122185" y="865850"/>
                  <a:pt x="4122185" y="865850"/>
                  <a:pt x="4124562" y="854793"/>
                </a:cubicBezTo>
                <a:cubicBezTo>
                  <a:pt x="4124726" y="853895"/>
                  <a:pt x="4124480" y="853324"/>
                  <a:pt x="4123825" y="852997"/>
                </a:cubicBezTo>
                <a:cubicBezTo>
                  <a:pt x="4121243" y="851733"/>
                  <a:pt x="4118374" y="851080"/>
                  <a:pt x="4115219" y="851080"/>
                </a:cubicBezTo>
                <a:close/>
                <a:moveTo>
                  <a:pt x="5273444" y="850807"/>
                </a:moveTo>
                <a:cubicBezTo>
                  <a:pt x="5265201" y="850807"/>
                  <a:pt x="5258957" y="853500"/>
                  <a:pt x="5254714" y="858926"/>
                </a:cubicBezTo>
                <a:cubicBezTo>
                  <a:pt x="5254632" y="859130"/>
                  <a:pt x="5254510" y="859170"/>
                  <a:pt x="5254346" y="859048"/>
                </a:cubicBezTo>
                <a:cubicBezTo>
                  <a:pt x="5254224" y="858967"/>
                  <a:pt x="5254142" y="858803"/>
                  <a:pt x="5254142" y="858640"/>
                </a:cubicBezTo>
                <a:cubicBezTo>
                  <a:pt x="5254142" y="858640"/>
                  <a:pt x="5254142" y="858640"/>
                  <a:pt x="5254142" y="853337"/>
                </a:cubicBezTo>
                <a:cubicBezTo>
                  <a:pt x="5254142" y="852357"/>
                  <a:pt x="5253653" y="851868"/>
                  <a:pt x="5252673" y="851868"/>
                </a:cubicBezTo>
                <a:cubicBezTo>
                  <a:pt x="5252673" y="851868"/>
                  <a:pt x="5252673" y="851868"/>
                  <a:pt x="5241493" y="851868"/>
                </a:cubicBezTo>
                <a:cubicBezTo>
                  <a:pt x="5240513" y="851868"/>
                  <a:pt x="5239983" y="852357"/>
                  <a:pt x="5239983" y="853337"/>
                </a:cubicBezTo>
                <a:cubicBezTo>
                  <a:pt x="5239983" y="853337"/>
                  <a:pt x="5239983" y="853337"/>
                  <a:pt x="5239983" y="925342"/>
                </a:cubicBezTo>
                <a:cubicBezTo>
                  <a:pt x="5239983" y="926321"/>
                  <a:pt x="5240513" y="926810"/>
                  <a:pt x="5241493" y="926810"/>
                </a:cubicBezTo>
                <a:cubicBezTo>
                  <a:pt x="5241493" y="926810"/>
                  <a:pt x="5241493" y="926810"/>
                  <a:pt x="5252673" y="926810"/>
                </a:cubicBezTo>
                <a:cubicBezTo>
                  <a:pt x="5253653" y="926810"/>
                  <a:pt x="5254142" y="926321"/>
                  <a:pt x="5254142" y="925342"/>
                </a:cubicBezTo>
                <a:cubicBezTo>
                  <a:pt x="5254142" y="925342"/>
                  <a:pt x="5254142" y="925342"/>
                  <a:pt x="5254142" y="879405"/>
                </a:cubicBezTo>
                <a:cubicBezTo>
                  <a:pt x="5254142" y="874592"/>
                  <a:pt x="5255611" y="870634"/>
                  <a:pt x="5258549" y="867615"/>
                </a:cubicBezTo>
                <a:cubicBezTo>
                  <a:pt x="5261528" y="864556"/>
                  <a:pt x="5265282" y="863046"/>
                  <a:pt x="5269893" y="863046"/>
                </a:cubicBezTo>
                <a:cubicBezTo>
                  <a:pt x="5274627" y="863046"/>
                  <a:pt x="5278381" y="864556"/>
                  <a:pt x="5281238" y="867615"/>
                </a:cubicBezTo>
                <a:cubicBezTo>
                  <a:pt x="5284094" y="870634"/>
                  <a:pt x="5285522" y="874632"/>
                  <a:pt x="5285522" y="879528"/>
                </a:cubicBezTo>
                <a:cubicBezTo>
                  <a:pt x="5285522" y="879528"/>
                  <a:pt x="5285522" y="879528"/>
                  <a:pt x="5285522" y="925342"/>
                </a:cubicBezTo>
                <a:cubicBezTo>
                  <a:pt x="5285522" y="926321"/>
                  <a:pt x="5286012" y="926810"/>
                  <a:pt x="5286991" y="926810"/>
                </a:cubicBezTo>
                <a:cubicBezTo>
                  <a:pt x="5286991" y="926810"/>
                  <a:pt x="5286991" y="926810"/>
                  <a:pt x="5298172" y="926810"/>
                </a:cubicBezTo>
                <a:cubicBezTo>
                  <a:pt x="5299151" y="926810"/>
                  <a:pt x="5299641" y="926321"/>
                  <a:pt x="5299641" y="925342"/>
                </a:cubicBezTo>
                <a:cubicBezTo>
                  <a:pt x="5299641" y="925342"/>
                  <a:pt x="5299641" y="925342"/>
                  <a:pt x="5299641" y="876754"/>
                </a:cubicBezTo>
                <a:cubicBezTo>
                  <a:pt x="5299641" y="868798"/>
                  <a:pt x="5297315" y="862475"/>
                  <a:pt x="5292582" y="857824"/>
                </a:cubicBezTo>
                <a:cubicBezTo>
                  <a:pt x="5287889" y="853133"/>
                  <a:pt x="5281482" y="850807"/>
                  <a:pt x="5273444" y="850807"/>
                </a:cubicBezTo>
                <a:close/>
                <a:moveTo>
                  <a:pt x="5189757" y="850807"/>
                </a:moveTo>
                <a:cubicBezTo>
                  <a:pt x="5182178" y="850807"/>
                  <a:pt x="5175780" y="852764"/>
                  <a:pt x="5170483" y="856677"/>
                </a:cubicBezTo>
                <a:cubicBezTo>
                  <a:pt x="5165186" y="860590"/>
                  <a:pt x="5161641" y="865930"/>
                  <a:pt x="5159889" y="872737"/>
                </a:cubicBezTo>
                <a:cubicBezTo>
                  <a:pt x="5158789" y="876446"/>
                  <a:pt x="5158259" y="881908"/>
                  <a:pt x="5158259" y="889041"/>
                </a:cubicBezTo>
                <a:cubicBezTo>
                  <a:pt x="5158259" y="897275"/>
                  <a:pt x="5159441" y="904286"/>
                  <a:pt x="5161804" y="910074"/>
                </a:cubicBezTo>
                <a:cubicBezTo>
                  <a:pt x="5164249" y="915863"/>
                  <a:pt x="5167916" y="920346"/>
                  <a:pt x="5172806" y="923485"/>
                </a:cubicBezTo>
                <a:cubicBezTo>
                  <a:pt x="5177736" y="926624"/>
                  <a:pt x="5183767" y="928172"/>
                  <a:pt x="5190898" y="928172"/>
                </a:cubicBezTo>
                <a:cubicBezTo>
                  <a:pt x="5197295" y="928172"/>
                  <a:pt x="5203000" y="926909"/>
                  <a:pt x="5208053" y="924341"/>
                </a:cubicBezTo>
                <a:cubicBezTo>
                  <a:pt x="5213105" y="921814"/>
                  <a:pt x="5217017" y="918349"/>
                  <a:pt x="5219747" y="913906"/>
                </a:cubicBezTo>
                <a:cubicBezTo>
                  <a:pt x="5220155" y="913213"/>
                  <a:pt x="5219991" y="912602"/>
                  <a:pt x="5219299" y="911990"/>
                </a:cubicBezTo>
                <a:cubicBezTo>
                  <a:pt x="5219299" y="911990"/>
                  <a:pt x="5219299" y="911990"/>
                  <a:pt x="5210905" y="906406"/>
                </a:cubicBezTo>
                <a:cubicBezTo>
                  <a:pt x="5210131" y="905713"/>
                  <a:pt x="5209479" y="905876"/>
                  <a:pt x="5208990" y="906854"/>
                </a:cubicBezTo>
                <a:cubicBezTo>
                  <a:pt x="5205078" y="912846"/>
                  <a:pt x="5199495" y="915822"/>
                  <a:pt x="5192242" y="915822"/>
                </a:cubicBezTo>
                <a:cubicBezTo>
                  <a:pt x="5187231" y="915822"/>
                  <a:pt x="5183115" y="914721"/>
                  <a:pt x="5179814" y="912520"/>
                </a:cubicBezTo>
                <a:cubicBezTo>
                  <a:pt x="5176514" y="910319"/>
                  <a:pt x="5174354" y="907262"/>
                  <a:pt x="5173254" y="903308"/>
                </a:cubicBezTo>
                <a:cubicBezTo>
                  <a:pt x="5172684" y="901555"/>
                  <a:pt x="5172398" y="898987"/>
                  <a:pt x="5172398" y="895686"/>
                </a:cubicBezTo>
                <a:cubicBezTo>
                  <a:pt x="5172398" y="895278"/>
                  <a:pt x="5172561" y="895074"/>
                  <a:pt x="5172969" y="895074"/>
                </a:cubicBezTo>
                <a:cubicBezTo>
                  <a:pt x="5172969" y="895074"/>
                  <a:pt x="5172969" y="895074"/>
                  <a:pt x="5219910" y="895074"/>
                </a:cubicBezTo>
                <a:cubicBezTo>
                  <a:pt x="5220888" y="895074"/>
                  <a:pt x="5221377" y="894585"/>
                  <a:pt x="5221377" y="893607"/>
                </a:cubicBezTo>
                <a:cubicBezTo>
                  <a:pt x="5221459" y="888593"/>
                  <a:pt x="5221336" y="884109"/>
                  <a:pt x="5220929" y="880074"/>
                </a:cubicBezTo>
                <a:cubicBezTo>
                  <a:pt x="5219829" y="870454"/>
                  <a:pt x="5216854" y="863199"/>
                  <a:pt x="5211964" y="858226"/>
                </a:cubicBezTo>
                <a:cubicBezTo>
                  <a:pt x="5207034" y="853253"/>
                  <a:pt x="5199659" y="850807"/>
                  <a:pt x="5189757" y="850807"/>
                </a:cubicBezTo>
                <a:close/>
                <a:moveTo>
                  <a:pt x="5067431" y="850807"/>
                </a:moveTo>
                <a:cubicBezTo>
                  <a:pt x="5060939" y="850807"/>
                  <a:pt x="5055303" y="852603"/>
                  <a:pt x="5050566" y="856152"/>
                </a:cubicBezTo>
                <a:cubicBezTo>
                  <a:pt x="5045789" y="859742"/>
                  <a:pt x="5042481" y="864475"/>
                  <a:pt x="5040602" y="870391"/>
                </a:cubicBezTo>
                <a:cubicBezTo>
                  <a:pt x="5039132" y="874797"/>
                  <a:pt x="5038397" y="881080"/>
                  <a:pt x="5038397" y="889240"/>
                </a:cubicBezTo>
                <a:cubicBezTo>
                  <a:pt x="5038397" y="896910"/>
                  <a:pt x="5039051" y="902867"/>
                  <a:pt x="5040317" y="907191"/>
                </a:cubicBezTo>
                <a:cubicBezTo>
                  <a:pt x="5042277" y="913678"/>
                  <a:pt x="5045829" y="918574"/>
                  <a:pt x="5050975" y="921919"/>
                </a:cubicBezTo>
                <a:cubicBezTo>
                  <a:pt x="5056161" y="925265"/>
                  <a:pt x="5061919" y="926938"/>
                  <a:pt x="5068330" y="926938"/>
                </a:cubicBezTo>
                <a:cubicBezTo>
                  <a:pt x="5076293" y="926938"/>
                  <a:pt x="5082336" y="924530"/>
                  <a:pt x="5086461" y="919716"/>
                </a:cubicBezTo>
                <a:cubicBezTo>
                  <a:pt x="5086665" y="919512"/>
                  <a:pt x="5086828" y="919472"/>
                  <a:pt x="5086951" y="919553"/>
                </a:cubicBezTo>
                <a:cubicBezTo>
                  <a:pt x="5087114" y="919675"/>
                  <a:pt x="5087196" y="919798"/>
                  <a:pt x="5087196" y="920002"/>
                </a:cubicBezTo>
                <a:cubicBezTo>
                  <a:pt x="5087196" y="920002"/>
                  <a:pt x="5087196" y="920002"/>
                  <a:pt x="5087196" y="922654"/>
                </a:cubicBezTo>
                <a:cubicBezTo>
                  <a:pt x="5087196" y="930039"/>
                  <a:pt x="5085317" y="935261"/>
                  <a:pt x="5081601" y="938361"/>
                </a:cubicBezTo>
                <a:cubicBezTo>
                  <a:pt x="5077844" y="941462"/>
                  <a:pt x="5071801" y="942972"/>
                  <a:pt x="5063470" y="942972"/>
                </a:cubicBezTo>
                <a:cubicBezTo>
                  <a:pt x="5060816" y="942972"/>
                  <a:pt x="5058774" y="942931"/>
                  <a:pt x="5057427" y="942849"/>
                </a:cubicBezTo>
                <a:cubicBezTo>
                  <a:pt x="5056896" y="942727"/>
                  <a:pt x="5056528" y="942849"/>
                  <a:pt x="5056242" y="943135"/>
                </a:cubicBezTo>
                <a:cubicBezTo>
                  <a:pt x="5055957" y="943420"/>
                  <a:pt x="5055793" y="943788"/>
                  <a:pt x="5055793" y="944155"/>
                </a:cubicBezTo>
                <a:cubicBezTo>
                  <a:pt x="5055793" y="944155"/>
                  <a:pt x="5055793" y="944155"/>
                  <a:pt x="5055344" y="954314"/>
                </a:cubicBezTo>
                <a:cubicBezTo>
                  <a:pt x="5055344" y="955293"/>
                  <a:pt x="5055834" y="955864"/>
                  <a:pt x="5056814" y="955946"/>
                </a:cubicBezTo>
                <a:cubicBezTo>
                  <a:pt x="5060163" y="956150"/>
                  <a:pt x="5062613" y="956231"/>
                  <a:pt x="5064205" y="956231"/>
                </a:cubicBezTo>
                <a:cubicBezTo>
                  <a:pt x="5075476" y="956231"/>
                  <a:pt x="5084501" y="953702"/>
                  <a:pt x="5091238" y="948602"/>
                </a:cubicBezTo>
                <a:cubicBezTo>
                  <a:pt x="5097976" y="943461"/>
                  <a:pt x="5101325" y="934975"/>
                  <a:pt x="5101325" y="923103"/>
                </a:cubicBezTo>
                <a:cubicBezTo>
                  <a:pt x="5101325" y="923103"/>
                  <a:pt x="5101325" y="923103"/>
                  <a:pt x="5101325" y="853459"/>
                </a:cubicBezTo>
                <a:cubicBezTo>
                  <a:pt x="5101325" y="852480"/>
                  <a:pt x="5100835" y="851990"/>
                  <a:pt x="5099855" y="851990"/>
                </a:cubicBezTo>
                <a:cubicBezTo>
                  <a:pt x="5099855" y="851990"/>
                  <a:pt x="5099855" y="851990"/>
                  <a:pt x="5088666" y="851990"/>
                </a:cubicBezTo>
                <a:cubicBezTo>
                  <a:pt x="5087686" y="851990"/>
                  <a:pt x="5087196" y="852480"/>
                  <a:pt x="5087196" y="853459"/>
                </a:cubicBezTo>
                <a:cubicBezTo>
                  <a:pt x="5087196" y="853459"/>
                  <a:pt x="5087196" y="853459"/>
                  <a:pt x="5087196" y="858029"/>
                </a:cubicBezTo>
                <a:cubicBezTo>
                  <a:pt x="5087196" y="858192"/>
                  <a:pt x="5087114" y="858314"/>
                  <a:pt x="5086951" y="858396"/>
                </a:cubicBezTo>
                <a:cubicBezTo>
                  <a:pt x="5086828" y="858437"/>
                  <a:pt x="5086665" y="858355"/>
                  <a:pt x="5086461" y="858151"/>
                </a:cubicBezTo>
                <a:cubicBezTo>
                  <a:pt x="5081846" y="853255"/>
                  <a:pt x="5075476" y="850807"/>
                  <a:pt x="5067431" y="850807"/>
                </a:cubicBezTo>
                <a:close/>
                <a:moveTo>
                  <a:pt x="4937870" y="850807"/>
                </a:moveTo>
                <a:cubicBezTo>
                  <a:pt x="4930299" y="850807"/>
                  <a:pt x="4923874" y="852764"/>
                  <a:pt x="4918554" y="856677"/>
                </a:cubicBezTo>
                <a:cubicBezTo>
                  <a:pt x="4913234" y="860590"/>
                  <a:pt x="4909674" y="865930"/>
                  <a:pt x="4907914" y="872737"/>
                </a:cubicBezTo>
                <a:cubicBezTo>
                  <a:pt x="4906809" y="876446"/>
                  <a:pt x="4906277" y="881908"/>
                  <a:pt x="4906277" y="889041"/>
                </a:cubicBezTo>
                <a:cubicBezTo>
                  <a:pt x="4906277" y="897275"/>
                  <a:pt x="4907464" y="904286"/>
                  <a:pt x="4909838" y="910074"/>
                </a:cubicBezTo>
                <a:cubicBezTo>
                  <a:pt x="4912293" y="915863"/>
                  <a:pt x="4915976" y="920346"/>
                  <a:pt x="4920887" y="923485"/>
                </a:cubicBezTo>
                <a:cubicBezTo>
                  <a:pt x="4925839" y="926624"/>
                  <a:pt x="4931895" y="928172"/>
                  <a:pt x="4939057" y="928172"/>
                </a:cubicBezTo>
                <a:cubicBezTo>
                  <a:pt x="4945482" y="928172"/>
                  <a:pt x="4951211" y="926909"/>
                  <a:pt x="4956286" y="924341"/>
                </a:cubicBezTo>
                <a:cubicBezTo>
                  <a:pt x="4961360" y="921814"/>
                  <a:pt x="4965289" y="918349"/>
                  <a:pt x="4968031" y="913906"/>
                </a:cubicBezTo>
                <a:cubicBezTo>
                  <a:pt x="4968399" y="913213"/>
                  <a:pt x="4968276" y="912602"/>
                  <a:pt x="4967581" y="911990"/>
                </a:cubicBezTo>
                <a:cubicBezTo>
                  <a:pt x="4967581" y="911990"/>
                  <a:pt x="4967581" y="911990"/>
                  <a:pt x="4959150" y="906406"/>
                </a:cubicBezTo>
                <a:cubicBezTo>
                  <a:pt x="4958373" y="905713"/>
                  <a:pt x="4957718" y="905876"/>
                  <a:pt x="4957227" y="906854"/>
                </a:cubicBezTo>
                <a:cubicBezTo>
                  <a:pt x="4953298" y="912846"/>
                  <a:pt x="4947692" y="915822"/>
                  <a:pt x="4940407" y="915822"/>
                </a:cubicBezTo>
                <a:cubicBezTo>
                  <a:pt x="4935374" y="915822"/>
                  <a:pt x="4931200" y="914721"/>
                  <a:pt x="4927926" y="912520"/>
                </a:cubicBezTo>
                <a:cubicBezTo>
                  <a:pt x="4924611" y="910319"/>
                  <a:pt x="4922442" y="907262"/>
                  <a:pt x="4921337" y="903308"/>
                </a:cubicBezTo>
                <a:cubicBezTo>
                  <a:pt x="4920764" y="901555"/>
                  <a:pt x="4920478" y="898987"/>
                  <a:pt x="4920478" y="895686"/>
                </a:cubicBezTo>
                <a:cubicBezTo>
                  <a:pt x="4920478" y="895278"/>
                  <a:pt x="4920641" y="895074"/>
                  <a:pt x="4921051" y="895074"/>
                </a:cubicBezTo>
                <a:cubicBezTo>
                  <a:pt x="4921051" y="895074"/>
                  <a:pt x="4921051" y="895074"/>
                  <a:pt x="4968153" y="895074"/>
                </a:cubicBezTo>
                <a:cubicBezTo>
                  <a:pt x="4969136" y="895074"/>
                  <a:pt x="4969668" y="894585"/>
                  <a:pt x="4969668" y="893607"/>
                </a:cubicBezTo>
                <a:cubicBezTo>
                  <a:pt x="4969749" y="888593"/>
                  <a:pt x="4969586" y="884109"/>
                  <a:pt x="4969218" y="880074"/>
                </a:cubicBezTo>
                <a:cubicBezTo>
                  <a:pt x="4968113" y="870454"/>
                  <a:pt x="4965125" y="863199"/>
                  <a:pt x="4960214" y="858226"/>
                </a:cubicBezTo>
                <a:cubicBezTo>
                  <a:pt x="4955263" y="853253"/>
                  <a:pt x="4947855" y="850807"/>
                  <a:pt x="4937870" y="850807"/>
                </a:cubicBezTo>
                <a:close/>
                <a:moveTo>
                  <a:pt x="4862060" y="850807"/>
                </a:moveTo>
                <a:cubicBezTo>
                  <a:pt x="4853817" y="850807"/>
                  <a:pt x="4847574" y="853500"/>
                  <a:pt x="4843371" y="858926"/>
                </a:cubicBezTo>
                <a:cubicBezTo>
                  <a:pt x="4843248" y="859130"/>
                  <a:pt x="4843126" y="859170"/>
                  <a:pt x="4843003" y="859048"/>
                </a:cubicBezTo>
                <a:cubicBezTo>
                  <a:pt x="4842840" y="858967"/>
                  <a:pt x="4842759" y="858803"/>
                  <a:pt x="4842759" y="858640"/>
                </a:cubicBezTo>
                <a:cubicBezTo>
                  <a:pt x="4842759" y="858640"/>
                  <a:pt x="4842759" y="858640"/>
                  <a:pt x="4842759" y="853337"/>
                </a:cubicBezTo>
                <a:cubicBezTo>
                  <a:pt x="4842759" y="852357"/>
                  <a:pt x="4842269" y="851868"/>
                  <a:pt x="4841290" y="851868"/>
                </a:cubicBezTo>
                <a:cubicBezTo>
                  <a:pt x="4841290" y="851868"/>
                  <a:pt x="4841290" y="851868"/>
                  <a:pt x="4830109" y="851868"/>
                </a:cubicBezTo>
                <a:cubicBezTo>
                  <a:pt x="4829129" y="851868"/>
                  <a:pt x="4828640" y="852357"/>
                  <a:pt x="4828640" y="853337"/>
                </a:cubicBezTo>
                <a:cubicBezTo>
                  <a:pt x="4828640" y="853337"/>
                  <a:pt x="4828640" y="853337"/>
                  <a:pt x="4828640" y="925342"/>
                </a:cubicBezTo>
                <a:cubicBezTo>
                  <a:pt x="4828640" y="926321"/>
                  <a:pt x="4829129" y="926810"/>
                  <a:pt x="4830109" y="926810"/>
                </a:cubicBezTo>
                <a:cubicBezTo>
                  <a:pt x="4830109" y="926810"/>
                  <a:pt x="4830109" y="926810"/>
                  <a:pt x="4841290" y="926810"/>
                </a:cubicBezTo>
                <a:cubicBezTo>
                  <a:pt x="4842269" y="926810"/>
                  <a:pt x="4842759" y="926321"/>
                  <a:pt x="4842759" y="925342"/>
                </a:cubicBezTo>
                <a:cubicBezTo>
                  <a:pt x="4842759" y="925342"/>
                  <a:pt x="4842759" y="925342"/>
                  <a:pt x="4842759" y="879405"/>
                </a:cubicBezTo>
                <a:cubicBezTo>
                  <a:pt x="4842759" y="874592"/>
                  <a:pt x="4844227" y="870634"/>
                  <a:pt x="4847166" y="867615"/>
                </a:cubicBezTo>
                <a:cubicBezTo>
                  <a:pt x="4850144" y="864556"/>
                  <a:pt x="4853899" y="863046"/>
                  <a:pt x="4858510" y="863046"/>
                </a:cubicBezTo>
                <a:cubicBezTo>
                  <a:pt x="4863243" y="863046"/>
                  <a:pt x="4866997" y="864556"/>
                  <a:pt x="4869854" y="867615"/>
                </a:cubicBezTo>
                <a:cubicBezTo>
                  <a:pt x="4872710" y="870634"/>
                  <a:pt x="4874138" y="874632"/>
                  <a:pt x="4874138" y="879528"/>
                </a:cubicBezTo>
                <a:cubicBezTo>
                  <a:pt x="4874138" y="879528"/>
                  <a:pt x="4874138" y="879528"/>
                  <a:pt x="4874138" y="925342"/>
                </a:cubicBezTo>
                <a:cubicBezTo>
                  <a:pt x="4874138" y="926321"/>
                  <a:pt x="4874628" y="926810"/>
                  <a:pt x="4875607" y="926810"/>
                </a:cubicBezTo>
                <a:cubicBezTo>
                  <a:pt x="4875607" y="926810"/>
                  <a:pt x="4875607" y="926810"/>
                  <a:pt x="4886788" y="926810"/>
                </a:cubicBezTo>
                <a:cubicBezTo>
                  <a:pt x="4887808" y="926810"/>
                  <a:pt x="4888298" y="926321"/>
                  <a:pt x="4888298" y="925342"/>
                </a:cubicBezTo>
                <a:cubicBezTo>
                  <a:pt x="4888298" y="925342"/>
                  <a:pt x="4888298" y="925342"/>
                  <a:pt x="4888298" y="876754"/>
                </a:cubicBezTo>
                <a:cubicBezTo>
                  <a:pt x="4888298" y="868798"/>
                  <a:pt x="4885931" y="862475"/>
                  <a:pt x="4881198" y="857824"/>
                </a:cubicBezTo>
                <a:cubicBezTo>
                  <a:pt x="4876505" y="853133"/>
                  <a:pt x="4870099" y="850807"/>
                  <a:pt x="4862060" y="850807"/>
                </a:cubicBezTo>
                <a:close/>
                <a:moveTo>
                  <a:pt x="4612571" y="850807"/>
                </a:moveTo>
                <a:cubicBezTo>
                  <a:pt x="4604328" y="850807"/>
                  <a:pt x="4598085" y="853500"/>
                  <a:pt x="4593841" y="858926"/>
                </a:cubicBezTo>
                <a:cubicBezTo>
                  <a:pt x="4593759" y="859130"/>
                  <a:pt x="4593637" y="859170"/>
                  <a:pt x="4593473" y="859048"/>
                </a:cubicBezTo>
                <a:cubicBezTo>
                  <a:pt x="4593351" y="858967"/>
                  <a:pt x="4593269" y="858803"/>
                  <a:pt x="4593269" y="858640"/>
                </a:cubicBezTo>
                <a:cubicBezTo>
                  <a:pt x="4593269" y="858640"/>
                  <a:pt x="4593269" y="858640"/>
                  <a:pt x="4593269" y="853337"/>
                </a:cubicBezTo>
                <a:cubicBezTo>
                  <a:pt x="4593269" y="852357"/>
                  <a:pt x="4592780" y="851868"/>
                  <a:pt x="4591801" y="851868"/>
                </a:cubicBezTo>
                <a:cubicBezTo>
                  <a:pt x="4591801" y="851868"/>
                  <a:pt x="4591801" y="851868"/>
                  <a:pt x="4580579" y="851868"/>
                </a:cubicBezTo>
                <a:cubicBezTo>
                  <a:pt x="4579600" y="851868"/>
                  <a:pt x="4579110" y="852357"/>
                  <a:pt x="4579110" y="853337"/>
                </a:cubicBezTo>
                <a:cubicBezTo>
                  <a:pt x="4579110" y="853337"/>
                  <a:pt x="4579110" y="853337"/>
                  <a:pt x="4579110" y="925342"/>
                </a:cubicBezTo>
                <a:cubicBezTo>
                  <a:pt x="4579110" y="926321"/>
                  <a:pt x="4579600" y="926810"/>
                  <a:pt x="4580579" y="926810"/>
                </a:cubicBezTo>
                <a:cubicBezTo>
                  <a:pt x="4580579" y="926810"/>
                  <a:pt x="4580579" y="926810"/>
                  <a:pt x="4591801" y="926810"/>
                </a:cubicBezTo>
                <a:cubicBezTo>
                  <a:pt x="4592780" y="926810"/>
                  <a:pt x="4593269" y="926321"/>
                  <a:pt x="4593269" y="925342"/>
                </a:cubicBezTo>
                <a:cubicBezTo>
                  <a:pt x="4593269" y="925342"/>
                  <a:pt x="4593269" y="925342"/>
                  <a:pt x="4593269" y="879405"/>
                </a:cubicBezTo>
                <a:cubicBezTo>
                  <a:pt x="4593269" y="874592"/>
                  <a:pt x="4594739" y="870634"/>
                  <a:pt x="4597677" y="867615"/>
                </a:cubicBezTo>
                <a:cubicBezTo>
                  <a:pt x="4600615" y="864556"/>
                  <a:pt x="4604410" y="863046"/>
                  <a:pt x="4609021" y="863046"/>
                </a:cubicBezTo>
                <a:cubicBezTo>
                  <a:pt x="4613754" y="863046"/>
                  <a:pt x="4617508" y="864556"/>
                  <a:pt x="4620365" y="867615"/>
                </a:cubicBezTo>
                <a:cubicBezTo>
                  <a:pt x="4623221" y="870634"/>
                  <a:pt x="4624649" y="874632"/>
                  <a:pt x="4624649" y="879528"/>
                </a:cubicBezTo>
                <a:cubicBezTo>
                  <a:pt x="4624649" y="879528"/>
                  <a:pt x="4624649" y="879528"/>
                  <a:pt x="4624649" y="925342"/>
                </a:cubicBezTo>
                <a:cubicBezTo>
                  <a:pt x="4624649" y="926321"/>
                  <a:pt x="4625139" y="926810"/>
                  <a:pt x="4626118" y="926810"/>
                </a:cubicBezTo>
                <a:cubicBezTo>
                  <a:pt x="4626118" y="926810"/>
                  <a:pt x="4626118" y="926810"/>
                  <a:pt x="4637299" y="926810"/>
                </a:cubicBezTo>
                <a:cubicBezTo>
                  <a:pt x="4638279" y="926810"/>
                  <a:pt x="4638768" y="926321"/>
                  <a:pt x="4638768" y="925342"/>
                </a:cubicBezTo>
                <a:cubicBezTo>
                  <a:pt x="4638768" y="925342"/>
                  <a:pt x="4638768" y="925342"/>
                  <a:pt x="4638768" y="876754"/>
                </a:cubicBezTo>
                <a:cubicBezTo>
                  <a:pt x="4638768" y="868798"/>
                  <a:pt x="4636442" y="862475"/>
                  <a:pt x="4631709" y="857824"/>
                </a:cubicBezTo>
                <a:cubicBezTo>
                  <a:pt x="4626975" y="853133"/>
                  <a:pt x="4620610" y="850807"/>
                  <a:pt x="4612571" y="850807"/>
                </a:cubicBezTo>
                <a:close/>
                <a:moveTo>
                  <a:pt x="4529136" y="850807"/>
                </a:moveTo>
                <a:cubicBezTo>
                  <a:pt x="4521593" y="850807"/>
                  <a:pt x="4515151" y="852764"/>
                  <a:pt x="4509850" y="856677"/>
                </a:cubicBezTo>
                <a:cubicBezTo>
                  <a:pt x="4504550" y="860590"/>
                  <a:pt x="4501043" y="865930"/>
                  <a:pt x="4499249" y="872737"/>
                </a:cubicBezTo>
                <a:cubicBezTo>
                  <a:pt x="4498189" y="876446"/>
                  <a:pt x="4497659" y="881908"/>
                  <a:pt x="4497659" y="889041"/>
                </a:cubicBezTo>
                <a:cubicBezTo>
                  <a:pt x="4497659" y="897275"/>
                  <a:pt x="4498801" y="904286"/>
                  <a:pt x="4501166" y="910074"/>
                </a:cubicBezTo>
                <a:cubicBezTo>
                  <a:pt x="4503612" y="915863"/>
                  <a:pt x="4507322" y="920346"/>
                  <a:pt x="4512215" y="923485"/>
                </a:cubicBezTo>
                <a:cubicBezTo>
                  <a:pt x="4517108" y="926624"/>
                  <a:pt x="4523143" y="928172"/>
                  <a:pt x="4530319" y="928172"/>
                </a:cubicBezTo>
                <a:cubicBezTo>
                  <a:pt x="4536680" y="928172"/>
                  <a:pt x="4542388" y="926909"/>
                  <a:pt x="4547444" y="924341"/>
                </a:cubicBezTo>
                <a:cubicBezTo>
                  <a:pt x="4552500" y="921814"/>
                  <a:pt x="4556414" y="918349"/>
                  <a:pt x="4559187" y="913906"/>
                </a:cubicBezTo>
                <a:cubicBezTo>
                  <a:pt x="4559553" y="913213"/>
                  <a:pt x="4559390" y="912602"/>
                  <a:pt x="4558738" y="911990"/>
                </a:cubicBezTo>
                <a:cubicBezTo>
                  <a:pt x="4558738" y="911990"/>
                  <a:pt x="4558738" y="911990"/>
                  <a:pt x="4550339" y="906406"/>
                </a:cubicBezTo>
                <a:cubicBezTo>
                  <a:pt x="4549523" y="905713"/>
                  <a:pt x="4548911" y="905876"/>
                  <a:pt x="4548422" y="906854"/>
                </a:cubicBezTo>
                <a:cubicBezTo>
                  <a:pt x="4544508" y="912846"/>
                  <a:pt x="4538881" y="915822"/>
                  <a:pt x="4531624" y="915822"/>
                </a:cubicBezTo>
                <a:cubicBezTo>
                  <a:pt x="4526649" y="915822"/>
                  <a:pt x="4522490" y="914721"/>
                  <a:pt x="4519187" y="912520"/>
                </a:cubicBezTo>
                <a:cubicBezTo>
                  <a:pt x="4515926" y="910319"/>
                  <a:pt x="4513724" y="907262"/>
                  <a:pt x="4512664" y="903308"/>
                </a:cubicBezTo>
                <a:cubicBezTo>
                  <a:pt x="4512052" y="901555"/>
                  <a:pt x="4511767" y="898987"/>
                  <a:pt x="4511767" y="895686"/>
                </a:cubicBezTo>
                <a:cubicBezTo>
                  <a:pt x="4511767" y="895278"/>
                  <a:pt x="4511971" y="895074"/>
                  <a:pt x="4512378" y="895074"/>
                </a:cubicBezTo>
                <a:cubicBezTo>
                  <a:pt x="4512378" y="895074"/>
                  <a:pt x="4512378" y="895074"/>
                  <a:pt x="4559309" y="895074"/>
                </a:cubicBezTo>
                <a:cubicBezTo>
                  <a:pt x="4560287" y="895074"/>
                  <a:pt x="4560777" y="894585"/>
                  <a:pt x="4560777" y="893607"/>
                </a:cubicBezTo>
                <a:cubicBezTo>
                  <a:pt x="4560858" y="888593"/>
                  <a:pt x="4560736" y="884109"/>
                  <a:pt x="4560328" y="880074"/>
                </a:cubicBezTo>
                <a:cubicBezTo>
                  <a:pt x="4559268" y="870454"/>
                  <a:pt x="4556251" y="863199"/>
                  <a:pt x="4551358" y="858226"/>
                </a:cubicBezTo>
                <a:cubicBezTo>
                  <a:pt x="4546465" y="853253"/>
                  <a:pt x="4539045" y="850807"/>
                  <a:pt x="4529136" y="850807"/>
                </a:cubicBezTo>
                <a:close/>
                <a:moveTo>
                  <a:pt x="4411563" y="850807"/>
                </a:moveTo>
                <a:cubicBezTo>
                  <a:pt x="4403316" y="850807"/>
                  <a:pt x="4397028" y="853418"/>
                  <a:pt x="4392700" y="858640"/>
                </a:cubicBezTo>
                <a:cubicBezTo>
                  <a:pt x="4392496" y="858803"/>
                  <a:pt x="4392333" y="858885"/>
                  <a:pt x="4392169" y="858763"/>
                </a:cubicBezTo>
                <a:cubicBezTo>
                  <a:pt x="4392047" y="858681"/>
                  <a:pt x="4391965" y="858518"/>
                  <a:pt x="4391965" y="858314"/>
                </a:cubicBezTo>
                <a:cubicBezTo>
                  <a:pt x="4391965" y="858314"/>
                  <a:pt x="4391965" y="858314"/>
                  <a:pt x="4391965" y="853337"/>
                </a:cubicBezTo>
                <a:cubicBezTo>
                  <a:pt x="4391965" y="852357"/>
                  <a:pt x="4391475" y="851868"/>
                  <a:pt x="4390495" y="851868"/>
                </a:cubicBezTo>
                <a:cubicBezTo>
                  <a:pt x="4390495" y="851868"/>
                  <a:pt x="4390495" y="851868"/>
                  <a:pt x="4379308" y="851868"/>
                </a:cubicBezTo>
                <a:cubicBezTo>
                  <a:pt x="4378287" y="851868"/>
                  <a:pt x="4377797" y="852357"/>
                  <a:pt x="4377797" y="853337"/>
                </a:cubicBezTo>
                <a:cubicBezTo>
                  <a:pt x="4377797" y="853337"/>
                  <a:pt x="4377797" y="853337"/>
                  <a:pt x="4377797" y="925342"/>
                </a:cubicBezTo>
                <a:cubicBezTo>
                  <a:pt x="4377797" y="926321"/>
                  <a:pt x="4378287" y="926810"/>
                  <a:pt x="4379308" y="926810"/>
                </a:cubicBezTo>
                <a:cubicBezTo>
                  <a:pt x="4379308" y="926810"/>
                  <a:pt x="4379308" y="926810"/>
                  <a:pt x="4390495" y="926810"/>
                </a:cubicBezTo>
                <a:cubicBezTo>
                  <a:pt x="4391475" y="926810"/>
                  <a:pt x="4391965" y="926321"/>
                  <a:pt x="4391965" y="925342"/>
                </a:cubicBezTo>
                <a:cubicBezTo>
                  <a:pt x="4391965" y="925342"/>
                  <a:pt x="4391965" y="925342"/>
                  <a:pt x="4391965" y="878793"/>
                </a:cubicBezTo>
                <a:cubicBezTo>
                  <a:pt x="4391965" y="873980"/>
                  <a:pt x="4393313" y="870145"/>
                  <a:pt x="4396007" y="867330"/>
                </a:cubicBezTo>
                <a:cubicBezTo>
                  <a:pt x="4398702" y="864474"/>
                  <a:pt x="4402336" y="863046"/>
                  <a:pt x="4406868" y="863046"/>
                </a:cubicBezTo>
                <a:cubicBezTo>
                  <a:pt x="4411359" y="863046"/>
                  <a:pt x="4414993" y="864474"/>
                  <a:pt x="4417688" y="867370"/>
                </a:cubicBezTo>
                <a:cubicBezTo>
                  <a:pt x="4420382" y="870267"/>
                  <a:pt x="4421730" y="874183"/>
                  <a:pt x="4421730" y="879079"/>
                </a:cubicBezTo>
                <a:cubicBezTo>
                  <a:pt x="4421730" y="879079"/>
                  <a:pt x="4421730" y="879079"/>
                  <a:pt x="4421730" y="925342"/>
                </a:cubicBezTo>
                <a:cubicBezTo>
                  <a:pt x="4421730" y="926321"/>
                  <a:pt x="4422220" y="926810"/>
                  <a:pt x="4423200" y="926810"/>
                </a:cubicBezTo>
                <a:cubicBezTo>
                  <a:pt x="4423200" y="926810"/>
                  <a:pt x="4423200" y="926810"/>
                  <a:pt x="4434264" y="926810"/>
                </a:cubicBezTo>
                <a:cubicBezTo>
                  <a:pt x="4435244" y="926810"/>
                  <a:pt x="4435734" y="926321"/>
                  <a:pt x="4435734" y="925342"/>
                </a:cubicBezTo>
                <a:cubicBezTo>
                  <a:pt x="4435734" y="925342"/>
                  <a:pt x="4435734" y="925342"/>
                  <a:pt x="4435734" y="878793"/>
                </a:cubicBezTo>
                <a:cubicBezTo>
                  <a:pt x="4435734" y="873980"/>
                  <a:pt x="4437163" y="870145"/>
                  <a:pt x="4440021" y="867330"/>
                </a:cubicBezTo>
                <a:cubicBezTo>
                  <a:pt x="4442879" y="864474"/>
                  <a:pt x="4446554" y="863046"/>
                  <a:pt x="4451045" y="863046"/>
                </a:cubicBezTo>
                <a:cubicBezTo>
                  <a:pt x="4455577" y="863046"/>
                  <a:pt x="4459211" y="864474"/>
                  <a:pt x="4461906" y="867370"/>
                </a:cubicBezTo>
                <a:cubicBezTo>
                  <a:pt x="4464601" y="870267"/>
                  <a:pt x="4465948" y="874183"/>
                  <a:pt x="4465948" y="879079"/>
                </a:cubicBezTo>
                <a:cubicBezTo>
                  <a:pt x="4465948" y="879079"/>
                  <a:pt x="4465948" y="879079"/>
                  <a:pt x="4465948" y="925342"/>
                </a:cubicBezTo>
                <a:cubicBezTo>
                  <a:pt x="4465948" y="926321"/>
                  <a:pt x="4466438" y="926810"/>
                  <a:pt x="4467418" y="926810"/>
                </a:cubicBezTo>
                <a:cubicBezTo>
                  <a:pt x="4467418" y="926810"/>
                  <a:pt x="4467418" y="926810"/>
                  <a:pt x="4478482" y="926810"/>
                </a:cubicBezTo>
                <a:cubicBezTo>
                  <a:pt x="4479462" y="926810"/>
                  <a:pt x="4479952" y="926321"/>
                  <a:pt x="4479952" y="925342"/>
                </a:cubicBezTo>
                <a:cubicBezTo>
                  <a:pt x="4479952" y="925342"/>
                  <a:pt x="4479952" y="925342"/>
                  <a:pt x="4479952" y="876142"/>
                </a:cubicBezTo>
                <a:cubicBezTo>
                  <a:pt x="4479952" y="868186"/>
                  <a:pt x="4477788" y="861985"/>
                  <a:pt x="4473460" y="857539"/>
                </a:cubicBezTo>
                <a:cubicBezTo>
                  <a:pt x="4469132" y="853051"/>
                  <a:pt x="4463253" y="850807"/>
                  <a:pt x="4455781" y="850807"/>
                </a:cubicBezTo>
                <a:cubicBezTo>
                  <a:pt x="4451045" y="850807"/>
                  <a:pt x="4446758" y="851746"/>
                  <a:pt x="4442879" y="853622"/>
                </a:cubicBezTo>
                <a:cubicBezTo>
                  <a:pt x="4439000" y="855458"/>
                  <a:pt x="4435897" y="858314"/>
                  <a:pt x="4433529" y="862148"/>
                </a:cubicBezTo>
                <a:cubicBezTo>
                  <a:pt x="4433244" y="862557"/>
                  <a:pt x="4432917" y="862557"/>
                  <a:pt x="4432631" y="862148"/>
                </a:cubicBezTo>
                <a:cubicBezTo>
                  <a:pt x="4430671" y="858436"/>
                  <a:pt x="4427936" y="855621"/>
                  <a:pt x="4424384" y="853704"/>
                </a:cubicBezTo>
                <a:cubicBezTo>
                  <a:pt x="4420831" y="851786"/>
                  <a:pt x="4416585" y="850807"/>
                  <a:pt x="4411563" y="850807"/>
                </a:cubicBezTo>
                <a:close/>
                <a:moveTo>
                  <a:pt x="4247073" y="850807"/>
                </a:moveTo>
                <a:cubicBezTo>
                  <a:pt x="4239503" y="850807"/>
                  <a:pt x="4233037" y="852764"/>
                  <a:pt x="4227717" y="856677"/>
                </a:cubicBezTo>
                <a:cubicBezTo>
                  <a:pt x="4222397" y="860590"/>
                  <a:pt x="4218836" y="865930"/>
                  <a:pt x="4217077" y="872737"/>
                </a:cubicBezTo>
                <a:cubicBezTo>
                  <a:pt x="4216013" y="876446"/>
                  <a:pt x="4215440" y="881908"/>
                  <a:pt x="4215440" y="889041"/>
                </a:cubicBezTo>
                <a:cubicBezTo>
                  <a:pt x="4215440" y="897275"/>
                  <a:pt x="4216626" y="904286"/>
                  <a:pt x="4219000" y="910074"/>
                </a:cubicBezTo>
                <a:cubicBezTo>
                  <a:pt x="4221455" y="915863"/>
                  <a:pt x="4225139" y="920346"/>
                  <a:pt x="4230090" y="923485"/>
                </a:cubicBezTo>
                <a:cubicBezTo>
                  <a:pt x="4235001" y="926624"/>
                  <a:pt x="4241058" y="928172"/>
                  <a:pt x="4248260" y="928172"/>
                </a:cubicBezTo>
                <a:cubicBezTo>
                  <a:pt x="4254644" y="928172"/>
                  <a:pt x="4260374" y="926909"/>
                  <a:pt x="4265448" y="924341"/>
                </a:cubicBezTo>
                <a:cubicBezTo>
                  <a:pt x="4270523" y="921814"/>
                  <a:pt x="4274451" y="918349"/>
                  <a:pt x="4277193" y="913906"/>
                </a:cubicBezTo>
                <a:cubicBezTo>
                  <a:pt x="4277602" y="913213"/>
                  <a:pt x="4277439" y="912602"/>
                  <a:pt x="4276743" y="911990"/>
                </a:cubicBezTo>
                <a:cubicBezTo>
                  <a:pt x="4276743" y="911990"/>
                  <a:pt x="4276743" y="911990"/>
                  <a:pt x="4268354" y="906406"/>
                </a:cubicBezTo>
                <a:cubicBezTo>
                  <a:pt x="4267535" y="905713"/>
                  <a:pt x="4266921" y="905876"/>
                  <a:pt x="4266430" y="906854"/>
                </a:cubicBezTo>
                <a:cubicBezTo>
                  <a:pt x="4262501" y="912846"/>
                  <a:pt x="4256854" y="915822"/>
                  <a:pt x="4249570" y="915822"/>
                </a:cubicBezTo>
                <a:cubicBezTo>
                  <a:pt x="4244577" y="915822"/>
                  <a:pt x="4240403" y="914721"/>
                  <a:pt x="4237088" y="912520"/>
                </a:cubicBezTo>
                <a:cubicBezTo>
                  <a:pt x="4233814" y="910319"/>
                  <a:pt x="4231604" y="907262"/>
                  <a:pt x="4230540" y="903308"/>
                </a:cubicBezTo>
                <a:cubicBezTo>
                  <a:pt x="4229926" y="901555"/>
                  <a:pt x="4229640" y="898987"/>
                  <a:pt x="4229640" y="895686"/>
                </a:cubicBezTo>
                <a:cubicBezTo>
                  <a:pt x="4229640" y="895278"/>
                  <a:pt x="4229845" y="895074"/>
                  <a:pt x="4230213" y="895074"/>
                </a:cubicBezTo>
                <a:cubicBezTo>
                  <a:pt x="4230213" y="895074"/>
                  <a:pt x="4230213" y="895074"/>
                  <a:pt x="4277357" y="895074"/>
                </a:cubicBezTo>
                <a:cubicBezTo>
                  <a:pt x="4278339" y="895074"/>
                  <a:pt x="4278830" y="894585"/>
                  <a:pt x="4278830" y="893607"/>
                </a:cubicBezTo>
                <a:cubicBezTo>
                  <a:pt x="4278912" y="888593"/>
                  <a:pt x="4278789" y="884109"/>
                  <a:pt x="4278380" y="880074"/>
                </a:cubicBezTo>
                <a:cubicBezTo>
                  <a:pt x="4277316" y="870454"/>
                  <a:pt x="4274288" y="863199"/>
                  <a:pt x="4269377" y="858226"/>
                </a:cubicBezTo>
                <a:cubicBezTo>
                  <a:pt x="4264466" y="853253"/>
                  <a:pt x="4257018" y="850807"/>
                  <a:pt x="4247073" y="850807"/>
                </a:cubicBezTo>
                <a:close/>
                <a:moveTo>
                  <a:pt x="4171263" y="850807"/>
                </a:moveTo>
                <a:cubicBezTo>
                  <a:pt x="4163020" y="850807"/>
                  <a:pt x="4156777" y="853500"/>
                  <a:pt x="4152533" y="858926"/>
                </a:cubicBezTo>
                <a:cubicBezTo>
                  <a:pt x="4152451" y="859130"/>
                  <a:pt x="4152329" y="859170"/>
                  <a:pt x="4152207" y="859048"/>
                </a:cubicBezTo>
                <a:cubicBezTo>
                  <a:pt x="4152043" y="858967"/>
                  <a:pt x="4151962" y="858803"/>
                  <a:pt x="4151962" y="858640"/>
                </a:cubicBezTo>
                <a:cubicBezTo>
                  <a:pt x="4151962" y="858640"/>
                  <a:pt x="4151962" y="858640"/>
                  <a:pt x="4151962" y="853337"/>
                </a:cubicBezTo>
                <a:cubicBezTo>
                  <a:pt x="4151962" y="852357"/>
                  <a:pt x="4151472" y="851868"/>
                  <a:pt x="4150493" y="851868"/>
                </a:cubicBezTo>
                <a:cubicBezTo>
                  <a:pt x="4150493" y="851868"/>
                  <a:pt x="4150493" y="851868"/>
                  <a:pt x="4139312" y="851868"/>
                </a:cubicBezTo>
                <a:cubicBezTo>
                  <a:pt x="4138333" y="851868"/>
                  <a:pt x="4137802" y="852357"/>
                  <a:pt x="4137802" y="853337"/>
                </a:cubicBezTo>
                <a:cubicBezTo>
                  <a:pt x="4137802" y="853337"/>
                  <a:pt x="4137802" y="853337"/>
                  <a:pt x="4137802" y="925342"/>
                </a:cubicBezTo>
                <a:cubicBezTo>
                  <a:pt x="4137802" y="926321"/>
                  <a:pt x="4138333" y="926810"/>
                  <a:pt x="4139312" y="926810"/>
                </a:cubicBezTo>
                <a:cubicBezTo>
                  <a:pt x="4139312" y="926810"/>
                  <a:pt x="4139312" y="926810"/>
                  <a:pt x="4150493" y="926810"/>
                </a:cubicBezTo>
                <a:cubicBezTo>
                  <a:pt x="4151472" y="926810"/>
                  <a:pt x="4151962" y="926321"/>
                  <a:pt x="4151962" y="925342"/>
                </a:cubicBezTo>
                <a:cubicBezTo>
                  <a:pt x="4151962" y="925342"/>
                  <a:pt x="4151962" y="925342"/>
                  <a:pt x="4151962" y="879405"/>
                </a:cubicBezTo>
                <a:cubicBezTo>
                  <a:pt x="4151962" y="874592"/>
                  <a:pt x="4153431" y="870634"/>
                  <a:pt x="4156369" y="867615"/>
                </a:cubicBezTo>
                <a:cubicBezTo>
                  <a:pt x="4159348" y="864556"/>
                  <a:pt x="4163102" y="863046"/>
                  <a:pt x="4167713" y="863046"/>
                </a:cubicBezTo>
                <a:cubicBezTo>
                  <a:pt x="4172446" y="863046"/>
                  <a:pt x="4176201" y="864556"/>
                  <a:pt x="4179057" y="867615"/>
                </a:cubicBezTo>
                <a:cubicBezTo>
                  <a:pt x="4181913" y="870634"/>
                  <a:pt x="4183342" y="874632"/>
                  <a:pt x="4183342" y="879528"/>
                </a:cubicBezTo>
                <a:cubicBezTo>
                  <a:pt x="4183342" y="879528"/>
                  <a:pt x="4183342" y="879528"/>
                  <a:pt x="4183342" y="925342"/>
                </a:cubicBezTo>
                <a:cubicBezTo>
                  <a:pt x="4183342" y="926321"/>
                  <a:pt x="4183831" y="926810"/>
                  <a:pt x="4184811" y="926810"/>
                </a:cubicBezTo>
                <a:cubicBezTo>
                  <a:pt x="4184811" y="926810"/>
                  <a:pt x="4184811" y="926810"/>
                  <a:pt x="4195991" y="926810"/>
                </a:cubicBezTo>
                <a:cubicBezTo>
                  <a:pt x="4196971" y="926810"/>
                  <a:pt x="4197461" y="926321"/>
                  <a:pt x="4197461" y="925342"/>
                </a:cubicBezTo>
                <a:cubicBezTo>
                  <a:pt x="4197461" y="925342"/>
                  <a:pt x="4197461" y="925342"/>
                  <a:pt x="4197461" y="876754"/>
                </a:cubicBezTo>
                <a:cubicBezTo>
                  <a:pt x="4197461" y="868798"/>
                  <a:pt x="4195135" y="862475"/>
                  <a:pt x="4190401" y="857824"/>
                </a:cubicBezTo>
                <a:cubicBezTo>
                  <a:pt x="4185708" y="853133"/>
                  <a:pt x="4179302" y="850807"/>
                  <a:pt x="4171263" y="850807"/>
                </a:cubicBezTo>
                <a:close/>
                <a:moveTo>
                  <a:pt x="4032256" y="850807"/>
                </a:moveTo>
                <a:cubicBezTo>
                  <a:pt x="4024713" y="850807"/>
                  <a:pt x="4018270" y="852764"/>
                  <a:pt x="4012970" y="856677"/>
                </a:cubicBezTo>
                <a:cubicBezTo>
                  <a:pt x="4007669" y="860590"/>
                  <a:pt x="4004163" y="865930"/>
                  <a:pt x="4002369" y="872737"/>
                </a:cubicBezTo>
                <a:cubicBezTo>
                  <a:pt x="4001308" y="876446"/>
                  <a:pt x="4000779" y="881908"/>
                  <a:pt x="4000779" y="889041"/>
                </a:cubicBezTo>
                <a:cubicBezTo>
                  <a:pt x="4000779" y="897275"/>
                  <a:pt x="4001920" y="904286"/>
                  <a:pt x="4004285" y="910074"/>
                </a:cubicBezTo>
                <a:cubicBezTo>
                  <a:pt x="4006731" y="915863"/>
                  <a:pt x="4010401" y="920346"/>
                  <a:pt x="4015335" y="923485"/>
                </a:cubicBezTo>
                <a:cubicBezTo>
                  <a:pt x="4020228" y="926624"/>
                  <a:pt x="4026262" y="928172"/>
                  <a:pt x="4033438" y="928172"/>
                </a:cubicBezTo>
                <a:cubicBezTo>
                  <a:pt x="4039799" y="928172"/>
                  <a:pt x="4045508" y="926909"/>
                  <a:pt x="4050563" y="924341"/>
                </a:cubicBezTo>
                <a:cubicBezTo>
                  <a:pt x="4055619" y="921814"/>
                  <a:pt x="4059534" y="918349"/>
                  <a:pt x="4062266" y="913906"/>
                </a:cubicBezTo>
                <a:cubicBezTo>
                  <a:pt x="4062673" y="913213"/>
                  <a:pt x="4062510" y="912602"/>
                  <a:pt x="4061817" y="911990"/>
                </a:cubicBezTo>
                <a:cubicBezTo>
                  <a:pt x="4061817" y="911990"/>
                  <a:pt x="4061817" y="911990"/>
                  <a:pt x="4053459" y="906406"/>
                </a:cubicBezTo>
                <a:cubicBezTo>
                  <a:pt x="4052643" y="905713"/>
                  <a:pt x="4052031" y="905876"/>
                  <a:pt x="4051542" y="906854"/>
                </a:cubicBezTo>
                <a:cubicBezTo>
                  <a:pt x="4047628" y="912846"/>
                  <a:pt x="4042001" y="915822"/>
                  <a:pt x="4034743" y="915822"/>
                </a:cubicBezTo>
                <a:cubicBezTo>
                  <a:pt x="4029769" y="915822"/>
                  <a:pt x="4025610" y="914721"/>
                  <a:pt x="4022307" y="912520"/>
                </a:cubicBezTo>
                <a:cubicBezTo>
                  <a:pt x="4019045" y="910319"/>
                  <a:pt x="4016844" y="907262"/>
                  <a:pt x="4015783" y="903308"/>
                </a:cubicBezTo>
                <a:cubicBezTo>
                  <a:pt x="4015172" y="901555"/>
                  <a:pt x="4014886" y="898987"/>
                  <a:pt x="4014886" y="895686"/>
                </a:cubicBezTo>
                <a:cubicBezTo>
                  <a:pt x="4014886" y="895278"/>
                  <a:pt x="4015090" y="895074"/>
                  <a:pt x="4015457" y="895074"/>
                </a:cubicBezTo>
                <a:cubicBezTo>
                  <a:pt x="4015457" y="895074"/>
                  <a:pt x="4015457" y="895074"/>
                  <a:pt x="4062429" y="895074"/>
                </a:cubicBezTo>
                <a:cubicBezTo>
                  <a:pt x="4063407" y="895074"/>
                  <a:pt x="4063897" y="894585"/>
                  <a:pt x="4063897" y="893607"/>
                </a:cubicBezTo>
                <a:cubicBezTo>
                  <a:pt x="4063978" y="888593"/>
                  <a:pt x="4063856" y="884109"/>
                  <a:pt x="4063448" y="880074"/>
                </a:cubicBezTo>
                <a:cubicBezTo>
                  <a:pt x="4062388" y="870454"/>
                  <a:pt x="4059371" y="863199"/>
                  <a:pt x="4054478" y="858226"/>
                </a:cubicBezTo>
                <a:cubicBezTo>
                  <a:pt x="4049585" y="853253"/>
                  <a:pt x="4042164" y="850807"/>
                  <a:pt x="4032256" y="850807"/>
                </a:cubicBezTo>
                <a:close/>
                <a:moveTo>
                  <a:pt x="3902119" y="850807"/>
                </a:moveTo>
                <a:cubicBezTo>
                  <a:pt x="3893877" y="850807"/>
                  <a:pt x="3887633" y="853500"/>
                  <a:pt x="3883389" y="858926"/>
                </a:cubicBezTo>
                <a:cubicBezTo>
                  <a:pt x="3883308" y="859130"/>
                  <a:pt x="3883185" y="859170"/>
                  <a:pt x="3883022" y="859048"/>
                </a:cubicBezTo>
                <a:cubicBezTo>
                  <a:pt x="3882859" y="858967"/>
                  <a:pt x="3882818" y="858803"/>
                  <a:pt x="3882818" y="858640"/>
                </a:cubicBezTo>
                <a:cubicBezTo>
                  <a:pt x="3882818" y="858640"/>
                  <a:pt x="3882818" y="858640"/>
                  <a:pt x="3882818" y="853337"/>
                </a:cubicBezTo>
                <a:cubicBezTo>
                  <a:pt x="3882818" y="852357"/>
                  <a:pt x="3882329" y="851868"/>
                  <a:pt x="3881349" y="851868"/>
                </a:cubicBezTo>
                <a:cubicBezTo>
                  <a:pt x="3881349" y="851868"/>
                  <a:pt x="3881349" y="851868"/>
                  <a:pt x="3870127" y="851868"/>
                </a:cubicBezTo>
                <a:cubicBezTo>
                  <a:pt x="3869148" y="851868"/>
                  <a:pt x="3868658" y="852357"/>
                  <a:pt x="3868658" y="853337"/>
                </a:cubicBezTo>
                <a:cubicBezTo>
                  <a:pt x="3868658" y="853337"/>
                  <a:pt x="3868658" y="853337"/>
                  <a:pt x="3868658" y="925342"/>
                </a:cubicBezTo>
                <a:cubicBezTo>
                  <a:pt x="3868658" y="926321"/>
                  <a:pt x="3869148" y="926810"/>
                  <a:pt x="3870127" y="926810"/>
                </a:cubicBezTo>
                <a:cubicBezTo>
                  <a:pt x="3870127" y="926810"/>
                  <a:pt x="3870127" y="926810"/>
                  <a:pt x="3881349" y="926810"/>
                </a:cubicBezTo>
                <a:cubicBezTo>
                  <a:pt x="3882329" y="926810"/>
                  <a:pt x="3882818" y="926321"/>
                  <a:pt x="3882818" y="925342"/>
                </a:cubicBezTo>
                <a:cubicBezTo>
                  <a:pt x="3882818" y="925342"/>
                  <a:pt x="3882818" y="925342"/>
                  <a:pt x="3882818" y="879405"/>
                </a:cubicBezTo>
                <a:cubicBezTo>
                  <a:pt x="3882818" y="874592"/>
                  <a:pt x="3884287" y="870634"/>
                  <a:pt x="3887225" y="867615"/>
                </a:cubicBezTo>
                <a:cubicBezTo>
                  <a:pt x="3890163" y="864556"/>
                  <a:pt x="3893958" y="863046"/>
                  <a:pt x="3898569" y="863046"/>
                </a:cubicBezTo>
                <a:cubicBezTo>
                  <a:pt x="3903303" y="863046"/>
                  <a:pt x="3907057" y="864556"/>
                  <a:pt x="3909913" y="867615"/>
                </a:cubicBezTo>
                <a:cubicBezTo>
                  <a:pt x="3912770" y="870634"/>
                  <a:pt x="3914198" y="874632"/>
                  <a:pt x="3914198" y="879528"/>
                </a:cubicBezTo>
                <a:cubicBezTo>
                  <a:pt x="3914198" y="879528"/>
                  <a:pt x="3914198" y="879528"/>
                  <a:pt x="3914198" y="925342"/>
                </a:cubicBezTo>
                <a:cubicBezTo>
                  <a:pt x="3914198" y="926321"/>
                  <a:pt x="3914687" y="926810"/>
                  <a:pt x="3915667" y="926810"/>
                </a:cubicBezTo>
                <a:cubicBezTo>
                  <a:pt x="3915667" y="926810"/>
                  <a:pt x="3915667" y="926810"/>
                  <a:pt x="3926848" y="926810"/>
                </a:cubicBezTo>
                <a:cubicBezTo>
                  <a:pt x="3927827" y="926810"/>
                  <a:pt x="3928317" y="926321"/>
                  <a:pt x="3928317" y="925342"/>
                </a:cubicBezTo>
                <a:cubicBezTo>
                  <a:pt x="3928317" y="925342"/>
                  <a:pt x="3928317" y="925342"/>
                  <a:pt x="3928317" y="876754"/>
                </a:cubicBezTo>
                <a:cubicBezTo>
                  <a:pt x="3928317" y="868798"/>
                  <a:pt x="3925950" y="862475"/>
                  <a:pt x="3921257" y="857824"/>
                </a:cubicBezTo>
                <a:cubicBezTo>
                  <a:pt x="3916524" y="853133"/>
                  <a:pt x="3910158" y="850807"/>
                  <a:pt x="3902119" y="850807"/>
                </a:cubicBezTo>
                <a:close/>
                <a:moveTo>
                  <a:pt x="3956148" y="832283"/>
                </a:moveTo>
                <a:cubicBezTo>
                  <a:pt x="3955165" y="832283"/>
                  <a:pt x="3954674" y="832773"/>
                  <a:pt x="3954674" y="833754"/>
                </a:cubicBezTo>
                <a:cubicBezTo>
                  <a:pt x="3954674" y="833754"/>
                  <a:pt x="3954674" y="833754"/>
                  <a:pt x="3954674" y="851153"/>
                </a:cubicBezTo>
                <a:cubicBezTo>
                  <a:pt x="3954674" y="851562"/>
                  <a:pt x="3954469" y="851725"/>
                  <a:pt x="3954100" y="851725"/>
                </a:cubicBezTo>
                <a:cubicBezTo>
                  <a:pt x="3954100" y="851725"/>
                  <a:pt x="3954100" y="851725"/>
                  <a:pt x="3945088" y="851725"/>
                </a:cubicBezTo>
                <a:cubicBezTo>
                  <a:pt x="3944104" y="851725"/>
                  <a:pt x="3943572" y="852256"/>
                  <a:pt x="3943572" y="853236"/>
                </a:cubicBezTo>
                <a:cubicBezTo>
                  <a:pt x="3943572" y="853236"/>
                  <a:pt x="3943572" y="853236"/>
                  <a:pt x="3943572" y="861936"/>
                </a:cubicBezTo>
                <a:cubicBezTo>
                  <a:pt x="3943572" y="862916"/>
                  <a:pt x="3944104" y="863406"/>
                  <a:pt x="3945088" y="863406"/>
                </a:cubicBezTo>
                <a:cubicBezTo>
                  <a:pt x="3945088" y="863406"/>
                  <a:pt x="3945088" y="863406"/>
                  <a:pt x="3954100" y="863406"/>
                </a:cubicBezTo>
                <a:cubicBezTo>
                  <a:pt x="3954469" y="863406"/>
                  <a:pt x="3954674" y="863611"/>
                  <a:pt x="3954674" y="863978"/>
                </a:cubicBezTo>
                <a:cubicBezTo>
                  <a:pt x="3954674" y="863978"/>
                  <a:pt x="3954674" y="863978"/>
                  <a:pt x="3954674" y="908050"/>
                </a:cubicBezTo>
                <a:cubicBezTo>
                  <a:pt x="3954674" y="915361"/>
                  <a:pt x="3956599" y="920344"/>
                  <a:pt x="3960368" y="923039"/>
                </a:cubicBezTo>
                <a:cubicBezTo>
                  <a:pt x="3964178" y="925735"/>
                  <a:pt x="3969831" y="927083"/>
                  <a:pt x="3977328" y="927083"/>
                </a:cubicBezTo>
                <a:cubicBezTo>
                  <a:pt x="3978680" y="927083"/>
                  <a:pt x="3980974" y="927001"/>
                  <a:pt x="3984129" y="926797"/>
                </a:cubicBezTo>
                <a:cubicBezTo>
                  <a:pt x="3985112" y="926797"/>
                  <a:pt x="3985603" y="926307"/>
                  <a:pt x="3985603" y="925327"/>
                </a:cubicBezTo>
                <a:cubicBezTo>
                  <a:pt x="3985603" y="925327"/>
                  <a:pt x="3985603" y="925327"/>
                  <a:pt x="3985603" y="916177"/>
                </a:cubicBezTo>
                <a:cubicBezTo>
                  <a:pt x="3985603" y="915197"/>
                  <a:pt x="3985112" y="914707"/>
                  <a:pt x="3984129" y="914707"/>
                </a:cubicBezTo>
                <a:cubicBezTo>
                  <a:pt x="3984129" y="914707"/>
                  <a:pt x="3984129" y="914707"/>
                  <a:pt x="3979827" y="914707"/>
                </a:cubicBezTo>
                <a:cubicBezTo>
                  <a:pt x="3975894" y="914707"/>
                  <a:pt x="3972986" y="913808"/>
                  <a:pt x="3971101" y="911971"/>
                </a:cubicBezTo>
                <a:cubicBezTo>
                  <a:pt x="3969217" y="910173"/>
                  <a:pt x="3968274" y="907192"/>
                  <a:pt x="3968274" y="903066"/>
                </a:cubicBezTo>
                <a:cubicBezTo>
                  <a:pt x="3968274" y="903066"/>
                  <a:pt x="3968274" y="903066"/>
                  <a:pt x="3968274" y="863978"/>
                </a:cubicBezTo>
                <a:cubicBezTo>
                  <a:pt x="3968274" y="863611"/>
                  <a:pt x="3968480" y="863406"/>
                  <a:pt x="3968889" y="863406"/>
                </a:cubicBezTo>
                <a:cubicBezTo>
                  <a:pt x="3968889" y="863406"/>
                  <a:pt x="3968889" y="863406"/>
                  <a:pt x="3984866" y="863406"/>
                </a:cubicBezTo>
                <a:cubicBezTo>
                  <a:pt x="3985849" y="863406"/>
                  <a:pt x="3986341" y="862916"/>
                  <a:pt x="3986341" y="861936"/>
                </a:cubicBezTo>
                <a:cubicBezTo>
                  <a:pt x="3986341" y="861936"/>
                  <a:pt x="3986341" y="861936"/>
                  <a:pt x="3986341" y="853236"/>
                </a:cubicBezTo>
                <a:cubicBezTo>
                  <a:pt x="3986341" y="852256"/>
                  <a:pt x="3985849" y="851725"/>
                  <a:pt x="3984866" y="851725"/>
                </a:cubicBezTo>
                <a:cubicBezTo>
                  <a:pt x="3984866" y="851725"/>
                  <a:pt x="3984866" y="851725"/>
                  <a:pt x="3968889" y="851725"/>
                </a:cubicBezTo>
                <a:cubicBezTo>
                  <a:pt x="3968480" y="851725"/>
                  <a:pt x="3968274" y="851562"/>
                  <a:pt x="3968274" y="851153"/>
                </a:cubicBezTo>
                <a:cubicBezTo>
                  <a:pt x="3968274" y="851153"/>
                  <a:pt x="3968274" y="851153"/>
                  <a:pt x="3968274" y="833754"/>
                </a:cubicBezTo>
                <a:cubicBezTo>
                  <a:pt x="3968274" y="832773"/>
                  <a:pt x="3967783" y="832283"/>
                  <a:pt x="3966800" y="832283"/>
                </a:cubicBezTo>
                <a:cubicBezTo>
                  <a:pt x="3966800" y="832283"/>
                  <a:pt x="3966800" y="832283"/>
                  <a:pt x="3956148" y="832283"/>
                </a:cubicBezTo>
                <a:close/>
                <a:moveTo>
                  <a:pt x="4298905" y="823838"/>
                </a:moveTo>
                <a:cubicBezTo>
                  <a:pt x="4297925" y="823838"/>
                  <a:pt x="4297436" y="824327"/>
                  <a:pt x="4297436" y="825305"/>
                </a:cubicBezTo>
                <a:cubicBezTo>
                  <a:pt x="4297436" y="825305"/>
                  <a:pt x="4297436" y="825305"/>
                  <a:pt x="4297436" y="925343"/>
                </a:cubicBezTo>
                <a:cubicBezTo>
                  <a:pt x="4297436" y="926321"/>
                  <a:pt x="4297925" y="926810"/>
                  <a:pt x="4298905" y="926810"/>
                </a:cubicBezTo>
                <a:cubicBezTo>
                  <a:pt x="4298905" y="926810"/>
                  <a:pt x="4298905" y="926810"/>
                  <a:pt x="4310086" y="926810"/>
                </a:cubicBezTo>
                <a:cubicBezTo>
                  <a:pt x="4311065" y="926810"/>
                  <a:pt x="4311555" y="926321"/>
                  <a:pt x="4311555" y="925343"/>
                </a:cubicBezTo>
                <a:cubicBezTo>
                  <a:pt x="4311555" y="925343"/>
                  <a:pt x="4311555" y="925343"/>
                  <a:pt x="4311555" y="879460"/>
                </a:cubicBezTo>
                <a:cubicBezTo>
                  <a:pt x="4311555" y="874652"/>
                  <a:pt x="4313064" y="870699"/>
                  <a:pt x="4316002" y="867684"/>
                </a:cubicBezTo>
                <a:cubicBezTo>
                  <a:pt x="4318941" y="864628"/>
                  <a:pt x="4322735" y="863120"/>
                  <a:pt x="4327347" y="863120"/>
                </a:cubicBezTo>
                <a:cubicBezTo>
                  <a:pt x="4332039" y="863120"/>
                  <a:pt x="4335834" y="864628"/>
                  <a:pt x="4338691" y="867684"/>
                </a:cubicBezTo>
                <a:cubicBezTo>
                  <a:pt x="4341506" y="870699"/>
                  <a:pt x="4342935" y="874693"/>
                  <a:pt x="4342935" y="879583"/>
                </a:cubicBezTo>
                <a:cubicBezTo>
                  <a:pt x="4342935" y="879583"/>
                  <a:pt x="4342935" y="879583"/>
                  <a:pt x="4342935" y="925343"/>
                </a:cubicBezTo>
                <a:cubicBezTo>
                  <a:pt x="4342935" y="926321"/>
                  <a:pt x="4343424" y="926810"/>
                  <a:pt x="4344404" y="926810"/>
                </a:cubicBezTo>
                <a:cubicBezTo>
                  <a:pt x="4344404" y="926810"/>
                  <a:pt x="4344404" y="926810"/>
                  <a:pt x="4355625" y="926810"/>
                </a:cubicBezTo>
                <a:cubicBezTo>
                  <a:pt x="4356605" y="926810"/>
                  <a:pt x="4357094" y="926321"/>
                  <a:pt x="4357094" y="925343"/>
                </a:cubicBezTo>
                <a:cubicBezTo>
                  <a:pt x="4357094" y="925343"/>
                  <a:pt x="4357094" y="925343"/>
                  <a:pt x="4357094" y="876812"/>
                </a:cubicBezTo>
                <a:cubicBezTo>
                  <a:pt x="4357094" y="868866"/>
                  <a:pt x="4354727" y="862550"/>
                  <a:pt x="4350035" y="857904"/>
                </a:cubicBezTo>
                <a:cubicBezTo>
                  <a:pt x="4345301" y="853218"/>
                  <a:pt x="4338935" y="850895"/>
                  <a:pt x="4330856" y="850895"/>
                </a:cubicBezTo>
                <a:cubicBezTo>
                  <a:pt x="4322613" y="850895"/>
                  <a:pt x="4316370" y="853585"/>
                  <a:pt x="4312167" y="859005"/>
                </a:cubicBezTo>
                <a:cubicBezTo>
                  <a:pt x="4312044" y="859208"/>
                  <a:pt x="4311922" y="859249"/>
                  <a:pt x="4311799" y="859127"/>
                </a:cubicBezTo>
                <a:cubicBezTo>
                  <a:pt x="4311636" y="859045"/>
                  <a:pt x="4311555" y="858882"/>
                  <a:pt x="4311555" y="858719"/>
                </a:cubicBezTo>
                <a:cubicBezTo>
                  <a:pt x="4311555" y="858719"/>
                  <a:pt x="4311555" y="858719"/>
                  <a:pt x="4311555" y="825305"/>
                </a:cubicBezTo>
                <a:cubicBezTo>
                  <a:pt x="4311555" y="824327"/>
                  <a:pt x="4311065" y="823838"/>
                  <a:pt x="4310086" y="823838"/>
                </a:cubicBezTo>
                <a:cubicBezTo>
                  <a:pt x="4310086" y="823838"/>
                  <a:pt x="4310086" y="823838"/>
                  <a:pt x="4298905" y="823838"/>
                </a:cubicBezTo>
                <a:close/>
                <a:moveTo>
                  <a:pt x="5130473" y="821114"/>
                </a:moveTo>
                <a:cubicBezTo>
                  <a:pt x="5127707" y="821114"/>
                  <a:pt x="5125437" y="821981"/>
                  <a:pt x="5123621" y="823797"/>
                </a:cubicBezTo>
                <a:cubicBezTo>
                  <a:pt x="5121847" y="825572"/>
                  <a:pt x="5120938" y="827842"/>
                  <a:pt x="5120938" y="830648"/>
                </a:cubicBezTo>
                <a:cubicBezTo>
                  <a:pt x="5120938" y="833414"/>
                  <a:pt x="5121847" y="835684"/>
                  <a:pt x="5123621" y="837500"/>
                </a:cubicBezTo>
                <a:cubicBezTo>
                  <a:pt x="5125437" y="839275"/>
                  <a:pt x="5127707" y="840183"/>
                  <a:pt x="5130473" y="840183"/>
                </a:cubicBezTo>
                <a:cubicBezTo>
                  <a:pt x="5133279" y="840183"/>
                  <a:pt x="5135550" y="839275"/>
                  <a:pt x="5137366" y="837500"/>
                </a:cubicBezTo>
                <a:cubicBezTo>
                  <a:pt x="5139141" y="835684"/>
                  <a:pt x="5140007" y="833414"/>
                  <a:pt x="5140007" y="830648"/>
                </a:cubicBezTo>
                <a:cubicBezTo>
                  <a:pt x="5140007" y="827842"/>
                  <a:pt x="5139141" y="825572"/>
                  <a:pt x="5137366" y="823797"/>
                </a:cubicBezTo>
                <a:cubicBezTo>
                  <a:pt x="5135550" y="821981"/>
                  <a:pt x="5133279" y="821114"/>
                  <a:pt x="5130473" y="821114"/>
                </a:cubicBezTo>
                <a:close/>
                <a:moveTo>
                  <a:pt x="3282317" y="615715"/>
                </a:moveTo>
                <a:cubicBezTo>
                  <a:pt x="3282317" y="615715"/>
                  <a:pt x="3282317" y="615715"/>
                  <a:pt x="3320081" y="615715"/>
                </a:cubicBezTo>
                <a:cubicBezTo>
                  <a:pt x="3323296" y="615715"/>
                  <a:pt x="3324923" y="617186"/>
                  <a:pt x="3324923" y="620167"/>
                </a:cubicBezTo>
                <a:cubicBezTo>
                  <a:pt x="3324923" y="620167"/>
                  <a:pt x="3324923" y="620167"/>
                  <a:pt x="3324923" y="716580"/>
                </a:cubicBezTo>
                <a:cubicBezTo>
                  <a:pt x="3324923" y="720297"/>
                  <a:pt x="3321871" y="723318"/>
                  <a:pt x="3318128" y="723237"/>
                </a:cubicBezTo>
                <a:cubicBezTo>
                  <a:pt x="3310436" y="723114"/>
                  <a:pt x="3312349" y="722992"/>
                  <a:pt x="3297170" y="722992"/>
                </a:cubicBezTo>
                <a:cubicBezTo>
                  <a:pt x="3297170" y="722992"/>
                  <a:pt x="3297170" y="722992"/>
                  <a:pt x="3282317" y="722992"/>
                </a:cubicBezTo>
                <a:cubicBezTo>
                  <a:pt x="3273731" y="722992"/>
                  <a:pt x="3267708" y="721236"/>
                  <a:pt x="3264249" y="717724"/>
                </a:cubicBezTo>
                <a:cubicBezTo>
                  <a:pt x="3260749" y="714253"/>
                  <a:pt x="3259000" y="708209"/>
                  <a:pt x="3259000" y="699593"/>
                </a:cubicBezTo>
                <a:cubicBezTo>
                  <a:pt x="3259000" y="699593"/>
                  <a:pt x="3259000" y="699593"/>
                  <a:pt x="3259000" y="639523"/>
                </a:cubicBezTo>
                <a:cubicBezTo>
                  <a:pt x="3259000" y="630907"/>
                  <a:pt x="3260749" y="624781"/>
                  <a:pt x="3264249" y="621147"/>
                </a:cubicBezTo>
                <a:cubicBezTo>
                  <a:pt x="3267708" y="617553"/>
                  <a:pt x="3273731" y="615715"/>
                  <a:pt x="3282317" y="615715"/>
                </a:cubicBezTo>
                <a:close/>
                <a:moveTo>
                  <a:pt x="4217847" y="598281"/>
                </a:moveTo>
                <a:cubicBezTo>
                  <a:pt x="4217847" y="598281"/>
                  <a:pt x="4217847" y="598281"/>
                  <a:pt x="4245994" y="598281"/>
                </a:cubicBezTo>
                <a:cubicBezTo>
                  <a:pt x="4268470" y="598281"/>
                  <a:pt x="4279729" y="609798"/>
                  <a:pt x="4279729" y="632832"/>
                </a:cubicBezTo>
                <a:cubicBezTo>
                  <a:pt x="4279729" y="632832"/>
                  <a:pt x="4279729" y="632832"/>
                  <a:pt x="4279729" y="717330"/>
                </a:cubicBezTo>
                <a:cubicBezTo>
                  <a:pt x="4279729" y="740405"/>
                  <a:pt x="4268470" y="751921"/>
                  <a:pt x="4245994" y="751921"/>
                </a:cubicBezTo>
                <a:cubicBezTo>
                  <a:pt x="4245994" y="751921"/>
                  <a:pt x="4245994" y="751921"/>
                  <a:pt x="4217847" y="751921"/>
                </a:cubicBezTo>
                <a:cubicBezTo>
                  <a:pt x="4195371" y="751921"/>
                  <a:pt x="4184112" y="740405"/>
                  <a:pt x="4184112" y="717330"/>
                </a:cubicBezTo>
                <a:cubicBezTo>
                  <a:pt x="4184112" y="717330"/>
                  <a:pt x="4184112" y="717330"/>
                  <a:pt x="4184112" y="632832"/>
                </a:cubicBezTo>
                <a:cubicBezTo>
                  <a:pt x="4184112" y="609798"/>
                  <a:pt x="4195371" y="598281"/>
                  <a:pt x="4217847" y="598281"/>
                </a:cubicBezTo>
                <a:close/>
                <a:moveTo>
                  <a:pt x="4816003" y="598009"/>
                </a:moveTo>
                <a:cubicBezTo>
                  <a:pt x="4816003" y="598009"/>
                  <a:pt x="4816003" y="598009"/>
                  <a:pt x="4872311" y="598009"/>
                </a:cubicBezTo>
                <a:cubicBezTo>
                  <a:pt x="4875006" y="598009"/>
                  <a:pt x="4876312" y="599236"/>
                  <a:pt x="4876312" y="601649"/>
                </a:cubicBezTo>
                <a:cubicBezTo>
                  <a:pt x="4876312" y="601649"/>
                  <a:pt x="4876312" y="601649"/>
                  <a:pt x="4876312" y="714865"/>
                </a:cubicBezTo>
                <a:cubicBezTo>
                  <a:pt x="4876312" y="726685"/>
                  <a:pt x="4873127" y="735806"/>
                  <a:pt x="4866676" y="742269"/>
                </a:cubicBezTo>
                <a:cubicBezTo>
                  <a:pt x="4860224" y="748690"/>
                  <a:pt x="4850996" y="751921"/>
                  <a:pt x="4838910" y="751921"/>
                </a:cubicBezTo>
                <a:cubicBezTo>
                  <a:pt x="4838910" y="751921"/>
                  <a:pt x="4838910" y="751921"/>
                  <a:pt x="4816003" y="751921"/>
                </a:cubicBezTo>
                <a:cubicBezTo>
                  <a:pt x="4793749" y="751921"/>
                  <a:pt x="4782602" y="740224"/>
                  <a:pt x="4782602" y="716869"/>
                </a:cubicBezTo>
                <a:cubicBezTo>
                  <a:pt x="4782602" y="716869"/>
                  <a:pt x="4782602" y="716869"/>
                  <a:pt x="4782602" y="633061"/>
                </a:cubicBezTo>
                <a:cubicBezTo>
                  <a:pt x="4782602" y="609706"/>
                  <a:pt x="4793749" y="598009"/>
                  <a:pt x="4816003" y="598009"/>
                </a:cubicBezTo>
                <a:close/>
                <a:moveTo>
                  <a:pt x="5269374" y="572402"/>
                </a:moveTo>
                <a:cubicBezTo>
                  <a:pt x="5264557" y="572402"/>
                  <a:pt x="5261331" y="574158"/>
                  <a:pt x="5259739" y="577629"/>
                </a:cubicBezTo>
                <a:cubicBezTo>
                  <a:pt x="5259739" y="577629"/>
                  <a:pt x="5259739" y="577629"/>
                  <a:pt x="5202620" y="667716"/>
                </a:cubicBezTo>
                <a:cubicBezTo>
                  <a:pt x="5201028" y="670698"/>
                  <a:pt x="5201028" y="673515"/>
                  <a:pt x="5202620" y="676170"/>
                </a:cubicBezTo>
                <a:cubicBezTo>
                  <a:pt x="5202620" y="676170"/>
                  <a:pt x="5202620" y="676170"/>
                  <a:pt x="5264557" y="771893"/>
                </a:cubicBezTo>
                <a:cubicBezTo>
                  <a:pt x="5266965" y="775691"/>
                  <a:pt x="5270721" y="777528"/>
                  <a:pt x="5275825" y="777528"/>
                </a:cubicBezTo>
                <a:cubicBezTo>
                  <a:pt x="5275825" y="777528"/>
                  <a:pt x="5275825" y="777528"/>
                  <a:pt x="5294688" y="777528"/>
                </a:cubicBezTo>
                <a:cubicBezTo>
                  <a:pt x="5296852" y="777528"/>
                  <a:pt x="5298321" y="776957"/>
                  <a:pt x="5299138" y="775731"/>
                </a:cubicBezTo>
                <a:cubicBezTo>
                  <a:pt x="5299914" y="774547"/>
                  <a:pt x="5299791" y="772995"/>
                  <a:pt x="5298730" y="771117"/>
                </a:cubicBezTo>
                <a:cubicBezTo>
                  <a:pt x="5298730" y="771117"/>
                  <a:pt x="5298730" y="771117"/>
                  <a:pt x="5233568" y="672168"/>
                </a:cubicBezTo>
                <a:cubicBezTo>
                  <a:pt x="5233568" y="672168"/>
                  <a:pt x="5233568" y="672168"/>
                  <a:pt x="5233568" y="670534"/>
                </a:cubicBezTo>
                <a:cubicBezTo>
                  <a:pt x="5233568" y="670534"/>
                  <a:pt x="5233568" y="670534"/>
                  <a:pt x="5292687" y="578854"/>
                </a:cubicBezTo>
                <a:cubicBezTo>
                  <a:pt x="5294035" y="576976"/>
                  <a:pt x="5294361" y="575424"/>
                  <a:pt x="5293708" y="574199"/>
                </a:cubicBezTo>
                <a:cubicBezTo>
                  <a:pt x="5293055" y="573014"/>
                  <a:pt x="5291626" y="572402"/>
                  <a:pt x="5289462" y="572402"/>
                </a:cubicBezTo>
                <a:cubicBezTo>
                  <a:pt x="5289462" y="572402"/>
                  <a:pt x="5289462" y="572402"/>
                  <a:pt x="5269374" y="572402"/>
                </a:cubicBezTo>
                <a:close/>
                <a:moveTo>
                  <a:pt x="5091035" y="572402"/>
                </a:moveTo>
                <a:cubicBezTo>
                  <a:pt x="5087557" y="572402"/>
                  <a:pt x="5085797" y="574280"/>
                  <a:pt x="5085797" y="578037"/>
                </a:cubicBezTo>
                <a:cubicBezTo>
                  <a:pt x="5085797" y="578037"/>
                  <a:pt x="5085797" y="578037"/>
                  <a:pt x="5085797" y="771934"/>
                </a:cubicBezTo>
                <a:cubicBezTo>
                  <a:pt x="5085797" y="775691"/>
                  <a:pt x="5087679" y="777528"/>
                  <a:pt x="5091444" y="777528"/>
                </a:cubicBezTo>
                <a:cubicBezTo>
                  <a:pt x="5091444" y="777528"/>
                  <a:pt x="5091444" y="777528"/>
                  <a:pt x="5109612" y="777528"/>
                </a:cubicBezTo>
                <a:cubicBezTo>
                  <a:pt x="5113335" y="777528"/>
                  <a:pt x="5115218" y="775691"/>
                  <a:pt x="5115218" y="771934"/>
                </a:cubicBezTo>
                <a:cubicBezTo>
                  <a:pt x="5115218" y="771934"/>
                  <a:pt x="5115218" y="771934"/>
                  <a:pt x="5115218" y="578037"/>
                </a:cubicBezTo>
                <a:cubicBezTo>
                  <a:pt x="5115218" y="574280"/>
                  <a:pt x="5113335" y="572402"/>
                  <a:pt x="5109612" y="572402"/>
                </a:cubicBezTo>
                <a:cubicBezTo>
                  <a:pt x="5109612" y="572402"/>
                  <a:pt x="5109612" y="572402"/>
                  <a:pt x="5091035" y="572402"/>
                </a:cubicBezTo>
                <a:close/>
                <a:moveTo>
                  <a:pt x="4812764" y="572402"/>
                </a:moveTo>
                <a:cubicBezTo>
                  <a:pt x="4794252" y="572402"/>
                  <a:pt x="4779703" y="577629"/>
                  <a:pt x="4769119" y="588084"/>
                </a:cubicBezTo>
                <a:cubicBezTo>
                  <a:pt x="4758494" y="598538"/>
                  <a:pt x="4753182" y="613157"/>
                  <a:pt x="4753182" y="631943"/>
                </a:cubicBezTo>
                <a:cubicBezTo>
                  <a:pt x="4753182" y="631943"/>
                  <a:pt x="4753182" y="631943"/>
                  <a:pt x="4753182" y="718028"/>
                </a:cubicBezTo>
                <a:cubicBezTo>
                  <a:pt x="4753182" y="736772"/>
                  <a:pt x="4758494" y="751392"/>
                  <a:pt x="4769119" y="761847"/>
                </a:cubicBezTo>
                <a:cubicBezTo>
                  <a:pt x="4779703" y="772301"/>
                  <a:pt x="4794252" y="777528"/>
                  <a:pt x="4812764" y="777528"/>
                </a:cubicBezTo>
                <a:cubicBezTo>
                  <a:pt x="4812764" y="777528"/>
                  <a:pt x="4812764" y="777528"/>
                  <a:pt x="4833687" y="777528"/>
                </a:cubicBezTo>
                <a:cubicBezTo>
                  <a:pt x="4854365" y="777528"/>
                  <a:pt x="4868055" y="770422"/>
                  <a:pt x="4874757" y="756211"/>
                </a:cubicBezTo>
                <a:cubicBezTo>
                  <a:pt x="4874757" y="756211"/>
                  <a:pt x="4874757" y="756211"/>
                  <a:pt x="4876350" y="756211"/>
                </a:cubicBezTo>
                <a:cubicBezTo>
                  <a:pt x="4876350" y="756211"/>
                  <a:pt x="4876350" y="756211"/>
                  <a:pt x="4876350" y="771934"/>
                </a:cubicBezTo>
                <a:cubicBezTo>
                  <a:pt x="4876350" y="775691"/>
                  <a:pt x="4878230" y="777528"/>
                  <a:pt x="4881990" y="777528"/>
                </a:cubicBezTo>
                <a:cubicBezTo>
                  <a:pt x="4881990" y="777528"/>
                  <a:pt x="4881990" y="777528"/>
                  <a:pt x="4900134" y="777528"/>
                </a:cubicBezTo>
                <a:cubicBezTo>
                  <a:pt x="4903853" y="777528"/>
                  <a:pt x="4905733" y="775691"/>
                  <a:pt x="4905733" y="771934"/>
                </a:cubicBezTo>
                <a:cubicBezTo>
                  <a:pt x="4905733" y="771934"/>
                  <a:pt x="4905733" y="771934"/>
                  <a:pt x="4905733" y="578037"/>
                </a:cubicBezTo>
                <a:cubicBezTo>
                  <a:pt x="4905733" y="574280"/>
                  <a:pt x="4903853" y="572402"/>
                  <a:pt x="4900134" y="572402"/>
                </a:cubicBezTo>
                <a:cubicBezTo>
                  <a:pt x="4900134" y="572402"/>
                  <a:pt x="4900134" y="572402"/>
                  <a:pt x="4812764" y="572402"/>
                </a:cubicBezTo>
                <a:close/>
                <a:moveTo>
                  <a:pt x="4467331" y="572402"/>
                </a:moveTo>
                <a:cubicBezTo>
                  <a:pt x="4463577" y="572402"/>
                  <a:pt x="4461700" y="574280"/>
                  <a:pt x="4461700" y="578037"/>
                </a:cubicBezTo>
                <a:cubicBezTo>
                  <a:pt x="4461700" y="578037"/>
                  <a:pt x="4461700" y="578037"/>
                  <a:pt x="4461700" y="771893"/>
                </a:cubicBezTo>
                <a:cubicBezTo>
                  <a:pt x="4461700" y="775691"/>
                  <a:pt x="4463577" y="777528"/>
                  <a:pt x="4467331" y="777528"/>
                </a:cubicBezTo>
                <a:cubicBezTo>
                  <a:pt x="4467331" y="777528"/>
                  <a:pt x="4467331" y="777528"/>
                  <a:pt x="4485405" y="777528"/>
                </a:cubicBezTo>
                <a:cubicBezTo>
                  <a:pt x="4489159" y="777528"/>
                  <a:pt x="4491035" y="775691"/>
                  <a:pt x="4491035" y="771893"/>
                </a:cubicBezTo>
                <a:cubicBezTo>
                  <a:pt x="4491035" y="771893"/>
                  <a:pt x="4491035" y="771893"/>
                  <a:pt x="4491035" y="635169"/>
                </a:cubicBezTo>
                <a:cubicBezTo>
                  <a:pt x="4491035" y="623367"/>
                  <a:pt x="4494258" y="614260"/>
                  <a:pt x="4500664" y="607808"/>
                </a:cubicBezTo>
                <a:cubicBezTo>
                  <a:pt x="4507110" y="601356"/>
                  <a:pt x="4516331" y="598170"/>
                  <a:pt x="4528408" y="598170"/>
                </a:cubicBezTo>
                <a:cubicBezTo>
                  <a:pt x="4528408" y="598170"/>
                  <a:pt x="4528408" y="598170"/>
                  <a:pt x="4543259" y="598170"/>
                </a:cubicBezTo>
                <a:cubicBezTo>
                  <a:pt x="4565780" y="598170"/>
                  <a:pt x="4577041" y="609809"/>
                  <a:pt x="4577041" y="633127"/>
                </a:cubicBezTo>
                <a:cubicBezTo>
                  <a:pt x="4577041" y="633127"/>
                  <a:pt x="4577041" y="633127"/>
                  <a:pt x="4577041" y="771893"/>
                </a:cubicBezTo>
                <a:cubicBezTo>
                  <a:pt x="4577041" y="775691"/>
                  <a:pt x="4578918" y="777528"/>
                  <a:pt x="4582671" y="777528"/>
                </a:cubicBezTo>
                <a:cubicBezTo>
                  <a:pt x="4582671" y="777528"/>
                  <a:pt x="4582671" y="777528"/>
                  <a:pt x="4600745" y="777528"/>
                </a:cubicBezTo>
                <a:cubicBezTo>
                  <a:pt x="4604499" y="777528"/>
                  <a:pt x="4606376" y="775691"/>
                  <a:pt x="4606376" y="771893"/>
                </a:cubicBezTo>
                <a:cubicBezTo>
                  <a:pt x="4606376" y="771893"/>
                  <a:pt x="4606376" y="771893"/>
                  <a:pt x="4606376" y="636353"/>
                </a:cubicBezTo>
                <a:cubicBezTo>
                  <a:pt x="4606376" y="624551"/>
                  <a:pt x="4609640" y="615240"/>
                  <a:pt x="4616208" y="608420"/>
                </a:cubicBezTo>
                <a:cubicBezTo>
                  <a:pt x="4622777" y="601560"/>
                  <a:pt x="4632080" y="598170"/>
                  <a:pt x="4644156" y="598170"/>
                </a:cubicBezTo>
                <a:cubicBezTo>
                  <a:pt x="4644156" y="598170"/>
                  <a:pt x="4644156" y="598170"/>
                  <a:pt x="4657416" y="598170"/>
                </a:cubicBezTo>
                <a:cubicBezTo>
                  <a:pt x="4679897" y="598170"/>
                  <a:pt x="4691157" y="609809"/>
                  <a:pt x="4691157" y="633127"/>
                </a:cubicBezTo>
                <a:cubicBezTo>
                  <a:pt x="4691157" y="633127"/>
                  <a:pt x="4691157" y="633127"/>
                  <a:pt x="4691157" y="771893"/>
                </a:cubicBezTo>
                <a:cubicBezTo>
                  <a:pt x="4691157" y="775691"/>
                  <a:pt x="4693034" y="777528"/>
                  <a:pt x="4696788" y="777528"/>
                </a:cubicBezTo>
                <a:cubicBezTo>
                  <a:pt x="4696788" y="777528"/>
                  <a:pt x="4696788" y="777528"/>
                  <a:pt x="4714862" y="777528"/>
                </a:cubicBezTo>
                <a:cubicBezTo>
                  <a:pt x="4718615" y="777528"/>
                  <a:pt x="4720492" y="775691"/>
                  <a:pt x="4720492" y="771893"/>
                </a:cubicBezTo>
                <a:cubicBezTo>
                  <a:pt x="4720492" y="771893"/>
                  <a:pt x="4720492" y="771893"/>
                  <a:pt x="4720492" y="631943"/>
                </a:cubicBezTo>
                <a:cubicBezTo>
                  <a:pt x="4720492" y="613157"/>
                  <a:pt x="4715392" y="598538"/>
                  <a:pt x="4705233" y="588084"/>
                </a:cubicBezTo>
                <a:cubicBezTo>
                  <a:pt x="4695033" y="577629"/>
                  <a:pt x="4680835" y="572402"/>
                  <a:pt x="4662638" y="572402"/>
                </a:cubicBezTo>
                <a:cubicBezTo>
                  <a:pt x="4662638" y="572402"/>
                  <a:pt x="4662638" y="572402"/>
                  <a:pt x="4648562" y="572402"/>
                </a:cubicBezTo>
                <a:cubicBezTo>
                  <a:pt x="4638363" y="572402"/>
                  <a:pt x="4628652" y="574770"/>
                  <a:pt x="4619431" y="579426"/>
                </a:cubicBezTo>
                <a:cubicBezTo>
                  <a:pt x="4610170" y="584122"/>
                  <a:pt x="4603397" y="590901"/>
                  <a:pt x="4599154" y="599763"/>
                </a:cubicBezTo>
                <a:cubicBezTo>
                  <a:pt x="4590015" y="581508"/>
                  <a:pt x="4573654" y="572402"/>
                  <a:pt x="4550113" y="572402"/>
                </a:cubicBezTo>
                <a:cubicBezTo>
                  <a:pt x="4550113" y="572402"/>
                  <a:pt x="4550113" y="572402"/>
                  <a:pt x="4535221" y="572402"/>
                </a:cubicBezTo>
                <a:cubicBezTo>
                  <a:pt x="4514332" y="572402"/>
                  <a:pt x="4500134" y="579507"/>
                  <a:pt x="4492627" y="593719"/>
                </a:cubicBezTo>
                <a:cubicBezTo>
                  <a:pt x="4492627" y="593719"/>
                  <a:pt x="4492627" y="593719"/>
                  <a:pt x="4491035" y="593719"/>
                </a:cubicBezTo>
                <a:cubicBezTo>
                  <a:pt x="4491035" y="593719"/>
                  <a:pt x="4491035" y="593719"/>
                  <a:pt x="4491035" y="578037"/>
                </a:cubicBezTo>
                <a:cubicBezTo>
                  <a:pt x="4491035" y="574280"/>
                  <a:pt x="4489159" y="572402"/>
                  <a:pt x="4485405" y="572402"/>
                </a:cubicBezTo>
                <a:cubicBezTo>
                  <a:pt x="4485405" y="572402"/>
                  <a:pt x="4485405" y="572402"/>
                  <a:pt x="4467331" y="572402"/>
                </a:cubicBezTo>
                <a:close/>
                <a:moveTo>
                  <a:pt x="4346327" y="572402"/>
                </a:moveTo>
                <a:cubicBezTo>
                  <a:pt x="4342581" y="572402"/>
                  <a:pt x="4340749" y="574280"/>
                  <a:pt x="4340749" y="578037"/>
                </a:cubicBezTo>
                <a:cubicBezTo>
                  <a:pt x="4340749" y="578037"/>
                  <a:pt x="4340749" y="578037"/>
                  <a:pt x="4340749" y="771893"/>
                </a:cubicBezTo>
                <a:cubicBezTo>
                  <a:pt x="4340749" y="775691"/>
                  <a:pt x="4342581" y="777528"/>
                  <a:pt x="4346327" y="777528"/>
                </a:cubicBezTo>
                <a:cubicBezTo>
                  <a:pt x="4346327" y="777528"/>
                  <a:pt x="4346327" y="777528"/>
                  <a:pt x="4364404" y="777528"/>
                </a:cubicBezTo>
                <a:cubicBezTo>
                  <a:pt x="4368109" y="777528"/>
                  <a:pt x="4369982" y="775691"/>
                  <a:pt x="4369982" y="771893"/>
                </a:cubicBezTo>
                <a:cubicBezTo>
                  <a:pt x="4369982" y="771893"/>
                  <a:pt x="4369982" y="771893"/>
                  <a:pt x="4369982" y="638763"/>
                </a:cubicBezTo>
                <a:cubicBezTo>
                  <a:pt x="4369982" y="626185"/>
                  <a:pt x="4373198" y="616261"/>
                  <a:pt x="4379631" y="609033"/>
                </a:cubicBezTo>
                <a:cubicBezTo>
                  <a:pt x="4386063" y="601764"/>
                  <a:pt x="4395265" y="598170"/>
                  <a:pt x="4407316" y="598170"/>
                </a:cubicBezTo>
                <a:cubicBezTo>
                  <a:pt x="4407316" y="598170"/>
                  <a:pt x="4407316" y="598170"/>
                  <a:pt x="4428975" y="598170"/>
                </a:cubicBezTo>
                <a:cubicBezTo>
                  <a:pt x="4430808" y="598415"/>
                  <a:pt x="4432151" y="598088"/>
                  <a:pt x="4432965" y="597149"/>
                </a:cubicBezTo>
                <a:cubicBezTo>
                  <a:pt x="4433780" y="596210"/>
                  <a:pt x="4434187" y="594781"/>
                  <a:pt x="4434187" y="592902"/>
                </a:cubicBezTo>
                <a:cubicBezTo>
                  <a:pt x="4434187" y="592902"/>
                  <a:pt x="4434187" y="592902"/>
                  <a:pt x="4434187" y="578037"/>
                </a:cubicBezTo>
                <a:cubicBezTo>
                  <a:pt x="4434187" y="574280"/>
                  <a:pt x="4432436" y="572402"/>
                  <a:pt x="4428975" y="572402"/>
                </a:cubicBezTo>
                <a:cubicBezTo>
                  <a:pt x="4428975" y="572402"/>
                  <a:pt x="4428975" y="572402"/>
                  <a:pt x="4413301" y="572402"/>
                </a:cubicBezTo>
                <a:cubicBezTo>
                  <a:pt x="4403163" y="572402"/>
                  <a:pt x="4394328" y="574566"/>
                  <a:pt x="4386837" y="578854"/>
                </a:cubicBezTo>
                <a:cubicBezTo>
                  <a:pt x="4379346" y="583142"/>
                  <a:pt x="4374297" y="588247"/>
                  <a:pt x="4371610" y="594127"/>
                </a:cubicBezTo>
                <a:cubicBezTo>
                  <a:pt x="4371610" y="594127"/>
                  <a:pt x="4371610" y="594127"/>
                  <a:pt x="4369982" y="594127"/>
                </a:cubicBezTo>
                <a:cubicBezTo>
                  <a:pt x="4369982" y="594127"/>
                  <a:pt x="4369982" y="594127"/>
                  <a:pt x="4369982" y="578037"/>
                </a:cubicBezTo>
                <a:cubicBezTo>
                  <a:pt x="4369982" y="574280"/>
                  <a:pt x="4368109" y="572402"/>
                  <a:pt x="4364404" y="572402"/>
                </a:cubicBezTo>
                <a:cubicBezTo>
                  <a:pt x="4364404" y="572402"/>
                  <a:pt x="4364404" y="572402"/>
                  <a:pt x="4346327" y="572402"/>
                </a:cubicBezTo>
                <a:close/>
                <a:moveTo>
                  <a:pt x="4214635" y="572402"/>
                </a:moveTo>
                <a:cubicBezTo>
                  <a:pt x="4196167" y="572402"/>
                  <a:pt x="4181654" y="577629"/>
                  <a:pt x="4171095" y="588084"/>
                </a:cubicBezTo>
                <a:cubicBezTo>
                  <a:pt x="4160495" y="598538"/>
                  <a:pt x="4155236" y="613157"/>
                  <a:pt x="4155236" y="631943"/>
                </a:cubicBezTo>
                <a:cubicBezTo>
                  <a:pt x="4155236" y="631943"/>
                  <a:pt x="4155236" y="631943"/>
                  <a:pt x="4155236" y="718028"/>
                </a:cubicBezTo>
                <a:cubicBezTo>
                  <a:pt x="4155236" y="736772"/>
                  <a:pt x="4160495" y="751392"/>
                  <a:pt x="4171095" y="761847"/>
                </a:cubicBezTo>
                <a:cubicBezTo>
                  <a:pt x="4181654" y="772301"/>
                  <a:pt x="4196167" y="777528"/>
                  <a:pt x="4214635" y="777528"/>
                </a:cubicBezTo>
                <a:cubicBezTo>
                  <a:pt x="4214635" y="777528"/>
                  <a:pt x="4214635" y="777528"/>
                  <a:pt x="4249165" y="777528"/>
                </a:cubicBezTo>
                <a:cubicBezTo>
                  <a:pt x="4267633" y="777528"/>
                  <a:pt x="4282187" y="772301"/>
                  <a:pt x="4292746" y="761847"/>
                </a:cubicBezTo>
                <a:cubicBezTo>
                  <a:pt x="4303305" y="751392"/>
                  <a:pt x="4308605" y="736772"/>
                  <a:pt x="4308605" y="718028"/>
                </a:cubicBezTo>
                <a:cubicBezTo>
                  <a:pt x="4308605" y="718028"/>
                  <a:pt x="4308605" y="718028"/>
                  <a:pt x="4308605" y="631943"/>
                </a:cubicBezTo>
                <a:cubicBezTo>
                  <a:pt x="4308605" y="613157"/>
                  <a:pt x="4303305" y="598538"/>
                  <a:pt x="4292746" y="588084"/>
                </a:cubicBezTo>
                <a:cubicBezTo>
                  <a:pt x="4282187" y="577629"/>
                  <a:pt x="4267633" y="572402"/>
                  <a:pt x="4249165" y="572402"/>
                </a:cubicBezTo>
                <a:cubicBezTo>
                  <a:pt x="4249165" y="572402"/>
                  <a:pt x="4249165" y="572402"/>
                  <a:pt x="4214635" y="572402"/>
                </a:cubicBezTo>
                <a:close/>
                <a:moveTo>
                  <a:pt x="3862029" y="572402"/>
                </a:moveTo>
                <a:cubicBezTo>
                  <a:pt x="3858276" y="572402"/>
                  <a:pt x="3856400" y="574280"/>
                  <a:pt x="3856400" y="578037"/>
                </a:cubicBezTo>
                <a:cubicBezTo>
                  <a:pt x="3856400" y="578037"/>
                  <a:pt x="3856400" y="578037"/>
                  <a:pt x="3856400" y="771893"/>
                </a:cubicBezTo>
                <a:cubicBezTo>
                  <a:pt x="3856400" y="775691"/>
                  <a:pt x="3858276" y="777528"/>
                  <a:pt x="3862029" y="777528"/>
                </a:cubicBezTo>
                <a:cubicBezTo>
                  <a:pt x="3862029" y="777528"/>
                  <a:pt x="3862029" y="777528"/>
                  <a:pt x="3880100" y="777528"/>
                </a:cubicBezTo>
                <a:cubicBezTo>
                  <a:pt x="3883853" y="777528"/>
                  <a:pt x="3885730" y="775691"/>
                  <a:pt x="3885730" y="771893"/>
                </a:cubicBezTo>
                <a:cubicBezTo>
                  <a:pt x="3885730" y="771893"/>
                  <a:pt x="3885730" y="771893"/>
                  <a:pt x="3885730" y="635169"/>
                </a:cubicBezTo>
                <a:cubicBezTo>
                  <a:pt x="3885730" y="623367"/>
                  <a:pt x="3888953" y="614260"/>
                  <a:pt x="3895357" y="607808"/>
                </a:cubicBezTo>
                <a:cubicBezTo>
                  <a:pt x="3901802" y="601356"/>
                  <a:pt x="3911021" y="598170"/>
                  <a:pt x="3923096" y="598170"/>
                </a:cubicBezTo>
                <a:cubicBezTo>
                  <a:pt x="3923096" y="598170"/>
                  <a:pt x="3923096" y="598170"/>
                  <a:pt x="3945613" y="598170"/>
                </a:cubicBezTo>
                <a:cubicBezTo>
                  <a:pt x="3968090" y="598170"/>
                  <a:pt x="3979349" y="609809"/>
                  <a:pt x="3979349" y="633127"/>
                </a:cubicBezTo>
                <a:cubicBezTo>
                  <a:pt x="3979349" y="633127"/>
                  <a:pt x="3979349" y="633127"/>
                  <a:pt x="3979349" y="771893"/>
                </a:cubicBezTo>
                <a:cubicBezTo>
                  <a:pt x="3979349" y="775691"/>
                  <a:pt x="3981225" y="777528"/>
                  <a:pt x="3984978" y="777528"/>
                </a:cubicBezTo>
                <a:cubicBezTo>
                  <a:pt x="3984978" y="777528"/>
                  <a:pt x="3984978" y="777528"/>
                  <a:pt x="4003049" y="777528"/>
                </a:cubicBezTo>
                <a:cubicBezTo>
                  <a:pt x="4006802" y="777528"/>
                  <a:pt x="4008678" y="775691"/>
                  <a:pt x="4008678" y="771893"/>
                </a:cubicBezTo>
                <a:cubicBezTo>
                  <a:pt x="4008678" y="771893"/>
                  <a:pt x="4008678" y="771893"/>
                  <a:pt x="4008678" y="631943"/>
                </a:cubicBezTo>
                <a:cubicBezTo>
                  <a:pt x="4008678" y="613157"/>
                  <a:pt x="4003580" y="598538"/>
                  <a:pt x="3993422" y="588084"/>
                </a:cubicBezTo>
                <a:cubicBezTo>
                  <a:pt x="3983224" y="577629"/>
                  <a:pt x="3969028" y="572402"/>
                  <a:pt x="3950835" y="572402"/>
                </a:cubicBezTo>
                <a:cubicBezTo>
                  <a:pt x="3950835" y="572402"/>
                  <a:pt x="3950835" y="572402"/>
                  <a:pt x="3928317" y="572402"/>
                </a:cubicBezTo>
                <a:cubicBezTo>
                  <a:pt x="3907676" y="572402"/>
                  <a:pt x="3894011" y="579507"/>
                  <a:pt x="3887321" y="593719"/>
                </a:cubicBezTo>
                <a:cubicBezTo>
                  <a:pt x="3887321" y="593719"/>
                  <a:pt x="3887321" y="593719"/>
                  <a:pt x="3885730" y="593719"/>
                </a:cubicBezTo>
                <a:cubicBezTo>
                  <a:pt x="3885730" y="593719"/>
                  <a:pt x="3885730" y="593719"/>
                  <a:pt x="3885730" y="578037"/>
                </a:cubicBezTo>
                <a:cubicBezTo>
                  <a:pt x="3885730" y="574280"/>
                  <a:pt x="3883853" y="572402"/>
                  <a:pt x="3880100" y="572402"/>
                </a:cubicBezTo>
                <a:cubicBezTo>
                  <a:pt x="3880100" y="572402"/>
                  <a:pt x="3880100" y="572402"/>
                  <a:pt x="3862029" y="572402"/>
                </a:cubicBezTo>
                <a:close/>
                <a:moveTo>
                  <a:pt x="3794352" y="572402"/>
                </a:moveTo>
                <a:cubicBezTo>
                  <a:pt x="3790833" y="572402"/>
                  <a:pt x="3789114" y="574280"/>
                  <a:pt x="3789114" y="578037"/>
                </a:cubicBezTo>
                <a:cubicBezTo>
                  <a:pt x="3789114" y="578037"/>
                  <a:pt x="3789114" y="578037"/>
                  <a:pt x="3789114" y="771934"/>
                </a:cubicBezTo>
                <a:cubicBezTo>
                  <a:pt x="3789114" y="775691"/>
                  <a:pt x="3790996" y="777528"/>
                  <a:pt x="3794761" y="777528"/>
                </a:cubicBezTo>
                <a:cubicBezTo>
                  <a:pt x="3794761" y="777528"/>
                  <a:pt x="3794761" y="777528"/>
                  <a:pt x="3812888" y="777528"/>
                </a:cubicBezTo>
                <a:cubicBezTo>
                  <a:pt x="3816652" y="777528"/>
                  <a:pt x="3818535" y="775691"/>
                  <a:pt x="3818535" y="771934"/>
                </a:cubicBezTo>
                <a:cubicBezTo>
                  <a:pt x="3818535" y="771934"/>
                  <a:pt x="3818535" y="771934"/>
                  <a:pt x="3818535" y="578037"/>
                </a:cubicBezTo>
                <a:cubicBezTo>
                  <a:pt x="3818535" y="574280"/>
                  <a:pt x="3816652" y="572402"/>
                  <a:pt x="3812888" y="572402"/>
                </a:cubicBezTo>
                <a:cubicBezTo>
                  <a:pt x="3812888" y="572402"/>
                  <a:pt x="3812888" y="572402"/>
                  <a:pt x="3794352" y="572402"/>
                </a:cubicBezTo>
                <a:close/>
                <a:moveTo>
                  <a:pt x="3517798" y="571312"/>
                </a:moveTo>
                <a:cubicBezTo>
                  <a:pt x="3512164" y="571312"/>
                  <a:pt x="3510164" y="574130"/>
                  <a:pt x="3511756" y="579766"/>
                </a:cubicBezTo>
                <a:cubicBezTo>
                  <a:pt x="3511756" y="579766"/>
                  <a:pt x="3511756" y="579766"/>
                  <a:pt x="3562174" y="768121"/>
                </a:cubicBezTo>
                <a:cubicBezTo>
                  <a:pt x="3563766" y="774043"/>
                  <a:pt x="3567399" y="776984"/>
                  <a:pt x="3573033" y="776984"/>
                </a:cubicBezTo>
                <a:cubicBezTo>
                  <a:pt x="3573033" y="776984"/>
                  <a:pt x="3573033" y="776984"/>
                  <a:pt x="3624227" y="776984"/>
                </a:cubicBezTo>
                <a:cubicBezTo>
                  <a:pt x="3630432" y="776984"/>
                  <a:pt x="3634025" y="774043"/>
                  <a:pt x="3635127" y="768121"/>
                </a:cubicBezTo>
                <a:cubicBezTo>
                  <a:pt x="3635127" y="768121"/>
                  <a:pt x="3635127" y="768121"/>
                  <a:pt x="3685912" y="579766"/>
                </a:cubicBezTo>
                <a:cubicBezTo>
                  <a:pt x="3687504" y="574130"/>
                  <a:pt x="3685504" y="571312"/>
                  <a:pt x="3679870" y="571312"/>
                </a:cubicBezTo>
                <a:cubicBezTo>
                  <a:pt x="3679870" y="571312"/>
                  <a:pt x="3679870" y="571312"/>
                  <a:pt x="3644394" y="571312"/>
                </a:cubicBezTo>
                <a:cubicBezTo>
                  <a:pt x="3638760" y="571312"/>
                  <a:pt x="3635372" y="574130"/>
                  <a:pt x="3634310" y="579766"/>
                </a:cubicBezTo>
                <a:cubicBezTo>
                  <a:pt x="3634310" y="579766"/>
                  <a:pt x="3634310" y="579766"/>
                  <a:pt x="3600467" y="731406"/>
                </a:cubicBezTo>
                <a:cubicBezTo>
                  <a:pt x="3600467" y="731406"/>
                  <a:pt x="3600467" y="731406"/>
                  <a:pt x="3597609" y="731406"/>
                </a:cubicBezTo>
                <a:cubicBezTo>
                  <a:pt x="3597609" y="731406"/>
                  <a:pt x="3597609" y="731406"/>
                  <a:pt x="3562950" y="579766"/>
                </a:cubicBezTo>
                <a:cubicBezTo>
                  <a:pt x="3561888" y="574130"/>
                  <a:pt x="3558663" y="571312"/>
                  <a:pt x="3553274" y="571312"/>
                </a:cubicBezTo>
                <a:cubicBezTo>
                  <a:pt x="3553274" y="571312"/>
                  <a:pt x="3553274" y="571312"/>
                  <a:pt x="3517798" y="571312"/>
                </a:cubicBezTo>
                <a:close/>
                <a:moveTo>
                  <a:pt x="3453993" y="571312"/>
                </a:moveTo>
                <a:cubicBezTo>
                  <a:pt x="3447828" y="571312"/>
                  <a:pt x="3443255" y="574008"/>
                  <a:pt x="3440315" y="579358"/>
                </a:cubicBezTo>
                <a:cubicBezTo>
                  <a:pt x="3440315" y="579358"/>
                  <a:pt x="3440315" y="579358"/>
                  <a:pt x="3391935" y="665286"/>
                </a:cubicBezTo>
                <a:cubicBezTo>
                  <a:pt x="3389485" y="669860"/>
                  <a:pt x="3389485" y="674271"/>
                  <a:pt x="3391935" y="678600"/>
                </a:cubicBezTo>
                <a:cubicBezTo>
                  <a:pt x="3391935" y="678600"/>
                  <a:pt x="3391935" y="678600"/>
                  <a:pt x="3443133" y="768489"/>
                </a:cubicBezTo>
                <a:cubicBezTo>
                  <a:pt x="3445256" y="772001"/>
                  <a:pt x="3447379" y="774288"/>
                  <a:pt x="3449379" y="775350"/>
                </a:cubicBezTo>
                <a:cubicBezTo>
                  <a:pt x="3451380" y="776453"/>
                  <a:pt x="3454687" y="776984"/>
                  <a:pt x="3459259" y="776984"/>
                </a:cubicBezTo>
                <a:cubicBezTo>
                  <a:pt x="3459259" y="776984"/>
                  <a:pt x="3459259" y="776984"/>
                  <a:pt x="3493922" y="776984"/>
                </a:cubicBezTo>
                <a:cubicBezTo>
                  <a:pt x="3497392" y="776984"/>
                  <a:pt x="3499842" y="775963"/>
                  <a:pt x="3501189" y="773962"/>
                </a:cubicBezTo>
                <a:cubicBezTo>
                  <a:pt x="3502536" y="771920"/>
                  <a:pt x="3502373" y="769592"/>
                  <a:pt x="3500781" y="766896"/>
                </a:cubicBezTo>
                <a:cubicBezTo>
                  <a:pt x="3500781" y="766896"/>
                  <a:pt x="3500781" y="766896"/>
                  <a:pt x="3444725" y="671330"/>
                </a:cubicBezTo>
                <a:cubicBezTo>
                  <a:pt x="3444725" y="671330"/>
                  <a:pt x="3444725" y="671330"/>
                  <a:pt x="3444725" y="669697"/>
                </a:cubicBezTo>
                <a:cubicBezTo>
                  <a:pt x="3444725" y="669697"/>
                  <a:pt x="3444725" y="669697"/>
                  <a:pt x="3498372" y="581400"/>
                </a:cubicBezTo>
                <a:cubicBezTo>
                  <a:pt x="3500209" y="578459"/>
                  <a:pt x="3500617" y="576009"/>
                  <a:pt x="3499556" y="574130"/>
                </a:cubicBezTo>
                <a:cubicBezTo>
                  <a:pt x="3498494" y="572252"/>
                  <a:pt x="3496331" y="571312"/>
                  <a:pt x="3493105" y="571312"/>
                </a:cubicBezTo>
                <a:cubicBezTo>
                  <a:pt x="3493105" y="571312"/>
                  <a:pt x="3493105" y="571312"/>
                  <a:pt x="3453993" y="571312"/>
                </a:cubicBezTo>
                <a:close/>
                <a:moveTo>
                  <a:pt x="3274237" y="571312"/>
                </a:moveTo>
                <a:cubicBezTo>
                  <a:pt x="3253025" y="571312"/>
                  <a:pt x="3236626" y="576950"/>
                  <a:pt x="3225082" y="588266"/>
                </a:cubicBezTo>
                <a:cubicBezTo>
                  <a:pt x="3213538" y="599541"/>
                  <a:pt x="3207786" y="615841"/>
                  <a:pt x="3207786" y="637043"/>
                </a:cubicBezTo>
                <a:cubicBezTo>
                  <a:pt x="3207786" y="637043"/>
                  <a:pt x="3207786" y="637043"/>
                  <a:pt x="3207786" y="701997"/>
                </a:cubicBezTo>
                <a:cubicBezTo>
                  <a:pt x="3207786" y="723240"/>
                  <a:pt x="3213048" y="739499"/>
                  <a:pt x="3223654" y="750815"/>
                </a:cubicBezTo>
                <a:cubicBezTo>
                  <a:pt x="3234260" y="762090"/>
                  <a:pt x="3249925" y="767768"/>
                  <a:pt x="3270606" y="767768"/>
                </a:cubicBezTo>
                <a:cubicBezTo>
                  <a:pt x="3270606" y="767768"/>
                  <a:pt x="3270606" y="767768"/>
                  <a:pt x="3283905" y="767932"/>
                </a:cubicBezTo>
                <a:cubicBezTo>
                  <a:pt x="3292308" y="767809"/>
                  <a:pt x="3299243" y="767972"/>
                  <a:pt x="3307646" y="767932"/>
                </a:cubicBezTo>
                <a:cubicBezTo>
                  <a:pt x="3313765" y="767891"/>
                  <a:pt x="3316457" y="767932"/>
                  <a:pt x="3323351" y="767891"/>
                </a:cubicBezTo>
                <a:cubicBezTo>
                  <a:pt x="3323351" y="767891"/>
                  <a:pt x="3323351" y="767891"/>
                  <a:pt x="3324983" y="767891"/>
                </a:cubicBezTo>
                <a:cubicBezTo>
                  <a:pt x="3324983" y="767891"/>
                  <a:pt x="3324983" y="767891"/>
                  <a:pt x="3324983" y="776224"/>
                </a:cubicBezTo>
                <a:cubicBezTo>
                  <a:pt x="3324983" y="784558"/>
                  <a:pt x="3323147" y="790563"/>
                  <a:pt x="3319558" y="794199"/>
                </a:cubicBezTo>
                <a:cubicBezTo>
                  <a:pt x="3315886" y="797794"/>
                  <a:pt x="3309808" y="799632"/>
                  <a:pt x="3301201" y="799632"/>
                </a:cubicBezTo>
                <a:cubicBezTo>
                  <a:pt x="3301201" y="799632"/>
                  <a:pt x="3301201" y="799632"/>
                  <a:pt x="3232343" y="799632"/>
                </a:cubicBezTo>
                <a:cubicBezTo>
                  <a:pt x="3226673" y="799632"/>
                  <a:pt x="3223858" y="802451"/>
                  <a:pt x="3223858" y="808089"/>
                </a:cubicBezTo>
                <a:cubicBezTo>
                  <a:pt x="3223858" y="808089"/>
                  <a:pt x="3223858" y="808089"/>
                  <a:pt x="3223858" y="835909"/>
                </a:cubicBezTo>
                <a:cubicBezTo>
                  <a:pt x="3223858" y="838891"/>
                  <a:pt x="3224470" y="840974"/>
                  <a:pt x="3225694" y="842159"/>
                </a:cubicBezTo>
                <a:cubicBezTo>
                  <a:pt x="3226877" y="843385"/>
                  <a:pt x="3229120" y="843997"/>
                  <a:pt x="3232343" y="843997"/>
                </a:cubicBezTo>
                <a:cubicBezTo>
                  <a:pt x="3232343" y="843997"/>
                  <a:pt x="3232343" y="843997"/>
                  <a:pt x="3309686" y="843997"/>
                </a:cubicBezTo>
                <a:cubicBezTo>
                  <a:pt x="3330612" y="843997"/>
                  <a:pt x="3346929" y="838360"/>
                  <a:pt x="3358596" y="827044"/>
                </a:cubicBezTo>
                <a:cubicBezTo>
                  <a:pt x="3370263" y="815769"/>
                  <a:pt x="3376137" y="799632"/>
                  <a:pt x="3376137" y="778635"/>
                </a:cubicBezTo>
                <a:cubicBezTo>
                  <a:pt x="3376137" y="778635"/>
                  <a:pt x="3376137" y="778635"/>
                  <a:pt x="3376137" y="579769"/>
                </a:cubicBezTo>
                <a:cubicBezTo>
                  <a:pt x="3376137" y="574131"/>
                  <a:pt x="3373159" y="571312"/>
                  <a:pt x="3367244" y="571312"/>
                </a:cubicBezTo>
                <a:cubicBezTo>
                  <a:pt x="3367244" y="571312"/>
                  <a:pt x="3367244" y="571312"/>
                  <a:pt x="3274237" y="571312"/>
                </a:cubicBezTo>
                <a:close/>
                <a:moveTo>
                  <a:pt x="4972306" y="528543"/>
                </a:moveTo>
                <a:cubicBezTo>
                  <a:pt x="4968547" y="528543"/>
                  <a:pt x="4966709" y="530463"/>
                  <a:pt x="4966709" y="534179"/>
                </a:cubicBezTo>
                <a:cubicBezTo>
                  <a:pt x="4966709" y="534179"/>
                  <a:pt x="4966709" y="534179"/>
                  <a:pt x="4966709" y="568768"/>
                </a:cubicBezTo>
                <a:cubicBezTo>
                  <a:pt x="4966709" y="571218"/>
                  <a:pt x="4965360" y="572403"/>
                  <a:pt x="4962664" y="572403"/>
                </a:cubicBezTo>
                <a:cubicBezTo>
                  <a:pt x="4962664" y="572403"/>
                  <a:pt x="4962664" y="572403"/>
                  <a:pt x="4940519" y="572403"/>
                </a:cubicBezTo>
                <a:cubicBezTo>
                  <a:pt x="4936760" y="572403"/>
                  <a:pt x="4934881" y="574281"/>
                  <a:pt x="4934881" y="578038"/>
                </a:cubicBezTo>
                <a:cubicBezTo>
                  <a:pt x="4934881" y="578038"/>
                  <a:pt x="4934881" y="578038"/>
                  <a:pt x="4934881" y="592903"/>
                </a:cubicBezTo>
                <a:cubicBezTo>
                  <a:pt x="4934881" y="596415"/>
                  <a:pt x="4936760" y="598130"/>
                  <a:pt x="4940519" y="598130"/>
                </a:cubicBezTo>
                <a:cubicBezTo>
                  <a:pt x="4940519" y="598130"/>
                  <a:pt x="4940519" y="598130"/>
                  <a:pt x="4962664" y="598130"/>
                </a:cubicBezTo>
                <a:cubicBezTo>
                  <a:pt x="4965360" y="598130"/>
                  <a:pt x="4966709" y="599355"/>
                  <a:pt x="4966709" y="601764"/>
                </a:cubicBezTo>
                <a:cubicBezTo>
                  <a:pt x="4966709" y="601764"/>
                  <a:pt x="4966709" y="601764"/>
                  <a:pt x="4966709" y="718804"/>
                </a:cubicBezTo>
                <a:cubicBezTo>
                  <a:pt x="4966709" y="737344"/>
                  <a:pt x="4972183" y="751719"/>
                  <a:pt x="4983215" y="762051"/>
                </a:cubicBezTo>
                <a:cubicBezTo>
                  <a:pt x="4994165" y="772382"/>
                  <a:pt x="5008955" y="777528"/>
                  <a:pt x="5027463" y="777528"/>
                </a:cubicBezTo>
                <a:cubicBezTo>
                  <a:pt x="5027463" y="777528"/>
                  <a:pt x="5027463" y="777528"/>
                  <a:pt x="5046789" y="777528"/>
                </a:cubicBezTo>
                <a:cubicBezTo>
                  <a:pt x="5050793" y="777528"/>
                  <a:pt x="5052835" y="775813"/>
                  <a:pt x="5052835" y="772301"/>
                </a:cubicBezTo>
                <a:cubicBezTo>
                  <a:pt x="5052835" y="772301"/>
                  <a:pt x="5052835" y="772301"/>
                  <a:pt x="5052835" y="757436"/>
                </a:cubicBezTo>
                <a:cubicBezTo>
                  <a:pt x="5052835" y="753679"/>
                  <a:pt x="5050793" y="751801"/>
                  <a:pt x="5046789" y="751801"/>
                </a:cubicBezTo>
                <a:cubicBezTo>
                  <a:pt x="5046789" y="751801"/>
                  <a:pt x="5046789" y="751801"/>
                  <a:pt x="5031099" y="751801"/>
                </a:cubicBezTo>
                <a:cubicBezTo>
                  <a:pt x="5007484" y="751801"/>
                  <a:pt x="4995676" y="740407"/>
                  <a:pt x="4995676" y="717620"/>
                </a:cubicBezTo>
                <a:cubicBezTo>
                  <a:pt x="4995676" y="717620"/>
                  <a:pt x="4995676" y="717620"/>
                  <a:pt x="4995676" y="601764"/>
                </a:cubicBezTo>
                <a:cubicBezTo>
                  <a:pt x="4995676" y="599355"/>
                  <a:pt x="4997147" y="598130"/>
                  <a:pt x="5000089" y="598130"/>
                </a:cubicBezTo>
                <a:cubicBezTo>
                  <a:pt x="5000089" y="598130"/>
                  <a:pt x="5000089" y="598130"/>
                  <a:pt x="5042744" y="598130"/>
                </a:cubicBezTo>
                <a:cubicBezTo>
                  <a:pt x="5046789" y="598130"/>
                  <a:pt x="5048791" y="596415"/>
                  <a:pt x="5048791" y="592903"/>
                </a:cubicBezTo>
                <a:cubicBezTo>
                  <a:pt x="5048791" y="592903"/>
                  <a:pt x="5048791" y="592903"/>
                  <a:pt x="5048791" y="578038"/>
                </a:cubicBezTo>
                <a:cubicBezTo>
                  <a:pt x="5048791" y="574281"/>
                  <a:pt x="5046789" y="572403"/>
                  <a:pt x="5042744" y="572403"/>
                </a:cubicBezTo>
                <a:cubicBezTo>
                  <a:pt x="5042744" y="572403"/>
                  <a:pt x="5042744" y="572403"/>
                  <a:pt x="5000089" y="572403"/>
                </a:cubicBezTo>
                <a:cubicBezTo>
                  <a:pt x="4997147" y="572403"/>
                  <a:pt x="4995676" y="571218"/>
                  <a:pt x="4995676" y="568768"/>
                </a:cubicBezTo>
                <a:cubicBezTo>
                  <a:pt x="4995676" y="568768"/>
                  <a:pt x="4995676" y="568768"/>
                  <a:pt x="4995676" y="534179"/>
                </a:cubicBezTo>
                <a:cubicBezTo>
                  <a:pt x="4995676" y="530463"/>
                  <a:pt x="4993919" y="528543"/>
                  <a:pt x="4990447" y="528543"/>
                </a:cubicBezTo>
                <a:cubicBezTo>
                  <a:pt x="4990447" y="528543"/>
                  <a:pt x="4990447" y="528543"/>
                  <a:pt x="4972306" y="528543"/>
                </a:cubicBezTo>
                <a:close/>
                <a:moveTo>
                  <a:pt x="5091035" y="495037"/>
                </a:moveTo>
                <a:cubicBezTo>
                  <a:pt x="5087557" y="495037"/>
                  <a:pt x="5085797" y="496924"/>
                  <a:pt x="5085797" y="500698"/>
                </a:cubicBezTo>
                <a:cubicBezTo>
                  <a:pt x="5085797" y="500698"/>
                  <a:pt x="5085797" y="500698"/>
                  <a:pt x="5085797" y="538683"/>
                </a:cubicBezTo>
                <a:cubicBezTo>
                  <a:pt x="5085797" y="542457"/>
                  <a:pt x="5087557" y="544343"/>
                  <a:pt x="5091035" y="544343"/>
                </a:cubicBezTo>
                <a:cubicBezTo>
                  <a:pt x="5091035" y="544343"/>
                  <a:pt x="5091035" y="544343"/>
                  <a:pt x="5109612" y="544343"/>
                </a:cubicBezTo>
                <a:cubicBezTo>
                  <a:pt x="5113335" y="544343"/>
                  <a:pt x="5115218" y="542457"/>
                  <a:pt x="5115218" y="538683"/>
                </a:cubicBezTo>
                <a:cubicBezTo>
                  <a:pt x="5115218" y="538683"/>
                  <a:pt x="5115218" y="538683"/>
                  <a:pt x="5115218" y="500698"/>
                </a:cubicBezTo>
                <a:cubicBezTo>
                  <a:pt x="5115218" y="496924"/>
                  <a:pt x="5113335" y="495037"/>
                  <a:pt x="5109612" y="495037"/>
                </a:cubicBezTo>
                <a:cubicBezTo>
                  <a:pt x="5109612" y="495037"/>
                  <a:pt x="5109612" y="495037"/>
                  <a:pt x="5091035" y="495037"/>
                </a:cubicBezTo>
                <a:close/>
                <a:moveTo>
                  <a:pt x="3794352" y="495037"/>
                </a:moveTo>
                <a:cubicBezTo>
                  <a:pt x="3790833" y="495037"/>
                  <a:pt x="3789114" y="496924"/>
                  <a:pt x="3789114" y="500698"/>
                </a:cubicBezTo>
                <a:cubicBezTo>
                  <a:pt x="3789114" y="500698"/>
                  <a:pt x="3789114" y="500698"/>
                  <a:pt x="3789114" y="538683"/>
                </a:cubicBezTo>
                <a:cubicBezTo>
                  <a:pt x="3789114" y="542457"/>
                  <a:pt x="3790833" y="544343"/>
                  <a:pt x="3794352" y="544343"/>
                </a:cubicBezTo>
                <a:cubicBezTo>
                  <a:pt x="3794352" y="544343"/>
                  <a:pt x="3794352" y="544343"/>
                  <a:pt x="3812888" y="544343"/>
                </a:cubicBezTo>
                <a:cubicBezTo>
                  <a:pt x="3816652" y="544343"/>
                  <a:pt x="3818535" y="542457"/>
                  <a:pt x="3818535" y="538683"/>
                </a:cubicBezTo>
                <a:cubicBezTo>
                  <a:pt x="3818535" y="538683"/>
                  <a:pt x="3818535" y="538683"/>
                  <a:pt x="3818535" y="500698"/>
                </a:cubicBezTo>
                <a:cubicBezTo>
                  <a:pt x="3818535" y="496924"/>
                  <a:pt x="3816652" y="495037"/>
                  <a:pt x="3812888" y="495037"/>
                </a:cubicBezTo>
                <a:cubicBezTo>
                  <a:pt x="3812888" y="495037"/>
                  <a:pt x="3812888" y="495037"/>
                  <a:pt x="3794352" y="495037"/>
                </a:cubicBezTo>
                <a:close/>
                <a:moveTo>
                  <a:pt x="5158730" y="494764"/>
                </a:moveTo>
                <a:cubicBezTo>
                  <a:pt x="5154965" y="494764"/>
                  <a:pt x="5153083" y="496643"/>
                  <a:pt x="5153083" y="500400"/>
                </a:cubicBezTo>
                <a:cubicBezTo>
                  <a:pt x="5153083" y="500400"/>
                  <a:pt x="5153083" y="500400"/>
                  <a:pt x="5153083" y="771892"/>
                </a:cubicBezTo>
                <a:cubicBezTo>
                  <a:pt x="5153083" y="775690"/>
                  <a:pt x="5154965" y="777528"/>
                  <a:pt x="5158730" y="777528"/>
                </a:cubicBezTo>
                <a:cubicBezTo>
                  <a:pt x="5158730" y="777528"/>
                  <a:pt x="5158730" y="777528"/>
                  <a:pt x="5176898" y="777528"/>
                </a:cubicBezTo>
                <a:cubicBezTo>
                  <a:pt x="5180621" y="777528"/>
                  <a:pt x="5182504" y="775690"/>
                  <a:pt x="5182504" y="771892"/>
                </a:cubicBezTo>
                <a:cubicBezTo>
                  <a:pt x="5182504" y="771892"/>
                  <a:pt x="5182504" y="771892"/>
                  <a:pt x="5182504" y="500400"/>
                </a:cubicBezTo>
                <a:cubicBezTo>
                  <a:pt x="5182504" y="496643"/>
                  <a:pt x="5180621" y="494764"/>
                  <a:pt x="5176898" y="494764"/>
                </a:cubicBezTo>
                <a:cubicBezTo>
                  <a:pt x="5176898" y="494764"/>
                  <a:pt x="5176898" y="494764"/>
                  <a:pt x="5158730" y="494764"/>
                </a:cubicBezTo>
                <a:close/>
                <a:moveTo>
                  <a:pt x="4119019" y="494764"/>
                </a:moveTo>
                <a:cubicBezTo>
                  <a:pt x="4101040" y="494764"/>
                  <a:pt x="4087392" y="499869"/>
                  <a:pt x="4077953" y="510038"/>
                </a:cubicBezTo>
                <a:cubicBezTo>
                  <a:pt x="4068595" y="520247"/>
                  <a:pt x="4063896" y="534867"/>
                  <a:pt x="4063896" y="553898"/>
                </a:cubicBezTo>
                <a:cubicBezTo>
                  <a:pt x="4063896" y="553898"/>
                  <a:pt x="4063896" y="553898"/>
                  <a:pt x="4063896" y="568763"/>
                </a:cubicBezTo>
                <a:cubicBezTo>
                  <a:pt x="4063896" y="571173"/>
                  <a:pt x="4062548" y="572398"/>
                  <a:pt x="4059851" y="572398"/>
                </a:cubicBezTo>
                <a:cubicBezTo>
                  <a:pt x="4059851" y="572398"/>
                  <a:pt x="4059851" y="572398"/>
                  <a:pt x="4036110" y="572398"/>
                </a:cubicBezTo>
                <a:cubicBezTo>
                  <a:pt x="4032351" y="572398"/>
                  <a:pt x="4030471" y="574154"/>
                  <a:pt x="4030471" y="577625"/>
                </a:cubicBezTo>
                <a:cubicBezTo>
                  <a:pt x="4030471" y="577625"/>
                  <a:pt x="4030471" y="577625"/>
                  <a:pt x="4030471" y="592531"/>
                </a:cubicBezTo>
                <a:cubicBezTo>
                  <a:pt x="4030471" y="596288"/>
                  <a:pt x="4032351" y="598126"/>
                  <a:pt x="4036110" y="598126"/>
                </a:cubicBezTo>
                <a:cubicBezTo>
                  <a:pt x="4036110" y="598126"/>
                  <a:pt x="4036110" y="598126"/>
                  <a:pt x="4059851" y="598126"/>
                </a:cubicBezTo>
                <a:cubicBezTo>
                  <a:pt x="4062548" y="598126"/>
                  <a:pt x="4063896" y="599351"/>
                  <a:pt x="4063896" y="601760"/>
                </a:cubicBezTo>
                <a:cubicBezTo>
                  <a:pt x="4063896" y="601760"/>
                  <a:pt x="4063896" y="601760"/>
                  <a:pt x="4063896" y="771892"/>
                </a:cubicBezTo>
                <a:cubicBezTo>
                  <a:pt x="4063896" y="775690"/>
                  <a:pt x="4065776" y="777528"/>
                  <a:pt x="4069535" y="777528"/>
                </a:cubicBezTo>
                <a:cubicBezTo>
                  <a:pt x="4069535" y="777528"/>
                  <a:pt x="4069535" y="777528"/>
                  <a:pt x="4087229" y="777528"/>
                </a:cubicBezTo>
                <a:cubicBezTo>
                  <a:pt x="4091274" y="777528"/>
                  <a:pt x="4093276" y="775690"/>
                  <a:pt x="4093276" y="771892"/>
                </a:cubicBezTo>
                <a:cubicBezTo>
                  <a:pt x="4093276" y="771892"/>
                  <a:pt x="4093276" y="771892"/>
                  <a:pt x="4093276" y="601760"/>
                </a:cubicBezTo>
                <a:cubicBezTo>
                  <a:pt x="4093276" y="599351"/>
                  <a:pt x="4094461" y="598126"/>
                  <a:pt x="4096872" y="598126"/>
                </a:cubicBezTo>
                <a:cubicBezTo>
                  <a:pt x="4096872" y="598126"/>
                  <a:pt x="4096872" y="598126"/>
                  <a:pt x="4132299" y="598126"/>
                </a:cubicBezTo>
                <a:cubicBezTo>
                  <a:pt x="4136345" y="598126"/>
                  <a:pt x="4138347" y="596288"/>
                  <a:pt x="4138347" y="592531"/>
                </a:cubicBezTo>
                <a:cubicBezTo>
                  <a:pt x="4138347" y="592531"/>
                  <a:pt x="4138347" y="592531"/>
                  <a:pt x="4138347" y="577625"/>
                </a:cubicBezTo>
                <a:cubicBezTo>
                  <a:pt x="4138347" y="574154"/>
                  <a:pt x="4136345" y="572398"/>
                  <a:pt x="4132299" y="572398"/>
                </a:cubicBezTo>
                <a:cubicBezTo>
                  <a:pt x="4132299" y="572398"/>
                  <a:pt x="4132299" y="572398"/>
                  <a:pt x="4096872" y="572398"/>
                </a:cubicBezTo>
                <a:cubicBezTo>
                  <a:pt x="4094461" y="572398"/>
                  <a:pt x="4093276" y="571173"/>
                  <a:pt x="4093276" y="568763"/>
                </a:cubicBezTo>
                <a:cubicBezTo>
                  <a:pt x="4093276" y="568763"/>
                  <a:pt x="4093276" y="568763"/>
                  <a:pt x="4093276" y="555123"/>
                </a:cubicBezTo>
                <a:cubicBezTo>
                  <a:pt x="4093276" y="543035"/>
                  <a:pt x="4095401" y="534255"/>
                  <a:pt x="4099691" y="528742"/>
                </a:cubicBezTo>
                <a:cubicBezTo>
                  <a:pt x="4104023" y="523269"/>
                  <a:pt x="4111664" y="520492"/>
                  <a:pt x="4122656" y="520492"/>
                </a:cubicBezTo>
                <a:cubicBezTo>
                  <a:pt x="4122656" y="520492"/>
                  <a:pt x="4122656" y="520492"/>
                  <a:pt x="4132708" y="520492"/>
                </a:cubicBezTo>
                <a:cubicBezTo>
                  <a:pt x="4136467" y="520492"/>
                  <a:pt x="4138347" y="518655"/>
                  <a:pt x="4138347" y="514897"/>
                </a:cubicBezTo>
                <a:cubicBezTo>
                  <a:pt x="4138347" y="514897"/>
                  <a:pt x="4138347" y="514897"/>
                  <a:pt x="4138347" y="499992"/>
                </a:cubicBezTo>
                <a:cubicBezTo>
                  <a:pt x="4138347" y="496520"/>
                  <a:pt x="4136467" y="494764"/>
                  <a:pt x="4132708" y="494764"/>
                </a:cubicBezTo>
                <a:cubicBezTo>
                  <a:pt x="4132708" y="494764"/>
                  <a:pt x="4132708" y="494764"/>
                  <a:pt x="4119019" y="494764"/>
                </a:cubicBezTo>
                <a:close/>
                <a:moveTo>
                  <a:pt x="2051714" y="0"/>
                </a:moveTo>
                <a:lnTo>
                  <a:pt x="5842566" y="0"/>
                </a:lnTo>
                <a:lnTo>
                  <a:pt x="5842566" y="6858000"/>
                </a:lnTo>
                <a:lnTo>
                  <a:pt x="5006271" y="6858000"/>
                </a:lnTo>
                <a:lnTo>
                  <a:pt x="5027080" y="6823698"/>
                </a:lnTo>
                <a:cubicBezTo>
                  <a:pt x="5083907" y="6730024"/>
                  <a:pt x="5166563" y="6593770"/>
                  <a:pt x="5286791" y="6395583"/>
                </a:cubicBezTo>
                <a:cubicBezTo>
                  <a:pt x="5300203" y="6374358"/>
                  <a:pt x="5303140" y="6356969"/>
                  <a:pt x="5295477" y="6343543"/>
                </a:cubicBezTo>
                <a:cubicBezTo>
                  <a:pt x="5287685" y="6329990"/>
                  <a:pt x="5272357" y="6323213"/>
                  <a:pt x="5249238" y="6323213"/>
                </a:cubicBezTo>
                <a:cubicBezTo>
                  <a:pt x="5249238" y="6323213"/>
                  <a:pt x="5249238" y="6323213"/>
                  <a:pt x="4968611" y="6323213"/>
                </a:cubicBezTo>
                <a:cubicBezTo>
                  <a:pt x="4924160" y="6323213"/>
                  <a:pt x="4891460" y="6342521"/>
                  <a:pt x="4870257" y="6381135"/>
                </a:cubicBezTo>
                <a:cubicBezTo>
                  <a:pt x="4870257" y="6381135"/>
                  <a:pt x="4870257" y="6381135"/>
                  <a:pt x="4637677" y="6794349"/>
                </a:cubicBezTo>
                <a:lnTo>
                  <a:pt x="4601850" y="6858000"/>
                </a:lnTo>
                <a:lnTo>
                  <a:pt x="1995706" y="6858000"/>
                </a:lnTo>
                <a:lnTo>
                  <a:pt x="1980234" y="6831589"/>
                </a:lnTo>
                <a:cubicBezTo>
                  <a:pt x="1785132" y="6498558"/>
                  <a:pt x="1322701" y="5709209"/>
                  <a:pt x="226650" y="3838300"/>
                </a:cubicBezTo>
                <a:lnTo>
                  <a:pt x="0" y="3451419"/>
                </a:lnTo>
                <a:lnTo>
                  <a:pt x="0" y="3386892"/>
                </a:lnTo>
                <a:lnTo>
                  <a:pt x="2852" y="3382191"/>
                </a:lnTo>
                <a:cubicBezTo>
                  <a:pt x="30632" y="3336396"/>
                  <a:pt x="252882" y="2970033"/>
                  <a:pt x="2030876" y="39133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3F5F9CA0-B203-41F3-A41D-C936AEDE7F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48673" y="0"/>
            <a:ext cx="3554973" cy="6858000"/>
          </a:xfrm>
          <a:custGeom>
            <a:avLst/>
            <a:gdLst>
              <a:gd name="connsiteX0" fmla="*/ 2051714 w 3554510"/>
              <a:gd name="connsiteY0" fmla="*/ 0 h 6858000"/>
              <a:gd name="connsiteX1" fmla="*/ 3554510 w 3554510"/>
              <a:gd name="connsiteY1" fmla="*/ 0 h 6858000"/>
              <a:gd name="connsiteX2" fmla="*/ 3533671 w 3554510"/>
              <a:gd name="connsiteY2" fmla="*/ 39133 h 6858000"/>
              <a:gd name="connsiteX3" fmla="*/ 1505648 w 3554510"/>
              <a:gd name="connsiteY3" fmla="*/ 3382191 h 6858000"/>
              <a:gd name="connsiteX4" fmla="*/ 1502795 w 3554510"/>
              <a:gd name="connsiteY4" fmla="*/ 3386892 h 6858000"/>
              <a:gd name="connsiteX5" fmla="*/ 1502795 w 3554510"/>
              <a:gd name="connsiteY5" fmla="*/ 3451419 h 6858000"/>
              <a:gd name="connsiteX6" fmla="*/ 1729445 w 3554510"/>
              <a:gd name="connsiteY6" fmla="*/ 3838300 h 6858000"/>
              <a:gd name="connsiteX7" fmla="*/ 3483030 w 3554510"/>
              <a:gd name="connsiteY7" fmla="*/ 6831589 h 6858000"/>
              <a:gd name="connsiteX8" fmla="*/ 3498502 w 3554510"/>
              <a:gd name="connsiteY8" fmla="*/ 6858000 h 6858000"/>
              <a:gd name="connsiteX9" fmla="*/ 1995706 w 3554510"/>
              <a:gd name="connsiteY9" fmla="*/ 6858000 h 6858000"/>
              <a:gd name="connsiteX10" fmla="*/ 1980234 w 3554510"/>
              <a:gd name="connsiteY10" fmla="*/ 6831589 h 6858000"/>
              <a:gd name="connsiteX11" fmla="*/ 226650 w 3554510"/>
              <a:gd name="connsiteY11" fmla="*/ 3838300 h 6858000"/>
              <a:gd name="connsiteX12" fmla="*/ 0 w 3554510"/>
              <a:gd name="connsiteY12" fmla="*/ 3451419 h 6858000"/>
              <a:gd name="connsiteX13" fmla="*/ 0 w 3554510"/>
              <a:gd name="connsiteY13" fmla="*/ 3386893 h 6858000"/>
              <a:gd name="connsiteX14" fmla="*/ 2853 w 3554510"/>
              <a:gd name="connsiteY14" fmla="*/ 3382191 h 6858000"/>
              <a:gd name="connsiteX15" fmla="*/ 2030876 w 3554510"/>
              <a:gd name="connsiteY15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54510" h="6858000">
                <a:moveTo>
                  <a:pt x="2051714" y="0"/>
                </a:moveTo>
                <a:lnTo>
                  <a:pt x="3554510" y="0"/>
                </a:lnTo>
                <a:lnTo>
                  <a:pt x="3533671" y="39133"/>
                </a:lnTo>
                <a:cubicBezTo>
                  <a:pt x="1755678" y="2970033"/>
                  <a:pt x="1533428" y="3336396"/>
                  <a:pt x="1505648" y="3382191"/>
                </a:cubicBezTo>
                <a:lnTo>
                  <a:pt x="1502795" y="3386892"/>
                </a:lnTo>
                <a:lnTo>
                  <a:pt x="1502795" y="3451419"/>
                </a:lnTo>
                <a:lnTo>
                  <a:pt x="1729445" y="3838300"/>
                </a:lnTo>
                <a:cubicBezTo>
                  <a:pt x="2825496" y="5709209"/>
                  <a:pt x="3287927" y="6498558"/>
                  <a:pt x="3483030" y="6831589"/>
                </a:cubicBezTo>
                <a:lnTo>
                  <a:pt x="3498502" y="6858000"/>
                </a:lnTo>
                <a:lnTo>
                  <a:pt x="1995706" y="6858000"/>
                </a:lnTo>
                <a:lnTo>
                  <a:pt x="1980234" y="6831589"/>
                </a:lnTo>
                <a:cubicBezTo>
                  <a:pt x="1785132" y="6498558"/>
                  <a:pt x="1322702" y="5709209"/>
                  <a:pt x="226650" y="3838300"/>
                </a:cubicBezTo>
                <a:lnTo>
                  <a:pt x="0" y="3451419"/>
                </a:lnTo>
                <a:lnTo>
                  <a:pt x="0" y="3386893"/>
                </a:lnTo>
                <a:lnTo>
                  <a:pt x="2853" y="3382191"/>
                </a:lnTo>
                <a:cubicBezTo>
                  <a:pt x="30632" y="3336396"/>
                  <a:pt x="252883" y="2970033"/>
                  <a:pt x="2030876" y="39133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buNone/>
              <a:defRPr/>
            </a:lvl2pPr>
            <a:lvl3pPr marL="180000" indent="0">
              <a:buNone/>
              <a:defRPr/>
            </a:lvl3pPr>
            <a:lvl4pPr marL="36000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EF1A0820-EAD7-41DE-9384-66E7221F15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48675" y="0"/>
            <a:ext cx="2706041" cy="6858000"/>
          </a:xfrm>
          <a:custGeom>
            <a:avLst/>
            <a:gdLst>
              <a:gd name="connsiteX0" fmla="*/ 2051714 w 2705689"/>
              <a:gd name="connsiteY0" fmla="*/ 0 h 6858000"/>
              <a:gd name="connsiteX1" fmla="*/ 2705689 w 2705689"/>
              <a:gd name="connsiteY1" fmla="*/ 0 h 6858000"/>
              <a:gd name="connsiteX2" fmla="*/ 2684850 w 2705689"/>
              <a:gd name="connsiteY2" fmla="*/ 39133 h 6858000"/>
              <a:gd name="connsiteX3" fmla="*/ 656826 w 2705689"/>
              <a:gd name="connsiteY3" fmla="*/ 3382191 h 6858000"/>
              <a:gd name="connsiteX4" fmla="*/ 653975 w 2705689"/>
              <a:gd name="connsiteY4" fmla="*/ 3386892 h 6858000"/>
              <a:gd name="connsiteX5" fmla="*/ 653975 w 2705689"/>
              <a:gd name="connsiteY5" fmla="*/ 3451419 h 6858000"/>
              <a:gd name="connsiteX6" fmla="*/ 880624 w 2705689"/>
              <a:gd name="connsiteY6" fmla="*/ 3838300 h 6858000"/>
              <a:gd name="connsiteX7" fmla="*/ 2634209 w 2705689"/>
              <a:gd name="connsiteY7" fmla="*/ 6831589 h 6858000"/>
              <a:gd name="connsiteX8" fmla="*/ 2649681 w 2705689"/>
              <a:gd name="connsiteY8" fmla="*/ 6858000 h 6858000"/>
              <a:gd name="connsiteX9" fmla="*/ 1995706 w 2705689"/>
              <a:gd name="connsiteY9" fmla="*/ 6858000 h 6858000"/>
              <a:gd name="connsiteX10" fmla="*/ 1980235 w 2705689"/>
              <a:gd name="connsiteY10" fmla="*/ 6831589 h 6858000"/>
              <a:gd name="connsiteX11" fmla="*/ 226651 w 2705689"/>
              <a:gd name="connsiteY11" fmla="*/ 3838300 h 6858000"/>
              <a:gd name="connsiteX12" fmla="*/ 0 w 2705689"/>
              <a:gd name="connsiteY12" fmla="*/ 3451419 h 6858000"/>
              <a:gd name="connsiteX13" fmla="*/ 0 w 2705689"/>
              <a:gd name="connsiteY13" fmla="*/ 3386893 h 6858000"/>
              <a:gd name="connsiteX14" fmla="*/ 2852 w 2705689"/>
              <a:gd name="connsiteY14" fmla="*/ 3382191 h 6858000"/>
              <a:gd name="connsiteX15" fmla="*/ 2030877 w 2705689"/>
              <a:gd name="connsiteY15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05689" h="6858000">
                <a:moveTo>
                  <a:pt x="2051714" y="0"/>
                </a:moveTo>
                <a:lnTo>
                  <a:pt x="2705689" y="0"/>
                </a:lnTo>
                <a:lnTo>
                  <a:pt x="2684850" y="39133"/>
                </a:lnTo>
                <a:cubicBezTo>
                  <a:pt x="906856" y="2970033"/>
                  <a:pt x="684607" y="3336396"/>
                  <a:pt x="656826" y="3382191"/>
                </a:cubicBezTo>
                <a:lnTo>
                  <a:pt x="653975" y="3386892"/>
                </a:lnTo>
                <a:lnTo>
                  <a:pt x="653975" y="3451419"/>
                </a:lnTo>
                <a:lnTo>
                  <a:pt x="880624" y="3838300"/>
                </a:lnTo>
                <a:cubicBezTo>
                  <a:pt x="1976675" y="5709209"/>
                  <a:pt x="2439106" y="6498558"/>
                  <a:pt x="2634209" y="6831589"/>
                </a:cubicBezTo>
                <a:lnTo>
                  <a:pt x="2649681" y="6858000"/>
                </a:lnTo>
                <a:lnTo>
                  <a:pt x="1995706" y="6858000"/>
                </a:lnTo>
                <a:lnTo>
                  <a:pt x="1980235" y="6831589"/>
                </a:lnTo>
                <a:cubicBezTo>
                  <a:pt x="1785133" y="6498558"/>
                  <a:pt x="1322701" y="5709209"/>
                  <a:pt x="226651" y="3838300"/>
                </a:cubicBezTo>
                <a:lnTo>
                  <a:pt x="0" y="3451419"/>
                </a:lnTo>
                <a:lnTo>
                  <a:pt x="0" y="3386893"/>
                </a:lnTo>
                <a:lnTo>
                  <a:pt x="2852" y="3382191"/>
                </a:lnTo>
                <a:cubicBezTo>
                  <a:pt x="30632" y="3336396"/>
                  <a:pt x="252882" y="2970033"/>
                  <a:pt x="2030877" y="39133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buNone/>
              <a:defRPr/>
            </a:lvl2pPr>
            <a:lvl3pPr marL="180000" indent="0">
              <a:buNone/>
              <a:defRPr/>
            </a:lvl3pPr>
            <a:lvl4pPr marL="36000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D8A7225-69F8-4F58-8767-7B4840CE2B0A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6348674" y="0"/>
            <a:ext cx="2489358" cy="6858000"/>
          </a:xfrm>
          <a:custGeom>
            <a:avLst/>
            <a:gdLst>
              <a:gd name="connsiteX0" fmla="*/ 2051713 w 2489034"/>
              <a:gd name="connsiteY0" fmla="*/ 0 h 6858000"/>
              <a:gd name="connsiteX1" fmla="*/ 2489034 w 2489034"/>
              <a:gd name="connsiteY1" fmla="*/ 0 h 6858000"/>
              <a:gd name="connsiteX2" fmla="*/ 2468195 w 2489034"/>
              <a:gd name="connsiteY2" fmla="*/ 39133 h 6858000"/>
              <a:gd name="connsiteX3" fmla="*/ 440172 w 2489034"/>
              <a:gd name="connsiteY3" fmla="*/ 3382191 h 6858000"/>
              <a:gd name="connsiteX4" fmla="*/ 437320 w 2489034"/>
              <a:gd name="connsiteY4" fmla="*/ 3386892 h 6858000"/>
              <a:gd name="connsiteX5" fmla="*/ 437320 w 2489034"/>
              <a:gd name="connsiteY5" fmla="*/ 3451419 h 6858000"/>
              <a:gd name="connsiteX6" fmla="*/ 663969 w 2489034"/>
              <a:gd name="connsiteY6" fmla="*/ 3838300 h 6858000"/>
              <a:gd name="connsiteX7" fmla="*/ 2417554 w 2489034"/>
              <a:gd name="connsiteY7" fmla="*/ 6831589 h 6858000"/>
              <a:gd name="connsiteX8" fmla="*/ 2433026 w 2489034"/>
              <a:gd name="connsiteY8" fmla="*/ 6858000 h 6858000"/>
              <a:gd name="connsiteX9" fmla="*/ 1995705 w 2489034"/>
              <a:gd name="connsiteY9" fmla="*/ 6858000 h 6858000"/>
              <a:gd name="connsiteX10" fmla="*/ 1980234 w 2489034"/>
              <a:gd name="connsiteY10" fmla="*/ 6831589 h 6858000"/>
              <a:gd name="connsiteX11" fmla="*/ 226649 w 2489034"/>
              <a:gd name="connsiteY11" fmla="*/ 3838300 h 6858000"/>
              <a:gd name="connsiteX12" fmla="*/ 0 w 2489034"/>
              <a:gd name="connsiteY12" fmla="*/ 3451419 h 6858000"/>
              <a:gd name="connsiteX13" fmla="*/ 0 w 2489034"/>
              <a:gd name="connsiteY13" fmla="*/ 3386893 h 6858000"/>
              <a:gd name="connsiteX14" fmla="*/ 2852 w 2489034"/>
              <a:gd name="connsiteY14" fmla="*/ 3382191 h 6858000"/>
              <a:gd name="connsiteX15" fmla="*/ 2030875 w 2489034"/>
              <a:gd name="connsiteY15" fmla="*/ 391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489034" h="6858000">
                <a:moveTo>
                  <a:pt x="2051713" y="0"/>
                </a:moveTo>
                <a:lnTo>
                  <a:pt x="2489034" y="0"/>
                </a:lnTo>
                <a:lnTo>
                  <a:pt x="2468195" y="39133"/>
                </a:lnTo>
                <a:cubicBezTo>
                  <a:pt x="690201" y="2970033"/>
                  <a:pt x="467952" y="3336396"/>
                  <a:pt x="440172" y="3382191"/>
                </a:cubicBezTo>
                <a:lnTo>
                  <a:pt x="437320" y="3386892"/>
                </a:lnTo>
                <a:lnTo>
                  <a:pt x="437320" y="3451419"/>
                </a:lnTo>
                <a:lnTo>
                  <a:pt x="663969" y="3838300"/>
                </a:lnTo>
                <a:cubicBezTo>
                  <a:pt x="1760020" y="5709209"/>
                  <a:pt x="2222451" y="6498558"/>
                  <a:pt x="2417554" y="6831589"/>
                </a:cubicBezTo>
                <a:lnTo>
                  <a:pt x="2433026" y="6858000"/>
                </a:lnTo>
                <a:lnTo>
                  <a:pt x="1995705" y="6858000"/>
                </a:lnTo>
                <a:lnTo>
                  <a:pt x="1980234" y="6831589"/>
                </a:lnTo>
                <a:cubicBezTo>
                  <a:pt x="1785131" y="6498558"/>
                  <a:pt x="1322700" y="5709209"/>
                  <a:pt x="226649" y="3838300"/>
                </a:cubicBezTo>
                <a:lnTo>
                  <a:pt x="0" y="3451419"/>
                </a:lnTo>
                <a:lnTo>
                  <a:pt x="0" y="3386893"/>
                </a:lnTo>
                <a:lnTo>
                  <a:pt x="2852" y="3382191"/>
                </a:lnTo>
                <a:cubicBezTo>
                  <a:pt x="30631" y="3336396"/>
                  <a:pt x="252882" y="2970033"/>
                  <a:pt x="2030875" y="39133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E73CDD39-9076-4B66-82DD-CC7A782AB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7092176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B31E7AC1-320F-4802-8F72-CE9D820E6F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6900765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599F1A8-E25F-4D32-957C-CFE68AEC97E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2995" y="1511301"/>
            <a:ext cx="5699130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905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hteck 80">
            <a:extLst>
              <a:ext uri="{FF2B5EF4-FFF2-40B4-BE49-F238E27FC236}">
                <a16:creationId xmlns:a16="http://schemas.microsoft.com/office/drawing/2014/main" id="{E054C678-9D3D-4393-9657-24FA467D607B}"/>
              </a:ext>
            </a:extLst>
          </p:cNvPr>
          <p:cNvSpPr/>
          <p:nvPr userDrawn="1"/>
        </p:nvSpPr>
        <p:spPr>
          <a:xfrm>
            <a:off x="10908623" y="6281530"/>
            <a:ext cx="771375" cy="5764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0697D07-F261-4DC9-924C-3EDE7CC96BCA}"/>
              </a:ext>
            </a:extLst>
          </p:cNvPr>
          <p:cNvSpPr/>
          <p:nvPr userDrawn="1"/>
        </p:nvSpPr>
        <p:spPr>
          <a:xfrm>
            <a:off x="9505034" y="494765"/>
            <a:ext cx="560639" cy="4136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7C5B7F5-BF02-4C62-AF53-BFB0E79EFB25}"/>
              </a:ext>
            </a:extLst>
          </p:cNvPr>
          <p:cNvSpPr/>
          <p:nvPr userDrawn="1"/>
        </p:nvSpPr>
        <p:spPr>
          <a:xfrm>
            <a:off x="10106839" y="798901"/>
            <a:ext cx="1573159" cy="18706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CF4B66D-820E-4A77-BD04-3CAF32E52FFE}"/>
              </a:ext>
            </a:extLst>
          </p:cNvPr>
          <p:cNvSpPr/>
          <p:nvPr userDrawn="1"/>
        </p:nvSpPr>
        <p:spPr>
          <a:xfrm>
            <a:off x="10106839" y="433389"/>
            <a:ext cx="1573159" cy="356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DE0E47C2-4F4B-4022-93DB-17833A2AB9D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3946" y="-1"/>
            <a:ext cx="11578056" cy="6857997"/>
          </a:xfrm>
          <a:custGeom>
            <a:avLst/>
            <a:gdLst>
              <a:gd name="connsiteX0" fmla="*/ 10923779 w 11576549"/>
              <a:gd name="connsiteY0" fmla="*/ 862794 h 6857997"/>
              <a:gd name="connsiteX1" fmla="*/ 10934587 w 11576549"/>
              <a:gd name="connsiteY1" fmla="*/ 866300 h 6857997"/>
              <a:gd name="connsiteX2" fmla="*/ 10940419 w 11576549"/>
              <a:gd name="connsiteY2" fmla="*/ 875621 h 6857997"/>
              <a:gd name="connsiteX3" fmla="*/ 10941275 w 11576549"/>
              <a:gd name="connsiteY3" fmla="*/ 882921 h 6857997"/>
              <a:gd name="connsiteX4" fmla="*/ 10940704 w 11576549"/>
              <a:gd name="connsiteY4" fmla="*/ 883498 h 6857997"/>
              <a:gd name="connsiteX5" fmla="*/ 10906977 w 11576549"/>
              <a:gd name="connsiteY5" fmla="*/ 883498 h 6857997"/>
              <a:gd name="connsiteX6" fmla="*/ 10906406 w 11576549"/>
              <a:gd name="connsiteY6" fmla="*/ 882921 h 6857997"/>
              <a:gd name="connsiteX7" fmla="*/ 10907711 w 11576549"/>
              <a:gd name="connsiteY7" fmla="*/ 874548 h 6857997"/>
              <a:gd name="connsiteX8" fmla="*/ 10913299 w 11576549"/>
              <a:gd name="connsiteY8" fmla="*/ 866011 h 6857997"/>
              <a:gd name="connsiteX9" fmla="*/ 10923779 w 11576549"/>
              <a:gd name="connsiteY9" fmla="*/ 862794 h 6857997"/>
              <a:gd name="connsiteX10" fmla="*/ 10804709 w 11576549"/>
              <a:gd name="connsiteY10" fmla="*/ 862794 h 6857997"/>
              <a:gd name="connsiteX11" fmla="*/ 10815027 w 11576549"/>
              <a:gd name="connsiteY11" fmla="*/ 866281 h 6857997"/>
              <a:gd name="connsiteX12" fmla="*/ 10820349 w 11576549"/>
              <a:gd name="connsiteY12" fmla="*/ 875262 h 6857997"/>
              <a:gd name="connsiteX13" fmla="*/ 10821168 w 11576549"/>
              <a:gd name="connsiteY13" fmla="*/ 880183 h 6857997"/>
              <a:gd name="connsiteX14" fmla="*/ 10821414 w 11576549"/>
              <a:gd name="connsiteY14" fmla="*/ 889000 h 6857997"/>
              <a:gd name="connsiteX15" fmla="*/ 10821168 w 11576549"/>
              <a:gd name="connsiteY15" fmla="*/ 897900 h 6857997"/>
              <a:gd name="connsiteX16" fmla="*/ 10820513 w 11576549"/>
              <a:gd name="connsiteY16" fmla="*/ 902944 h 6857997"/>
              <a:gd name="connsiteX17" fmla="*/ 10815272 w 11576549"/>
              <a:gd name="connsiteY17" fmla="*/ 911884 h 6857997"/>
              <a:gd name="connsiteX18" fmla="*/ 10804709 w 11576549"/>
              <a:gd name="connsiteY18" fmla="*/ 915370 h 6857997"/>
              <a:gd name="connsiteX19" fmla="*/ 10794146 w 11576549"/>
              <a:gd name="connsiteY19" fmla="*/ 911884 h 6857997"/>
              <a:gd name="connsiteX20" fmla="*/ 10788291 w 11576549"/>
              <a:gd name="connsiteY20" fmla="*/ 902944 h 6857997"/>
              <a:gd name="connsiteX21" fmla="*/ 10786817 w 11576549"/>
              <a:gd name="connsiteY21" fmla="*/ 889000 h 6857997"/>
              <a:gd name="connsiteX22" fmla="*/ 10788455 w 11576549"/>
              <a:gd name="connsiteY22" fmla="*/ 875262 h 6857997"/>
              <a:gd name="connsiteX23" fmla="*/ 10794351 w 11576549"/>
              <a:gd name="connsiteY23" fmla="*/ 866281 h 6857997"/>
              <a:gd name="connsiteX24" fmla="*/ 10804709 w 11576549"/>
              <a:gd name="connsiteY24" fmla="*/ 862794 h 6857997"/>
              <a:gd name="connsiteX25" fmla="*/ 10671757 w 11576549"/>
              <a:gd name="connsiteY25" fmla="*/ 862794 h 6857997"/>
              <a:gd name="connsiteX26" fmla="*/ 10682605 w 11576549"/>
              <a:gd name="connsiteY26" fmla="*/ 866300 h 6857997"/>
              <a:gd name="connsiteX27" fmla="*/ 10688396 w 11576549"/>
              <a:gd name="connsiteY27" fmla="*/ 875621 h 6857997"/>
              <a:gd name="connsiteX28" fmla="*/ 10689294 w 11576549"/>
              <a:gd name="connsiteY28" fmla="*/ 882921 h 6857997"/>
              <a:gd name="connsiteX29" fmla="*/ 10688723 w 11576549"/>
              <a:gd name="connsiteY29" fmla="*/ 883498 h 6857997"/>
              <a:gd name="connsiteX30" fmla="*/ 10654996 w 11576549"/>
              <a:gd name="connsiteY30" fmla="*/ 883498 h 6857997"/>
              <a:gd name="connsiteX31" fmla="*/ 10654425 w 11576549"/>
              <a:gd name="connsiteY31" fmla="*/ 882921 h 6857997"/>
              <a:gd name="connsiteX32" fmla="*/ 10655730 w 11576549"/>
              <a:gd name="connsiteY32" fmla="*/ 874548 h 6857997"/>
              <a:gd name="connsiteX33" fmla="*/ 10661317 w 11576549"/>
              <a:gd name="connsiteY33" fmla="*/ 866011 h 6857997"/>
              <a:gd name="connsiteX34" fmla="*/ 10671757 w 11576549"/>
              <a:gd name="connsiteY34" fmla="*/ 862794 h 6857997"/>
              <a:gd name="connsiteX35" fmla="*/ 10263159 w 11576549"/>
              <a:gd name="connsiteY35" fmla="*/ 862794 h 6857997"/>
              <a:gd name="connsiteX36" fmla="*/ 10273954 w 11576549"/>
              <a:gd name="connsiteY36" fmla="*/ 866300 h 6857997"/>
              <a:gd name="connsiteX37" fmla="*/ 10279779 w 11576549"/>
              <a:gd name="connsiteY37" fmla="*/ 875621 h 6857997"/>
              <a:gd name="connsiteX38" fmla="*/ 10280675 w 11576549"/>
              <a:gd name="connsiteY38" fmla="*/ 882921 h 6857997"/>
              <a:gd name="connsiteX39" fmla="*/ 10280064 w 11576549"/>
              <a:gd name="connsiteY39" fmla="*/ 883498 h 6857997"/>
              <a:gd name="connsiteX40" fmla="*/ 10246417 w 11576549"/>
              <a:gd name="connsiteY40" fmla="*/ 883498 h 6857997"/>
              <a:gd name="connsiteX41" fmla="*/ 10245806 w 11576549"/>
              <a:gd name="connsiteY41" fmla="*/ 882921 h 6857997"/>
              <a:gd name="connsiteX42" fmla="*/ 10247151 w 11576549"/>
              <a:gd name="connsiteY42" fmla="*/ 874548 h 6857997"/>
              <a:gd name="connsiteX43" fmla="*/ 10252731 w 11576549"/>
              <a:gd name="connsiteY43" fmla="*/ 866011 h 6857997"/>
              <a:gd name="connsiteX44" fmla="*/ 10263159 w 11576549"/>
              <a:gd name="connsiteY44" fmla="*/ 862794 h 6857997"/>
              <a:gd name="connsiteX45" fmla="*/ 9981096 w 11576549"/>
              <a:gd name="connsiteY45" fmla="*/ 862794 h 6857997"/>
              <a:gd name="connsiteX46" fmla="*/ 9991988 w 11576549"/>
              <a:gd name="connsiteY46" fmla="*/ 866300 h 6857997"/>
              <a:gd name="connsiteX47" fmla="*/ 9997865 w 11576549"/>
              <a:gd name="connsiteY47" fmla="*/ 875621 h 6857997"/>
              <a:gd name="connsiteX48" fmla="*/ 9998728 w 11576549"/>
              <a:gd name="connsiteY48" fmla="*/ 882921 h 6857997"/>
              <a:gd name="connsiteX49" fmla="*/ 9998153 w 11576549"/>
              <a:gd name="connsiteY49" fmla="*/ 883498 h 6857997"/>
              <a:gd name="connsiteX50" fmla="*/ 9964163 w 11576549"/>
              <a:gd name="connsiteY50" fmla="*/ 883498 h 6857997"/>
              <a:gd name="connsiteX51" fmla="*/ 9963587 w 11576549"/>
              <a:gd name="connsiteY51" fmla="*/ 882921 h 6857997"/>
              <a:gd name="connsiteX52" fmla="*/ 9964902 w 11576549"/>
              <a:gd name="connsiteY52" fmla="*/ 874548 h 6857997"/>
              <a:gd name="connsiteX53" fmla="*/ 9970574 w 11576549"/>
              <a:gd name="connsiteY53" fmla="*/ 866011 h 6857997"/>
              <a:gd name="connsiteX54" fmla="*/ 9981096 w 11576549"/>
              <a:gd name="connsiteY54" fmla="*/ 862794 h 6857997"/>
              <a:gd name="connsiteX55" fmla="*/ 9766279 w 11576549"/>
              <a:gd name="connsiteY55" fmla="*/ 862794 h 6857997"/>
              <a:gd name="connsiteX56" fmla="*/ 9777074 w 11576549"/>
              <a:gd name="connsiteY56" fmla="*/ 866300 h 6857997"/>
              <a:gd name="connsiteX57" fmla="*/ 9782898 w 11576549"/>
              <a:gd name="connsiteY57" fmla="*/ 875621 h 6857997"/>
              <a:gd name="connsiteX58" fmla="*/ 9783795 w 11576549"/>
              <a:gd name="connsiteY58" fmla="*/ 882921 h 6857997"/>
              <a:gd name="connsiteX59" fmla="*/ 9783184 w 11576549"/>
              <a:gd name="connsiteY59" fmla="*/ 883498 h 6857997"/>
              <a:gd name="connsiteX60" fmla="*/ 9749496 w 11576549"/>
              <a:gd name="connsiteY60" fmla="*/ 883498 h 6857997"/>
              <a:gd name="connsiteX61" fmla="*/ 9748926 w 11576549"/>
              <a:gd name="connsiteY61" fmla="*/ 882921 h 6857997"/>
              <a:gd name="connsiteX62" fmla="*/ 9750229 w 11576549"/>
              <a:gd name="connsiteY62" fmla="*/ 874548 h 6857997"/>
              <a:gd name="connsiteX63" fmla="*/ 9755851 w 11576549"/>
              <a:gd name="connsiteY63" fmla="*/ 866011 h 6857997"/>
              <a:gd name="connsiteX64" fmla="*/ 9766279 w 11576549"/>
              <a:gd name="connsiteY64" fmla="*/ 862794 h 6857997"/>
              <a:gd name="connsiteX65" fmla="*/ 10858569 w 11576549"/>
              <a:gd name="connsiteY65" fmla="*/ 851898 h 6857997"/>
              <a:gd name="connsiteX66" fmla="*/ 10857100 w 11576549"/>
              <a:gd name="connsiteY66" fmla="*/ 853369 h 6857997"/>
              <a:gd name="connsiteX67" fmla="*/ 10857100 w 11576549"/>
              <a:gd name="connsiteY67" fmla="*/ 925340 h 6857997"/>
              <a:gd name="connsiteX68" fmla="*/ 10858569 w 11576549"/>
              <a:gd name="connsiteY68" fmla="*/ 926812 h 6857997"/>
              <a:gd name="connsiteX69" fmla="*/ 10869755 w 11576549"/>
              <a:gd name="connsiteY69" fmla="*/ 926812 h 6857997"/>
              <a:gd name="connsiteX70" fmla="*/ 10871265 w 11576549"/>
              <a:gd name="connsiteY70" fmla="*/ 925340 h 6857997"/>
              <a:gd name="connsiteX71" fmla="*/ 10871265 w 11576549"/>
              <a:gd name="connsiteY71" fmla="*/ 853369 h 6857997"/>
              <a:gd name="connsiteX72" fmla="*/ 10869755 w 11576549"/>
              <a:gd name="connsiteY72" fmla="*/ 851898 h 6857997"/>
              <a:gd name="connsiteX73" fmla="*/ 10858569 w 11576549"/>
              <a:gd name="connsiteY73" fmla="*/ 851898 h 6857997"/>
              <a:gd name="connsiteX74" fmla="*/ 10486060 w 11576549"/>
              <a:gd name="connsiteY74" fmla="*/ 851898 h 6857997"/>
              <a:gd name="connsiteX75" fmla="*/ 10484712 w 11576549"/>
              <a:gd name="connsiteY75" fmla="*/ 852919 h 6857997"/>
              <a:gd name="connsiteX76" fmla="*/ 10484875 w 11576549"/>
              <a:gd name="connsiteY76" fmla="*/ 853491 h 6857997"/>
              <a:gd name="connsiteX77" fmla="*/ 10509469 w 11576549"/>
              <a:gd name="connsiteY77" fmla="*/ 926463 h 6857997"/>
              <a:gd name="connsiteX78" fmla="*/ 10509469 w 11576549"/>
              <a:gd name="connsiteY78" fmla="*/ 927362 h 6857997"/>
              <a:gd name="connsiteX79" fmla="*/ 10505220 w 11576549"/>
              <a:gd name="connsiteY79" fmla="*/ 938183 h 6857997"/>
              <a:gd name="connsiteX80" fmla="*/ 10499623 w 11576549"/>
              <a:gd name="connsiteY80" fmla="*/ 943124 h 6857997"/>
              <a:gd name="connsiteX81" fmla="*/ 10490309 w 11576549"/>
              <a:gd name="connsiteY81" fmla="*/ 944594 h 6857997"/>
              <a:gd name="connsiteX82" fmla="*/ 10490023 w 11576549"/>
              <a:gd name="connsiteY82" fmla="*/ 944594 h 6857997"/>
              <a:gd name="connsiteX83" fmla="*/ 10488552 w 11576549"/>
              <a:gd name="connsiteY83" fmla="*/ 946064 h 6857997"/>
              <a:gd name="connsiteX84" fmla="*/ 10488552 w 11576549"/>
              <a:gd name="connsiteY84" fmla="*/ 954762 h 6857997"/>
              <a:gd name="connsiteX85" fmla="*/ 10488552 w 11576549"/>
              <a:gd name="connsiteY85" fmla="*/ 956232 h 6857997"/>
              <a:gd name="connsiteX86" fmla="*/ 10489573 w 11576549"/>
              <a:gd name="connsiteY86" fmla="*/ 956232 h 6857997"/>
              <a:gd name="connsiteX87" fmla="*/ 10490595 w 11576549"/>
              <a:gd name="connsiteY87" fmla="*/ 956232 h 6857997"/>
              <a:gd name="connsiteX88" fmla="*/ 10505955 w 11576549"/>
              <a:gd name="connsiteY88" fmla="*/ 954191 h 6857997"/>
              <a:gd name="connsiteX89" fmla="*/ 10514780 w 11576549"/>
              <a:gd name="connsiteY89" fmla="*/ 947167 h 6857997"/>
              <a:gd name="connsiteX90" fmla="*/ 10521561 w 11576549"/>
              <a:gd name="connsiteY90" fmla="*/ 932058 h 6857997"/>
              <a:gd name="connsiteX91" fmla="*/ 10548443 w 11576549"/>
              <a:gd name="connsiteY91" fmla="*/ 853491 h 6857997"/>
              <a:gd name="connsiteX92" fmla="*/ 10547258 w 11576549"/>
              <a:gd name="connsiteY92" fmla="*/ 851898 h 6857997"/>
              <a:gd name="connsiteX93" fmla="*/ 10535574 w 11576549"/>
              <a:gd name="connsiteY93" fmla="*/ 851898 h 6857997"/>
              <a:gd name="connsiteX94" fmla="*/ 10533817 w 11576549"/>
              <a:gd name="connsiteY94" fmla="*/ 853041 h 6857997"/>
              <a:gd name="connsiteX95" fmla="*/ 10517313 w 11576549"/>
              <a:gd name="connsiteY95" fmla="*/ 908618 h 6857997"/>
              <a:gd name="connsiteX96" fmla="*/ 10516863 w 11576549"/>
              <a:gd name="connsiteY96" fmla="*/ 908945 h 6857997"/>
              <a:gd name="connsiteX97" fmla="*/ 10516414 w 11576549"/>
              <a:gd name="connsiteY97" fmla="*/ 908618 h 6857997"/>
              <a:gd name="connsiteX98" fmla="*/ 10499746 w 11576549"/>
              <a:gd name="connsiteY98" fmla="*/ 853041 h 6857997"/>
              <a:gd name="connsiteX99" fmla="*/ 10497989 w 11576549"/>
              <a:gd name="connsiteY99" fmla="*/ 851898 h 6857997"/>
              <a:gd name="connsiteX100" fmla="*/ 10486060 w 11576549"/>
              <a:gd name="connsiteY100" fmla="*/ 851898 h 6857997"/>
              <a:gd name="connsiteX101" fmla="*/ 9523244 w 11576549"/>
              <a:gd name="connsiteY101" fmla="*/ 851898 h 6857997"/>
              <a:gd name="connsiteX102" fmla="*/ 9521734 w 11576549"/>
              <a:gd name="connsiteY102" fmla="*/ 853368 h 6857997"/>
              <a:gd name="connsiteX103" fmla="*/ 9521734 w 11576549"/>
              <a:gd name="connsiteY103" fmla="*/ 903615 h 6857997"/>
              <a:gd name="connsiteX104" fmla="*/ 9525448 w 11576549"/>
              <a:gd name="connsiteY104" fmla="*/ 916840 h 6857997"/>
              <a:gd name="connsiteX105" fmla="*/ 9535241 w 11576549"/>
              <a:gd name="connsiteY105" fmla="*/ 925126 h 6857997"/>
              <a:gd name="connsiteX106" fmla="*/ 9548544 w 11576549"/>
              <a:gd name="connsiteY106" fmla="*/ 927901 h 6857997"/>
              <a:gd name="connsiteX107" fmla="*/ 9566661 w 11576549"/>
              <a:gd name="connsiteY107" fmla="*/ 919819 h 6857997"/>
              <a:gd name="connsiteX108" fmla="*/ 9567192 w 11576549"/>
              <a:gd name="connsiteY108" fmla="*/ 919574 h 6857997"/>
              <a:gd name="connsiteX109" fmla="*/ 9567396 w 11576549"/>
              <a:gd name="connsiteY109" fmla="*/ 919942 h 6857997"/>
              <a:gd name="connsiteX110" fmla="*/ 9567396 w 11576549"/>
              <a:gd name="connsiteY110" fmla="*/ 925411 h 6857997"/>
              <a:gd name="connsiteX111" fmla="*/ 9568906 w 11576549"/>
              <a:gd name="connsiteY111" fmla="*/ 926881 h 6857997"/>
              <a:gd name="connsiteX112" fmla="*/ 9579924 w 11576549"/>
              <a:gd name="connsiteY112" fmla="*/ 926881 h 6857997"/>
              <a:gd name="connsiteX113" fmla="*/ 9581392 w 11576549"/>
              <a:gd name="connsiteY113" fmla="*/ 925411 h 6857997"/>
              <a:gd name="connsiteX114" fmla="*/ 9581392 w 11576549"/>
              <a:gd name="connsiteY114" fmla="*/ 853368 h 6857997"/>
              <a:gd name="connsiteX115" fmla="*/ 9579924 w 11576549"/>
              <a:gd name="connsiteY115" fmla="*/ 851898 h 6857997"/>
              <a:gd name="connsiteX116" fmla="*/ 9568906 w 11576549"/>
              <a:gd name="connsiteY116" fmla="*/ 851898 h 6857997"/>
              <a:gd name="connsiteX117" fmla="*/ 9567396 w 11576549"/>
              <a:gd name="connsiteY117" fmla="*/ 853368 h 6857997"/>
              <a:gd name="connsiteX118" fmla="*/ 9567396 w 11576549"/>
              <a:gd name="connsiteY118" fmla="*/ 899165 h 6857997"/>
              <a:gd name="connsiteX119" fmla="*/ 9562989 w 11576549"/>
              <a:gd name="connsiteY119" fmla="*/ 911166 h 6857997"/>
              <a:gd name="connsiteX120" fmla="*/ 9551196 w 11576549"/>
              <a:gd name="connsiteY120" fmla="*/ 915697 h 6857997"/>
              <a:gd name="connsiteX121" fmla="*/ 9539811 w 11576549"/>
              <a:gd name="connsiteY121" fmla="*/ 911248 h 6857997"/>
              <a:gd name="connsiteX122" fmla="*/ 9535730 w 11576549"/>
              <a:gd name="connsiteY122" fmla="*/ 899165 h 6857997"/>
              <a:gd name="connsiteX123" fmla="*/ 9535730 w 11576549"/>
              <a:gd name="connsiteY123" fmla="*/ 853368 h 6857997"/>
              <a:gd name="connsiteX124" fmla="*/ 9534262 w 11576549"/>
              <a:gd name="connsiteY124" fmla="*/ 851898 h 6857997"/>
              <a:gd name="connsiteX125" fmla="*/ 9523244 w 11576549"/>
              <a:gd name="connsiteY125" fmla="*/ 851898 h 6857997"/>
              <a:gd name="connsiteX126" fmla="*/ 10754761 w 11576549"/>
              <a:gd name="connsiteY126" fmla="*/ 851081 h 6857997"/>
              <a:gd name="connsiteX127" fmla="*/ 10736682 w 11576549"/>
              <a:gd name="connsiteY127" fmla="*/ 861404 h 6857997"/>
              <a:gd name="connsiteX128" fmla="*/ 10736316 w 11576549"/>
              <a:gd name="connsiteY128" fmla="*/ 861649 h 6857997"/>
              <a:gd name="connsiteX129" fmla="*/ 10736071 w 11576549"/>
              <a:gd name="connsiteY129" fmla="*/ 861118 h 6857997"/>
              <a:gd name="connsiteX130" fmla="*/ 10736071 w 11576549"/>
              <a:gd name="connsiteY130" fmla="*/ 853325 h 6857997"/>
              <a:gd name="connsiteX131" fmla="*/ 10734605 w 11576549"/>
              <a:gd name="connsiteY131" fmla="*/ 851856 h 6857997"/>
              <a:gd name="connsiteX132" fmla="*/ 10723449 w 11576549"/>
              <a:gd name="connsiteY132" fmla="*/ 851856 h 6857997"/>
              <a:gd name="connsiteX133" fmla="*/ 10721983 w 11576549"/>
              <a:gd name="connsiteY133" fmla="*/ 853325 h 6857997"/>
              <a:gd name="connsiteX134" fmla="*/ 10721983 w 11576549"/>
              <a:gd name="connsiteY134" fmla="*/ 925343 h 6857997"/>
              <a:gd name="connsiteX135" fmla="*/ 10723449 w 11576549"/>
              <a:gd name="connsiteY135" fmla="*/ 926811 h 6857997"/>
              <a:gd name="connsiteX136" fmla="*/ 10734605 w 11576549"/>
              <a:gd name="connsiteY136" fmla="*/ 926811 h 6857997"/>
              <a:gd name="connsiteX137" fmla="*/ 10736071 w 11576549"/>
              <a:gd name="connsiteY137" fmla="*/ 925343 h 6857997"/>
              <a:gd name="connsiteX138" fmla="*/ 10736071 w 11576549"/>
              <a:gd name="connsiteY138" fmla="*/ 882336 h 6857997"/>
              <a:gd name="connsiteX139" fmla="*/ 10740550 w 11576549"/>
              <a:gd name="connsiteY139" fmla="*/ 870625 h 6857997"/>
              <a:gd name="connsiteX140" fmla="*/ 10751951 w 11576549"/>
              <a:gd name="connsiteY140" fmla="*/ 865852 h 6857997"/>
              <a:gd name="connsiteX141" fmla="*/ 10754028 w 11576549"/>
              <a:gd name="connsiteY141" fmla="*/ 865688 h 6857997"/>
              <a:gd name="connsiteX142" fmla="*/ 10759891 w 11576549"/>
              <a:gd name="connsiteY142" fmla="*/ 866708 h 6857997"/>
              <a:gd name="connsiteX143" fmla="*/ 10761642 w 11576549"/>
              <a:gd name="connsiteY143" fmla="*/ 865852 h 6857997"/>
              <a:gd name="connsiteX144" fmla="*/ 10764003 w 11576549"/>
              <a:gd name="connsiteY144" fmla="*/ 854794 h 6857997"/>
              <a:gd name="connsiteX145" fmla="*/ 10763271 w 11576549"/>
              <a:gd name="connsiteY145" fmla="*/ 852998 h 6857997"/>
              <a:gd name="connsiteX146" fmla="*/ 10754761 w 11576549"/>
              <a:gd name="connsiteY146" fmla="*/ 851081 h 6857997"/>
              <a:gd name="connsiteX147" fmla="*/ 10449591 w 11576549"/>
              <a:gd name="connsiteY147" fmla="*/ 851081 h 6857997"/>
              <a:gd name="connsiteX148" fmla="*/ 10429033 w 11576549"/>
              <a:gd name="connsiteY148" fmla="*/ 856930 h 6857997"/>
              <a:gd name="connsiteX149" fmla="*/ 10421267 w 11576549"/>
              <a:gd name="connsiteY149" fmla="*/ 872679 h 6857997"/>
              <a:gd name="connsiteX150" fmla="*/ 10425191 w 11576549"/>
              <a:gd name="connsiteY150" fmla="*/ 884255 h 6857997"/>
              <a:gd name="connsiteX151" fmla="*/ 10434755 w 11576549"/>
              <a:gd name="connsiteY151" fmla="*/ 891209 h 6857997"/>
              <a:gd name="connsiteX152" fmla="*/ 10448855 w 11576549"/>
              <a:gd name="connsiteY152" fmla="*/ 895995 h 6857997"/>
              <a:gd name="connsiteX153" fmla="*/ 10461280 w 11576549"/>
              <a:gd name="connsiteY153" fmla="*/ 900495 h 6857997"/>
              <a:gd name="connsiteX154" fmla="*/ 10465081 w 11576549"/>
              <a:gd name="connsiteY154" fmla="*/ 906917 h 6857997"/>
              <a:gd name="connsiteX155" fmla="*/ 10460953 w 11576549"/>
              <a:gd name="connsiteY155" fmla="*/ 914239 h 6857997"/>
              <a:gd name="connsiteX156" fmla="*/ 10450204 w 11576549"/>
              <a:gd name="connsiteY156" fmla="*/ 917102 h 6857997"/>
              <a:gd name="connsiteX157" fmla="*/ 10438760 w 11576549"/>
              <a:gd name="connsiteY157" fmla="*/ 913993 h 6857997"/>
              <a:gd name="connsiteX158" fmla="*/ 10434264 w 11576549"/>
              <a:gd name="connsiteY158" fmla="*/ 906753 h 6857997"/>
              <a:gd name="connsiteX159" fmla="*/ 10434264 w 11576549"/>
              <a:gd name="connsiteY159" fmla="*/ 906017 h 6857997"/>
              <a:gd name="connsiteX160" fmla="*/ 10432793 w 11576549"/>
              <a:gd name="connsiteY160" fmla="*/ 904544 h 6857997"/>
              <a:gd name="connsiteX161" fmla="*/ 10422166 w 11576549"/>
              <a:gd name="connsiteY161" fmla="*/ 904544 h 6857997"/>
              <a:gd name="connsiteX162" fmla="*/ 10420695 w 11576549"/>
              <a:gd name="connsiteY162" fmla="*/ 906017 h 6857997"/>
              <a:gd name="connsiteX163" fmla="*/ 10420695 w 11576549"/>
              <a:gd name="connsiteY163" fmla="*/ 907653 h 6857997"/>
              <a:gd name="connsiteX164" fmla="*/ 10424373 w 11576549"/>
              <a:gd name="connsiteY164" fmla="*/ 917920 h 6857997"/>
              <a:gd name="connsiteX165" fmla="*/ 10434755 w 11576549"/>
              <a:gd name="connsiteY165" fmla="*/ 925242 h 6857997"/>
              <a:gd name="connsiteX166" fmla="*/ 10450327 w 11576549"/>
              <a:gd name="connsiteY166" fmla="*/ 927901 h 6857997"/>
              <a:gd name="connsiteX167" fmla="*/ 10471375 w 11576549"/>
              <a:gd name="connsiteY167" fmla="*/ 921970 h 6857997"/>
              <a:gd name="connsiteX168" fmla="*/ 10479264 w 11576549"/>
              <a:gd name="connsiteY168" fmla="*/ 906017 h 6857997"/>
              <a:gd name="connsiteX169" fmla="*/ 10475258 w 11576549"/>
              <a:gd name="connsiteY169" fmla="*/ 894277 h 6857997"/>
              <a:gd name="connsiteX170" fmla="*/ 10465613 w 11576549"/>
              <a:gd name="connsiteY170" fmla="*/ 887487 h 6857997"/>
              <a:gd name="connsiteX171" fmla="*/ 10451389 w 11576549"/>
              <a:gd name="connsiteY171" fmla="*/ 882864 h 6857997"/>
              <a:gd name="connsiteX172" fmla="*/ 10438760 w 11576549"/>
              <a:gd name="connsiteY172" fmla="*/ 878119 h 6857997"/>
              <a:gd name="connsiteX173" fmla="*/ 10434836 w 11576549"/>
              <a:gd name="connsiteY173" fmla="*/ 871615 h 6857997"/>
              <a:gd name="connsiteX174" fmla="*/ 10438883 w 11576549"/>
              <a:gd name="connsiteY174" fmla="*/ 864825 h 6857997"/>
              <a:gd name="connsiteX175" fmla="*/ 10449468 w 11576549"/>
              <a:gd name="connsiteY175" fmla="*/ 862330 h 6857997"/>
              <a:gd name="connsiteX176" fmla="*/ 10460872 w 11576549"/>
              <a:gd name="connsiteY176" fmla="*/ 865193 h 6857997"/>
              <a:gd name="connsiteX177" fmla="*/ 10465081 w 11576549"/>
              <a:gd name="connsiteY177" fmla="*/ 872352 h 6857997"/>
              <a:gd name="connsiteX178" fmla="*/ 10465081 w 11576549"/>
              <a:gd name="connsiteY178" fmla="*/ 872801 h 6857997"/>
              <a:gd name="connsiteX179" fmla="*/ 10466553 w 11576549"/>
              <a:gd name="connsiteY179" fmla="*/ 874274 h 6857997"/>
              <a:gd name="connsiteX180" fmla="*/ 10476893 w 11576549"/>
              <a:gd name="connsiteY180" fmla="*/ 874274 h 6857997"/>
              <a:gd name="connsiteX181" fmla="*/ 10478365 w 11576549"/>
              <a:gd name="connsiteY181" fmla="*/ 872801 h 6857997"/>
              <a:gd name="connsiteX182" fmla="*/ 10478365 w 11576549"/>
              <a:gd name="connsiteY182" fmla="*/ 872352 h 6857997"/>
              <a:gd name="connsiteX183" fmla="*/ 10474849 w 11576549"/>
              <a:gd name="connsiteY183" fmla="*/ 861430 h 6857997"/>
              <a:gd name="connsiteX184" fmla="*/ 10464713 w 11576549"/>
              <a:gd name="connsiteY184" fmla="*/ 853821 h 6857997"/>
              <a:gd name="connsiteX185" fmla="*/ 10449591 w 11576549"/>
              <a:gd name="connsiteY185" fmla="*/ 851081 h 6857997"/>
              <a:gd name="connsiteX186" fmla="*/ 9849201 w 11576549"/>
              <a:gd name="connsiteY186" fmla="*/ 851081 h 6857997"/>
              <a:gd name="connsiteX187" fmla="*/ 9831005 w 11576549"/>
              <a:gd name="connsiteY187" fmla="*/ 861404 h 6857997"/>
              <a:gd name="connsiteX188" fmla="*/ 9830637 w 11576549"/>
              <a:gd name="connsiteY188" fmla="*/ 861649 h 6857997"/>
              <a:gd name="connsiteX189" fmla="*/ 9830432 w 11576549"/>
              <a:gd name="connsiteY189" fmla="*/ 861118 h 6857997"/>
              <a:gd name="connsiteX190" fmla="*/ 9830432 w 11576549"/>
              <a:gd name="connsiteY190" fmla="*/ 853325 h 6857997"/>
              <a:gd name="connsiteX191" fmla="*/ 9828957 w 11576549"/>
              <a:gd name="connsiteY191" fmla="*/ 851856 h 6857997"/>
              <a:gd name="connsiteX192" fmla="*/ 9817687 w 11576549"/>
              <a:gd name="connsiteY192" fmla="*/ 851856 h 6857997"/>
              <a:gd name="connsiteX193" fmla="*/ 9816212 w 11576549"/>
              <a:gd name="connsiteY193" fmla="*/ 853325 h 6857997"/>
              <a:gd name="connsiteX194" fmla="*/ 9816212 w 11576549"/>
              <a:gd name="connsiteY194" fmla="*/ 925343 h 6857997"/>
              <a:gd name="connsiteX195" fmla="*/ 9817687 w 11576549"/>
              <a:gd name="connsiteY195" fmla="*/ 926811 h 6857997"/>
              <a:gd name="connsiteX196" fmla="*/ 9828957 w 11576549"/>
              <a:gd name="connsiteY196" fmla="*/ 926811 h 6857997"/>
              <a:gd name="connsiteX197" fmla="*/ 9830432 w 11576549"/>
              <a:gd name="connsiteY197" fmla="*/ 925343 h 6857997"/>
              <a:gd name="connsiteX198" fmla="*/ 9830432 w 11576549"/>
              <a:gd name="connsiteY198" fmla="*/ 882336 h 6857997"/>
              <a:gd name="connsiteX199" fmla="*/ 9834940 w 11576549"/>
              <a:gd name="connsiteY199" fmla="*/ 870625 h 6857997"/>
              <a:gd name="connsiteX200" fmla="*/ 9846414 w 11576549"/>
              <a:gd name="connsiteY200" fmla="*/ 865852 h 6857997"/>
              <a:gd name="connsiteX201" fmla="*/ 9848463 w 11576549"/>
              <a:gd name="connsiteY201" fmla="*/ 865688 h 6857997"/>
              <a:gd name="connsiteX202" fmla="*/ 9854405 w 11576549"/>
              <a:gd name="connsiteY202" fmla="*/ 866708 h 6857997"/>
              <a:gd name="connsiteX203" fmla="*/ 9856167 w 11576549"/>
              <a:gd name="connsiteY203" fmla="*/ 865852 h 6857997"/>
              <a:gd name="connsiteX204" fmla="*/ 9858544 w 11576549"/>
              <a:gd name="connsiteY204" fmla="*/ 854794 h 6857997"/>
              <a:gd name="connsiteX205" fmla="*/ 9857807 w 11576549"/>
              <a:gd name="connsiteY205" fmla="*/ 852998 h 6857997"/>
              <a:gd name="connsiteX206" fmla="*/ 9849201 w 11576549"/>
              <a:gd name="connsiteY206" fmla="*/ 851081 h 6857997"/>
              <a:gd name="connsiteX207" fmla="*/ 11007426 w 11576549"/>
              <a:gd name="connsiteY207" fmla="*/ 850808 h 6857997"/>
              <a:gd name="connsiteX208" fmla="*/ 10988696 w 11576549"/>
              <a:gd name="connsiteY208" fmla="*/ 858927 h 6857997"/>
              <a:gd name="connsiteX209" fmla="*/ 10988328 w 11576549"/>
              <a:gd name="connsiteY209" fmla="*/ 859049 h 6857997"/>
              <a:gd name="connsiteX210" fmla="*/ 10988124 w 11576549"/>
              <a:gd name="connsiteY210" fmla="*/ 858641 h 6857997"/>
              <a:gd name="connsiteX211" fmla="*/ 10988124 w 11576549"/>
              <a:gd name="connsiteY211" fmla="*/ 853338 h 6857997"/>
              <a:gd name="connsiteX212" fmla="*/ 10986655 w 11576549"/>
              <a:gd name="connsiteY212" fmla="*/ 851869 h 6857997"/>
              <a:gd name="connsiteX213" fmla="*/ 10975475 w 11576549"/>
              <a:gd name="connsiteY213" fmla="*/ 851869 h 6857997"/>
              <a:gd name="connsiteX214" fmla="*/ 10973965 w 11576549"/>
              <a:gd name="connsiteY214" fmla="*/ 853338 h 6857997"/>
              <a:gd name="connsiteX215" fmla="*/ 10973965 w 11576549"/>
              <a:gd name="connsiteY215" fmla="*/ 925343 h 6857997"/>
              <a:gd name="connsiteX216" fmla="*/ 10975475 w 11576549"/>
              <a:gd name="connsiteY216" fmla="*/ 926812 h 6857997"/>
              <a:gd name="connsiteX217" fmla="*/ 10986655 w 11576549"/>
              <a:gd name="connsiteY217" fmla="*/ 926812 h 6857997"/>
              <a:gd name="connsiteX218" fmla="*/ 10988124 w 11576549"/>
              <a:gd name="connsiteY218" fmla="*/ 925343 h 6857997"/>
              <a:gd name="connsiteX219" fmla="*/ 10988124 w 11576549"/>
              <a:gd name="connsiteY219" fmla="*/ 879406 h 6857997"/>
              <a:gd name="connsiteX220" fmla="*/ 10992531 w 11576549"/>
              <a:gd name="connsiteY220" fmla="*/ 867616 h 6857997"/>
              <a:gd name="connsiteX221" fmla="*/ 11003875 w 11576549"/>
              <a:gd name="connsiteY221" fmla="*/ 863047 h 6857997"/>
              <a:gd name="connsiteX222" fmla="*/ 11015220 w 11576549"/>
              <a:gd name="connsiteY222" fmla="*/ 867616 h 6857997"/>
              <a:gd name="connsiteX223" fmla="*/ 11019504 w 11576549"/>
              <a:gd name="connsiteY223" fmla="*/ 879529 h 6857997"/>
              <a:gd name="connsiteX224" fmla="*/ 11019504 w 11576549"/>
              <a:gd name="connsiteY224" fmla="*/ 925343 h 6857997"/>
              <a:gd name="connsiteX225" fmla="*/ 11020973 w 11576549"/>
              <a:gd name="connsiteY225" fmla="*/ 926812 h 6857997"/>
              <a:gd name="connsiteX226" fmla="*/ 11032154 w 11576549"/>
              <a:gd name="connsiteY226" fmla="*/ 926812 h 6857997"/>
              <a:gd name="connsiteX227" fmla="*/ 11033623 w 11576549"/>
              <a:gd name="connsiteY227" fmla="*/ 925343 h 6857997"/>
              <a:gd name="connsiteX228" fmla="*/ 11033623 w 11576549"/>
              <a:gd name="connsiteY228" fmla="*/ 876755 h 6857997"/>
              <a:gd name="connsiteX229" fmla="*/ 11026564 w 11576549"/>
              <a:gd name="connsiteY229" fmla="*/ 857825 h 6857997"/>
              <a:gd name="connsiteX230" fmla="*/ 11007426 w 11576549"/>
              <a:gd name="connsiteY230" fmla="*/ 850808 h 6857997"/>
              <a:gd name="connsiteX231" fmla="*/ 10923739 w 11576549"/>
              <a:gd name="connsiteY231" fmla="*/ 850808 h 6857997"/>
              <a:gd name="connsiteX232" fmla="*/ 10904465 w 11576549"/>
              <a:gd name="connsiteY232" fmla="*/ 856678 h 6857997"/>
              <a:gd name="connsiteX233" fmla="*/ 10893871 w 11576549"/>
              <a:gd name="connsiteY233" fmla="*/ 872738 h 6857997"/>
              <a:gd name="connsiteX234" fmla="*/ 10892241 w 11576549"/>
              <a:gd name="connsiteY234" fmla="*/ 889043 h 6857997"/>
              <a:gd name="connsiteX235" fmla="*/ 10895786 w 11576549"/>
              <a:gd name="connsiteY235" fmla="*/ 910076 h 6857997"/>
              <a:gd name="connsiteX236" fmla="*/ 10906788 w 11576549"/>
              <a:gd name="connsiteY236" fmla="*/ 923486 h 6857997"/>
              <a:gd name="connsiteX237" fmla="*/ 10924880 w 11576549"/>
              <a:gd name="connsiteY237" fmla="*/ 928174 h 6857997"/>
              <a:gd name="connsiteX238" fmla="*/ 10942035 w 11576549"/>
              <a:gd name="connsiteY238" fmla="*/ 924342 h 6857997"/>
              <a:gd name="connsiteX239" fmla="*/ 10953729 w 11576549"/>
              <a:gd name="connsiteY239" fmla="*/ 913907 h 6857997"/>
              <a:gd name="connsiteX240" fmla="*/ 10953281 w 11576549"/>
              <a:gd name="connsiteY240" fmla="*/ 911991 h 6857997"/>
              <a:gd name="connsiteX241" fmla="*/ 10944887 w 11576549"/>
              <a:gd name="connsiteY241" fmla="*/ 906407 h 6857997"/>
              <a:gd name="connsiteX242" fmla="*/ 10942972 w 11576549"/>
              <a:gd name="connsiteY242" fmla="*/ 906855 h 6857997"/>
              <a:gd name="connsiteX243" fmla="*/ 10926224 w 11576549"/>
              <a:gd name="connsiteY243" fmla="*/ 915823 h 6857997"/>
              <a:gd name="connsiteX244" fmla="*/ 10913796 w 11576549"/>
              <a:gd name="connsiteY244" fmla="*/ 912521 h 6857997"/>
              <a:gd name="connsiteX245" fmla="*/ 10907236 w 11576549"/>
              <a:gd name="connsiteY245" fmla="*/ 903309 h 6857997"/>
              <a:gd name="connsiteX246" fmla="*/ 10906380 w 11576549"/>
              <a:gd name="connsiteY246" fmla="*/ 895687 h 6857997"/>
              <a:gd name="connsiteX247" fmla="*/ 10906951 w 11576549"/>
              <a:gd name="connsiteY247" fmla="*/ 895075 h 6857997"/>
              <a:gd name="connsiteX248" fmla="*/ 10953892 w 11576549"/>
              <a:gd name="connsiteY248" fmla="*/ 895075 h 6857997"/>
              <a:gd name="connsiteX249" fmla="*/ 10955359 w 11576549"/>
              <a:gd name="connsiteY249" fmla="*/ 893608 h 6857997"/>
              <a:gd name="connsiteX250" fmla="*/ 10954911 w 11576549"/>
              <a:gd name="connsiteY250" fmla="*/ 880075 h 6857997"/>
              <a:gd name="connsiteX251" fmla="*/ 10945946 w 11576549"/>
              <a:gd name="connsiteY251" fmla="*/ 858227 h 6857997"/>
              <a:gd name="connsiteX252" fmla="*/ 10923739 w 11576549"/>
              <a:gd name="connsiteY252" fmla="*/ 850808 h 6857997"/>
              <a:gd name="connsiteX253" fmla="*/ 10801413 w 11576549"/>
              <a:gd name="connsiteY253" fmla="*/ 850808 h 6857997"/>
              <a:gd name="connsiteX254" fmla="*/ 10784548 w 11576549"/>
              <a:gd name="connsiteY254" fmla="*/ 856153 h 6857997"/>
              <a:gd name="connsiteX255" fmla="*/ 10774584 w 11576549"/>
              <a:gd name="connsiteY255" fmla="*/ 870392 h 6857997"/>
              <a:gd name="connsiteX256" fmla="*/ 10772379 w 11576549"/>
              <a:gd name="connsiteY256" fmla="*/ 889241 h 6857997"/>
              <a:gd name="connsiteX257" fmla="*/ 10774299 w 11576549"/>
              <a:gd name="connsiteY257" fmla="*/ 907192 h 6857997"/>
              <a:gd name="connsiteX258" fmla="*/ 10784957 w 11576549"/>
              <a:gd name="connsiteY258" fmla="*/ 921921 h 6857997"/>
              <a:gd name="connsiteX259" fmla="*/ 10802312 w 11576549"/>
              <a:gd name="connsiteY259" fmla="*/ 926939 h 6857997"/>
              <a:gd name="connsiteX260" fmla="*/ 10820443 w 11576549"/>
              <a:gd name="connsiteY260" fmla="*/ 919717 h 6857997"/>
              <a:gd name="connsiteX261" fmla="*/ 10820933 w 11576549"/>
              <a:gd name="connsiteY261" fmla="*/ 919554 h 6857997"/>
              <a:gd name="connsiteX262" fmla="*/ 10821178 w 11576549"/>
              <a:gd name="connsiteY262" fmla="*/ 920003 h 6857997"/>
              <a:gd name="connsiteX263" fmla="*/ 10821178 w 11576549"/>
              <a:gd name="connsiteY263" fmla="*/ 922655 h 6857997"/>
              <a:gd name="connsiteX264" fmla="*/ 10815583 w 11576549"/>
              <a:gd name="connsiteY264" fmla="*/ 938362 h 6857997"/>
              <a:gd name="connsiteX265" fmla="*/ 10797452 w 11576549"/>
              <a:gd name="connsiteY265" fmla="*/ 942973 h 6857997"/>
              <a:gd name="connsiteX266" fmla="*/ 10791409 w 11576549"/>
              <a:gd name="connsiteY266" fmla="*/ 942850 h 6857997"/>
              <a:gd name="connsiteX267" fmla="*/ 10790224 w 11576549"/>
              <a:gd name="connsiteY267" fmla="*/ 943136 h 6857997"/>
              <a:gd name="connsiteX268" fmla="*/ 10789775 w 11576549"/>
              <a:gd name="connsiteY268" fmla="*/ 944156 h 6857997"/>
              <a:gd name="connsiteX269" fmla="*/ 10789326 w 11576549"/>
              <a:gd name="connsiteY269" fmla="*/ 954315 h 6857997"/>
              <a:gd name="connsiteX270" fmla="*/ 10790796 w 11576549"/>
              <a:gd name="connsiteY270" fmla="*/ 955947 h 6857997"/>
              <a:gd name="connsiteX271" fmla="*/ 10798187 w 11576549"/>
              <a:gd name="connsiteY271" fmla="*/ 956232 h 6857997"/>
              <a:gd name="connsiteX272" fmla="*/ 10825220 w 11576549"/>
              <a:gd name="connsiteY272" fmla="*/ 948603 h 6857997"/>
              <a:gd name="connsiteX273" fmla="*/ 10835307 w 11576549"/>
              <a:gd name="connsiteY273" fmla="*/ 923104 h 6857997"/>
              <a:gd name="connsiteX274" fmla="*/ 10835307 w 11576549"/>
              <a:gd name="connsiteY274" fmla="*/ 853460 h 6857997"/>
              <a:gd name="connsiteX275" fmla="*/ 10833837 w 11576549"/>
              <a:gd name="connsiteY275" fmla="*/ 851991 h 6857997"/>
              <a:gd name="connsiteX276" fmla="*/ 10822648 w 11576549"/>
              <a:gd name="connsiteY276" fmla="*/ 851991 h 6857997"/>
              <a:gd name="connsiteX277" fmla="*/ 10821178 w 11576549"/>
              <a:gd name="connsiteY277" fmla="*/ 853460 h 6857997"/>
              <a:gd name="connsiteX278" fmla="*/ 10821178 w 11576549"/>
              <a:gd name="connsiteY278" fmla="*/ 858030 h 6857997"/>
              <a:gd name="connsiteX279" fmla="*/ 10820933 w 11576549"/>
              <a:gd name="connsiteY279" fmla="*/ 858397 h 6857997"/>
              <a:gd name="connsiteX280" fmla="*/ 10820443 w 11576549"/>
              <a:gd name="connsiteY280" fmla="*/ 858152 h 6857997"/>
              <a:gd name="connsiteX281" fmla="*/ 10801413 w 11576549"/>
              <a:gd name="connsiteY281" fmla="*/ 850808 h 6857997"/>
              <a:gd name="connsiteX282" fmla="*/ 10671852 w 11576549"/>
              <a:gd name="connsiteY282" fmla="*/ 850808 h 6857997"/>
              <a:gd name="connsiteX283" fmla="*/ 10652536 w 11576549"/>
              <a:gd name="connsiteY283" fmla="*/ 856678 h 6857997"/>
              <a:gd name="connsiteX284" fmla="*/ 10641896 w 11576549"/>
              <a:gd name="connsiteY284" fmla="*/ 872738 h 6857997"/>
              <a:gd name="connsiteX285" fmla="*/ 10640259 w 11576549"/>
              <a:gd name="connsiteY285" fmla="*/ 889043 h 6857997"/>
              <a:gd name="connsiteX286" fmla="*/ 10643820 w 11576549"/>
              <a:gd name="connsiteY286" fmla="*/ 910076 h 6857997"/>
              <a:gd name="connsiteX287" fmla="*/ 10654869 w 11576549"/>
              <a:gd name="connsiteY287" fmla="*/ 923486 h 6857997"/>
              <a:gd name="connsiteX288" fmla="*/ 10673039 w 11576549"/>
              <a:gd name="connsiteY288" fmla="*/ 928174 h 6857997"/>
              <a:gd name="connsiteX289" fmla="*/ 10690268 w 11576549"/>
              <a:gd name="connsiteY289" fmla="*/ 924342 h 6857997"/>
              <a:gd name="connsiteX290" fmla="*/ 10702013 w 11576549"/>
              <a:gd name="connsiteY290" fmla="*/ 913907 h 6857997"/>
              <a:gd name="connsiteX291" fmla="*/ 10701563 w 11576549"/>
              <a:gd name="connsiteY291" fmla="*/ 911991 h 6857997"/>
              <a:gd name="connsiteX292" fmla="*/ 10693132 w 11576549"/>
              <a:gd name="connsiteY292" fmla="*/ 906407 h 6857997"/>
              <a:gd name="connsiteX293" fmla="*/ 10691209 w 11576549"/>
              <a:gd name="connsiteY293" fmla="*/ 906855 h 6857997"/>
              <a:gd name="connsiteX294" fmla="*/ 10674389 w 11576549"/>
              <a:gd name="connsiteY294" fmla="*/ 915823 h 6857997"/>
              <a:gd name="connsiteX295" fmla="*/ 10661908 w 11576549"/>
              <a:gd name="connsiteY295" fmla="*/ 912521 h 6857997"/>
              <a:gd name="connsiteX296" fmla="*/ 10655319 w 11576549"/>
              <a:gd name="connsiteY296" fmla="*/ 903309 h 6857997"/>
              <a:gd name="connsiteX297" fmla="*/ 10654460 w 11576549"/>
              <a:gd name="connsiteY297" fmla="*/ 895687 h 6857997"/>
              <a:gd name="connsiteX298" fmla="*/ 10655033 w 11576549"/>
              <a:gd name="connsiteY298" fmla="*/ 895075 h 6857997"/>
              <a:gd name="connsiteX299" fmla="*/ 10702135 w 11576549"/>
              <a:gd name="connsiteY299" fmla="*/ 895075 h 6857997"/>
              <a:gd name="connsiteX300" fmla="*/ 10703650 w 11576549"/>
              <a:gd name="connsiteY300" fmla="*/ 893608 h 6857997"/>
              <a:gd name="connsiteX301" fmla="*/ 10703200 w 11576549"/>
              <a:gd name="connsiteY301" fmla="*/ 880075 h 6857997"/>
              <a:gd name="connsiteX302" fmla="*/ 10694196 w 11576549"/>
              <a:gd name="connsiteY302" fmla="*/ 858227 h 6857997"/>
              <a:gd name="connsiteX303" fmla="*/ 10671852 w 11576549"/>
              <a:gd name="connsiteY303" fmla="*/ 850808 h 6857997"/>
              <a:gd name="connsiteX304" fmla="*/ 10596042 w 11576549"/>
              <a:gd name="connsiteY304" fmla="*/ 850808 h 6857997"/>
              <a:gd name="connsiteX305" fmla="*/ 10577353 w 11576549"/>
              <a:gd name="connsiteY305" fmla="*/ 858927 h 6857997"/>
              <a:gd name="connsiteX306" fmla="*/ 10576985 w 11576549"/>
              <a:gd name="connsiteY306" fmla="*/ 859049 h 6857997"/>
              <a:gd name="connsiteX307" fmla="*/ 10576741 w 11576549"/>
              <a:gd name="connsiteY307" fmla="*/ 858641 h 6857997"/>
              <a:gd name="connsiteX308" fmla="*/ 10576741 w 11576549"/>
              <a:gd name="connsiteY308" fmla="*/ 853338 h 6857997"/>
              <a:gd name="connsiteX309" fmla="*/ 10575272 w 11576549"/>
              <a:gd name="connsiteY309" fmla="*/ 851869 h 6857997"/>
              <a:gd name="connsiteX310" fmla="*/ 10564091 w 11576549"/>
              <a:gd name="connsiteY310" fmla="*/ 851869 h 6857997"/>
              <a:gd name="connsiteX311" fmla="*/ 10562622 w 11576549"/>
              <a:gd name="connsiteY311" fmla="*/ 853338 h 6857997"/>
              <a:gd name="connsiteX312" fmla="*/ 10562622 w 11576549"/>
              <a:gd name="connsiteY312" fmla="*/ 925343 h 6857997"/>
              <a:gd name="connsiteX313" fmla="*/ 10564091 w 11576549"/>
              <a:gd name="connsiteY313" fmla="*/ 926812 h 6857997"/>
              <a:gd name="connsiteX314" fmla="*/ 10575272 w 11576549"/>
              <a:gd name="connsiteY314" fmla="*/ 926812 h 6857997"/>
              <a:gd name="connsiteX315" fmla="*/ 10576741 w 11576549"/>
              <a:gd name="connsiteY315" fmla="*/ 925343 h 6857997"/>
              <a:gd name="connsiteX316" fmla="*/ 10576741 w 11576549"/>
              <a:gd name="connsiteY316" fmla="*/ 879406 h 6857997"/>
              <a:gd name="connsiteX317" fmla="*/ 10581148 w 11576549"/>
              <a:gd name="connsiteY317" fmla="*/ 867616 h 6857997"/>
              <a:gd name="connsiteX318" fmla="*/ 10592492 w 11576549"/>
              <a:gd name="connsiteY318" fmla="*/ 863047 h 6857997"/>
              <a:gd name="connsiteX319" fmla="*/ 10603836 w 11576549"/>
              <a:gd name="connsiteY319" fmla="*/ 867616 h 6857997"/>
              <a:gd name="connsiteX320" fmla="*/ 10608120 w 11576549"/>
              <a:gd name="connsiteY320" fmla="*/ 879529 h 6857997"/>
              <a:gd name="connsiteX321" fmla="*/ 10608120 w 11576549"/>
              <a:gd name="connsiteY321" fmla="*/ 925343 h 6857997"/>
              <a:gd name="connsiteX322" fmla="*/ 10609589 w 11576549"/>
              <a:gd name="connsiteY322" fmla="*/ 926812 h 6857997"/>
              <a:gd name="connsiteX323" fmla="*/ 10620770 w 11576549"/>
              <a:gd name="connsiteY323" fmla="*/ 926812 h 6857997"/>
              <a:gd name="connsiteX324" fmla="*/ 10622280 w 11576549"/>
              <a:gd name="connsiteY324" fmla="*/ 925343 h 6857997"/>
              <a:gd name="connsiteX325" fmla="*/ 10622280 w 11576549"/>
              <a:gd name="connsiteY325" fmla="*/ 876755 h 6857997"/>
              <a:gd name="connsiteX326" fmla="*/ 10615180 w 11576549"/>
              <a:gd name="connsiteY326" fmla="*/ 857825 h 6857997"/>
              <a:gd name="connsiteX327" fmla="*/ 10596042 w 11576549"/>
              <a:gd name="connsiteY327" fmla="*/ 850808 h 6857997"/>
              <a:gd name="connsiteX328" fmla="*/ 10346553 w 11576549"/>
              <a:gd name="connsiteY328" fmla="*/ 850808 h 6857997"/>
              <a:gd name="connsiteX329" fmla="*/ 10327823 w 11576549"/>
              <a:gd name="connsiteY329" fmla="*/ 858927 h 6857997"/>
              <a:gd name="connsiteX330" fmla="*/ 10327455 w 11576549"/>
              <a:gd name="connsiteY330" fmla="*/ 859049 h 6857997"/>
              <a:gd name="connsiteX331" fmla="*/ 10327251 w 11576549"/>
              <a:gd name="connsiteY331" fmla="*/ 858641 h 6857997"/>
              <a:gd name="connsiteX332" fmla="*/ 10327251 w 11576549"/>
              <a:gd name="connsiteY332" fmla="*/ 853338 h 6857997"/>
              <a:gd name="connsiteX333" fmla="*/ 10325783 w 11576549"/>
              <a:gd name="connsiteY333" fmla="*/ 851869 h 6857997"/>
              <a:gd name="connsiteX334" fmla="*/ 10314561 w 11576549"/>
              <a:gd name="connsiteY334" fmla="*/ 851869 h 6857997"/>
              <a:gd name="connsiteX335" fmla="*/ 10313092 w 11576549"/>
              <a:gd name="connsiteY335" fmla="*/ 853338 h 6857997"/>
              <a:gd name="connsiteX336" fmla="*/ 10313092 w 11576549"/>
              <a:gd name="connsiteY336" fmla="*/ 925343 h 6857997"/>
              <a:gd name="connsiteX337" fmla="*/ 10314561 w 11576549"/>
              <a:gd name="connsiteY337" fmla="*/ 926812 h 6857997"/>
              <a:gd name="connsiteX338" fmla="*/ 10325783 w 11576549"/>
              <a:gd name="connsiteY338" fmla="*/ 926812 h 6857997"/>
              <a:gd name="connsiteX339" fmla="*/ 10327251 w 11576549"/>
              <a:gd name="connsiteY339" fmla="*/ 925343 h 6857997"/>
              <a:gd name="connsiteX340" fmla="*/ 10327251 w 11576549"/>
              <a:gd name="connsiteY340" fmla="*/ 879406 h 6857997"/>
              <a:gd name="connsiteX341" fmla="*/ 10331659 w 11576549"/>
              <a:gd name="connsiteY341" fmla="*/ 867616 h 6857997"/>
              <a:gd name="connsiteX342" fmla="*/ 10343003 w 11576549"/>
              <a:gd name="connsiteY342" fmla="*/ 863047 h 6857997"/>
              <a:gd name="connsiteX343" fmla="*/ 10354347 w 11576549"/>
              <a:gd name="connsiteY343" fmla="*/ 867616 h 6857997"/>
              <a:gd name="connsiteX344" fmla="*/ 10358631 w 11576549"/>
              <a:gd name="connsiteY344" fmla="*/ 879529 h 6857997"/>
              <a:gd name="connsiteX345" fmla="*/ 10358631 w 11576549"/>
              <a:gd name="connsiteY345" fmla="*/ 925343 h 6857997"/>
              <a:gd name="connsiteX346" fmla="*/ 10360100 w 11576549"/>
              <a:gd name="connsiteY346" fmla="*/ 926812 h 6857997"/>
              <a:gd name="connsiteX347" fmla="*/ 10371281 w 11576549"/>
              <a:gd name="connsiteY347" fmla="*/ 926812 h 6857997"/>
              <a:gd name="connsiteX348" fmla="*/ 10372750 w 11576549"/>
              <a:gd name="connsiteY348" fmla="*/ 925343 h 6857997"/>
              <a:gd name="connsiteX349" fmla="*/ 10372750 w 11576549"/>
              <a:gd name="connsiteY349" fmla="*/ 876755 h 6857997"/>
              <a:gd name="connsiteX350" fmla="*/ 10365691 w 11576549"/>
              <a:gd name="connsiteY350" fmla="*/ 857825 h 6857997"/>
              <a:gd name="connsiteX351" fmla="*/ 10346553 w 11576549"/>
              <a:gd name="connsiteY351" fmla="*/ 850808 h 6857997"/>
              <a:gd name="connsiteX352" fmla="*/ 10263118 w 11576549"/>
              <a:gd name="connsiteY352" fmla="*/ 850808 h 6857997"/>
              <a:gd name="connsiteX353" fmla="*/ 10243832 w 11576549"/>
              <a:gd name="connsiteY353" fmla="*/ 856678 h 6857997"/>
              <a:gd name="connsiteX354" fmla="*/ 10233231 w 11576549"/>
              <a:gd name="connsiteY354" fmla="*/ 872738 h 6857997"/>
              <a:gd name="connsiteX355" fmla="*/ 10231641 w 11576549"/>
              <a:gd name="connsiteY355" fmla="*/ 889043 h 6857997"/>
              <a:gd name="connsiteX356" fmla="*/ 10235148 w 11576549"/>
              <a:gd name="connsiteY356" fmla="*/ 910076 h 6857997"/>
              <a:gd name="connsiteX357" fmla="*/ 10246197 w 11576549"/>
              <a:gd name="connsiteY357" fmla="*/ 923486 h 6857997"/>
              <a:gd name="connsiteX358" fmla="*/ 10264301 w 11576549"/>
              <a:gd name="connsiteY358" fmla="*/ 928174 h 6857997"/>
              <a:gd name="connsiteX359" fmla="*/ 10281426 w 11576549"/>
              <a:gd name="connsiteY359" fmla="*/ 924342 h 6857997"/>
              <a:gd name="connsiteX360" fmla="*/ 10293169 w 11576549"/>
              <a:gd name="connsiteY360" fmla="*/ 913907 h 6857997"/>
              <a:gd name="connsiteX361" fmla="*/ 10292720 w 11576549"/>
              <a:gd name="connsiteY361" fmla="*/ 911991 h 6857997"/>
              <a:gd name="connsiteX362" fmla="*/ 10284321 w 11576549"/>
              <a:gd name="connsiteY362" fmla="*/ 906407 h 6857997"/>
              <a:gd name="connsiteX363" fmla="*/ 10282404 w 11576549"/>
              <a:gd name="connsiteY363" fmla="*/ 906855 h 6857997"/>
              <a:gd name="connsiteX364" fmla="*/ 10265606 w 11576549"/>
              <a:gd name="connsiteY364" fmla="*/ 915823 h 6857997"/>
              <a:gd name="connsiteX365" fmla="*/ 10253169 w 11576549"/>
              <a:gd name="connsiteY365" fmla="*/ 912521 h 6857997"/>
              <a:gd name="connsiteX366" fmla="*/ 10246646 w 11576549"/>
              <a:gd name="connsiteY366" fmla="*/ 903309 h 6857997"/>
              <a:gd name="connsiteX367" fmla="*/ 10245749 w 11576549"/>
              <a:gd name="connsiteY367" fmla="*/ 895687 h 6857997"/>
              <a:gd name="connsiteX368" fmla="*/ 10246360 w 11576549"/>
              <a:gd name="connsiteY368" fmla="*/ 895075 h 6857997"/>
              <a:gd name="connsiteX369" fmla="*/ 10293291 w 11576549"/>
              <a:gd name="connsiteY369" fmla="*/ 895075 h 6857997"/>
              <a:gd name="connsiteX370" fmla="*/ 10294759 w 11576549"/>
              <a:gd name="connsiteY370" fmla="*/ 893608 h 6857997"/>
              <a:gd name="connsiteX371" fmla="*/ 10294310 w 11576549"/>
              <a:gd name="connsiteY371" fmla="*/ 880075 h 6857997"/>
              <a:gd name="connsiteX372" fmla="*/ 10285340 w 11576549"/>
              <a:gd name="connsiteY372" fmla="*/ 858227 h 6857997"/>
              <a:gd name="connsiteX373" fmla="*/ 10263118 w 11576549"/>
              <a:gd name="connsiteY373" fmla="*/ 850808 h 6857997"/>
              <a:gd name="connsiteX374" fmla="*/ 10145545 w 11576549"/>
              <a:gd name="connsiteY374" fmla="*/ 850808 h 6857997"/>
              <a:gd name="connsiteX375" fmla="*/ 10126682 w 11576549"/>
              <a:gd name="connsiteY375" fmla="*/ 858641 h 6857997"/>
              <a:gd name="connsiteX376" fmla="*/ 10126151 w 11576549"/>
              <a:gd name="connsiteY376" fmla="*/ 858764 h 6857997"/>
              <a:gd name="connsiteX377" fmla="*/ 10125947 w 11576549"/>
              <a:gd name="connsiteY377" fmla="*/ 858315 h 6857997"/>
              <a:gd name="connsiteX378" fmla="*/ 10125947 w 11576549"/>
              <a:gd name="connsiteY378" fmla="*/ 853338 h 6857997"/>
              <a:gd name="connsiteX379" fmla="*/ 10124477 w 11576549"/>
              <a:gd name="connsiteY379" fmla="*/ 851869 h 6857997"/>
              <a:gd name="connsiteX380" fmla="*/ 10113290 w 11576549"/>
              <a:gd name="connsiteY380" fmla="*/ 851869 h 6857997"/>
              <a:gd name="connsiteX381" fmla="*/ 10111779 w 11576549"/>
              <a:gd name="connsiteY381" fmla="*/ 853338 h 6857997"/>
              <a:gd name="connsiteX382" fmla="*/ 10111779 w 11576549"/>
              <a:gd name="connsiteY382" fmla="*/ 925343 h 6857997"/>
              <a:gd name="connsiteX383" fmla="*/ 10113290 w 11576549"/>
              <a:gd name="connsiteY383" fmla="*/ 926812 h 6857997"/>
              <a:gd name="connsiteX384" fmla="*/ 10124477 w 11576549"/>
              <a:gd name="connsiteY384" fmla="*/ 926812 h 6857997"/>
              <a:gd name="connsiteX385" fmla="*/ 10125947 w 11576549"/>
              <a:gd name="connsiteY385" fmla="*/ 925343 h 6857997"/>
              <a:gd name="connsiteX386" fmla="*/ 10125947 w 11576549"/>
              <a:gd name="connsiteY386" fmla="*/ 878795 h 6857997"/>
              <a:gd name="connsiteX387" fmla="*/ 10129989 w 11576549"/>
              <a:gd name="connsiteY387" fmla="*/ 867331 h 6857997"/>
              <a:gd name="connsiteX388" fmla="*/ 10140850 w 11576549"/>
              <a:gd name="connsiteY388" fmla="*/ 863047 h 6857997"/>
              <a:gd name="connsiteX389" fmla="*/ 10151670 w 11576549"/>
              <a:gd name="connsiteY389" fmla="*/ 867372 h 6857997"/>
              <a:gd name="connsiteX390" fmla="*/ 10155712 w 11576549"/>
              <a:gd name="connsiteY390" fmla="*/ 879080 h 6857997"/>
              <a:gd name="connsiteX391" fmla="*/ 10155712 w 11576549"/>
              <a:gd name="connsiteY391" fmla="*/ 925343 h 6857997"/>
              <a:gd name="connsiteX392" fmla="*/ 10157182 w 11576549"/>
              <a:gd name="connsiteY392" fmla="*/ 926812 h 6857997"/>
              <a:gd name="connsiteX393" fmla="*/ 10168246 w 11576549"/>
              <a:gd name="connsiteY393" fmla="*/ 926812 h 6857997"/>
              <a:gd name="connsiteX394" fmla="*/ 10169716 w 11576549"/>
              <a:gd name="connsiteY394" fmla="*/ 925343 h 6857997"/>
              <a:gd name="connsiteX395" fmla="*/ 10169716 w 11576549"/>
              <a:gd name="connsiteY395" fmla="*/ 878795 h 6857997"/>
              <a:gd name="connsiteX396" fmla="*/ 10174003 w 11576549"/>
              <a:gd name="connsiteY396" fmla="*/ 867331 h 6857997"/>
              <a:gd name="connsiteX397" fmla="*/ 10185027 w 11576549"/>
              <a:gd name="connsiteY397" fmla="*/ 863047 h 6857997"/>
              <a:gd name="connsiteX398" fmla="*/ 10195888 w 11576549"/>
              <a:gd name="connsiteY398" fmla="*/ 867372 h 6857997"/>
              <a:gd name="connsiteX399" fmla="*/ 10199930 w 11576549"/>
              <a:gd name="connsiteY399" fmla="*/ 879080 h 6857997"/>
              <a:gd name="connsiteX400" fmla="*/ 10199930 w 11576549"/>
              <a:gd name="connsiteY400" fmla="*/ 925343 h 6857997"/>
              <a:gd name="connsiteX401" fmla="*/ 10201400 w 11576549"/>
              <a:gd name="connsiteY401" fmla="*/ 926812 h 6857997"/>
              <a:gd name="connsiteX402" fmla="*/ 10212464 w 11576549"/>
              <a:gd name="connsiteY402" fmla="*/ 926812 h 6857997"/>
              <a:gd name="connsiteX403" fmla="*/ 10213934 w 11576549"/>
              <a:gd name="connsiteY403" fmla="*/ 925343 h 6857997"/>
              <a:gd name="connsiteX404" fmla="*/ 10213934 w 11576549"/>
              <a:gd name="connsiteY404" fmla="*/ 876143 h 6857997"/>
              <a:gd name="connsiteX405" fmla="*/ 10207442 w 11576549"/>
              <a:gd name="connsiteY405" fmla="*/ 857540 h 6857997"/>
              <a:gd name="connsiteX406" fmla="*/ 10189763 w 11576549"/>
              <a:gd name="connsiteY406" fmla="*/ 850808 h 6857997"/>
              <a:gd name="connsiteX407" fmla="*/ 10176861 w 11576549"/>
              <a:gd name="connsiteY407" fmla="*/ 853623 h 6857997"/>
              <a:gd name="connsiteX408" fmla="*/ 10167511 w 11576549"/>
              <a:gd name="connsiteY408" fmla="*/ 862150 h 6857997"/>
              <a:gd name="connsiteX409" fmla="*/ 10166613 w 11576549"/>
              <a:gd name="connsiteY409" fmla="*/ 862150 h 6857997"/>
              <a:gd name="connsiteX410" fmla="*/ 10158366 w 11576549"/>
              <a:gd name="connsiteY410" fmla="*/ 853705 h 6857997"/>
              <a:gd name="connsiteX411" fmla="*/ 10145545 w 11576549"/>
              <a:gd name="connsiteY411" fmla="*/ 850808 h 6857997"/>
              <a:gd name="connsiteX412" fmla="*/ 9981055 w 11576549"/>
              <a:gd name="connsiteY412" fmla="*/ 850808 h 6857997"/>
              <a:gd name="connsiteX413" fmla="*/ 9961699 w 11576549"/>
              <a:gd name="connsiteY413" fmla="*/ 856678 h 6857997"/>
              <a:gd name="connsiteX414" fmla="*/ 9951059 w 11576549"/>
              <a:gd name="connsiteY414" fmla="*/ 872738 h 6857997"/>
              <a:gd name="connsiteX415" fmla="*/ 9949422 w 11576549"/>
              <a:gd name="connsiteY415" fmla="*/ 889043 h 6857997"/>
              <a:gd name="connsiteX416" fmla="*/ 9952982 w 11576549"/>
              <a:gd name="connsiteY416" fmla="*/ 910076 h 6857997"/>
              <a:gd name="connsiteX417" fmla="*/ 9964072 w 11576549"/>
              <a:gd name="connsiteY417" fmla="*/ 923486 h 6857997"/>
              <a:gd name="connsiteX418" fmla="*/ 9982242 w 11576549"/>
              <a:gd name="connsiteY418" fmla="*/ 928174 h 6857997"/>
              <a:gd name="connsiteX419" fmla="*/ 9999430 w 11576549"/>
              <a:gd name="connsiteY419" fmla="*/ 924342 h 6857997"/>
              <a:gd name="connsiteX420" fmla="*/ 10011175 w 11576549"/>
              <a:gd name="connsiteY420" fmla="*/ 913907 h 6857997"/>
              <a:gd name="connsiteX421" fmla="*/ 10010725 w 11576549"/>
              <a:gd name="connsiteY421" fmla="*/ 911991 h 6857997"/>
              <a:gd name="connsiteX422" fmla="*/ 10002336 w 11576549"/>
              <a:gd name="connsiteY422" fmla="*/ 906407 h 6857997"/>
              <a:gd name="connsiteX423" fmla="*/ 10000412 w 11576549"/>
              <a:gd name="connsiteY423" fmla="*/ 906855 h 6857997"/>
              <a:gd name="connsiteX424" fmla="*/ 9983552 w 11576549"/>
              <a:gd name="connsiteY424" fmla="*/ 915823 h 6857997"/>
              <a:gd name="connsiteX425" fmla="*/ 9971070 w 11576549"/>
              <a:gd name="connsiteY425" fmla="*/ 912521 h 6857997"/>
              <a:gd name="connsiteX426" fmla="*/ 9964522 w 11576549"/>
              <a:gd name="connsiteY426" fmla="*/ 903309 h 6857997"/>
              <a:gd name="connsiteX427" fmla="*/ 9963622 w 11576549"/>
              <a:gd name="connsiteY427" fmla="*/ 895687 h 6857997"/>
              <a:gd name="connsiteX428" fmla="*/ 9964195 w 11576549"/>
              <a:gd name="connsiteY428" fmla="*/ 895075 h 6857997"/>
              <a:gd name="connsiteX429" fmla="*/ 10011339 w 11576549"/>
              <a:gd name="connsiteY429" fmla="*/ 895075 h 6857997"/>
              <a:gd name="connsiteX430" fmla="*/ 10012812 w 11576549"/>
              <a:gd name="connsiteY430" fmla="*/ 893608 h 6857997"/>
              <a:gd name="connsiteX431" fmla="*/ 10012362 w 11576549"/>
              <a:gd name="connsiteY431" fmla="*/ 880075 h 6857997"/>
              <a:gd name="connsiteX432" fmla="*/ 10003359 w 11576549"/>
              <a:gd name="connsiteY432" fmla="*/ 858227 h 6857997"/>
              <a:gd name="connsiteX433" fmla="*/ 9981055 w 11576549"/>
              <a:gd name="connsiteY433" fmla="*/ 850808 h 6857997"/>
              <a:gd name="connsiteX434" fmla="*/ 9905245 w 11576549"/>
              <a:gd name="connsiteY434" fmla="*/ 850808 h 6857997"/>
              <a:gd name="connsiteX435" fmla="*/ 9886515 w 11576549"/>
              <a:gd name="connsiteY435" fmla="*/ 858927 h 6857997"/>
              <a:gd name="connsiteX436" fmla="*/ 9886189 w 11576549"/>
              <a:gd name="connsiteY436" fmla="*/ 859049 h 6857997"/>
              <a:gd name="connsiteX437" fmla="*/ 9885944 w 11576549"/>
              <a:gd name="connsiteY437" fmla="*/ 858641 h 6857997"/>
              <a:gd name="connsiteX438" fmla="*/ 9885944 w 11576549"/>
              <a:gd name="connsiteY438" fmla="*/ 853338 h 6857997"/>
              <a:gd name="connsiteX439" fmla="*/ 9884475 w 11576549"/>
              <a:gd name="connsiteY439" fmla="*/ 851869 h 6857997"/>
              <a:gd name="connsiteX440" fmla="*/ 9873294 w 11576549"/>
              <a:gd name="connsiteY440" fmla="*/ 851869 h 6857997"/>
              <a:gd name="connsiteX441" fmla="*/ 9871784 w 11576549"/>
              <a:gd name="connsiteY441" fmla="*/ 853338 h 6857997"/>
              <a:gd name="connsiteX442" fmla="*/ 9871784 w 11576549"/>
              <a:gd name="connsiteY442" fmla="*/ 925343 h 6857997"/>
              <a:gd name="connsiteX443" fmla="*/ 9873294 w 11576549"/>
              <a:gd name="connsiteY443" fmla="*/ 926812 h 6857997"/>
              <a:gd name="connsiteX444" fmla="*/ 9884475 w 11576549"/>
              <a:gd name="connsiteY444" fmla="*/ 926812 h 6857997"/>
              <a:gd name="connsiteX445" fmla="*/ 9885944 w 11576549"/>
              <a:gd name="connsiteY445" fmla="*/ 925343 h 6857997"/>
              <a:gd name="connsiteX446" fmla="*/ 9885944 w 11576549"/>
              <a:gd name="connsiteY446" fmla="*/ 879406 h 6857997"/>
              <a:gd name="connsiteX447" fmla="*/ 9890351 w 11576549"/>
              <a:gd name="connsiteY447" fmla="*/ 867616 h 6857997"/>
              <a:gd name="connsiteX448" fmla="*/ 9901695 w 11576549"/>
              <a:gd name="connsiteY448" fmla="*/ 863047 h 6857997"/>
              <a:gd name="connsiteX449" fmla="*/ 9913039 w 11576549"/>
              <a:gd name="connsiteY449" fmla="*/ 867616 h 6857997"/>
              <a:gd name="connsiteX450" fmla="*/ 9917324 w 11576549"/>
              <a:gd name="connsiteY450" fmla="*/ 879529 h 6857997"/>
              <a:gd name="connsiteX451" fmla="*/ 9917324 w 11576549"/>
              <a:gd name="connsiteY451" fmla="*/ 925343 h 6857997"/>
              <a:gd name="connsiteX452" fmla="*/ 9918793 w 11576549"/>
              <a:gd name="connsiteY452" fmla="*/ 926812 h 6857997"/>
              <a:gd name="connsiteX453" fmla="*/ 9929973 w 11576549"/>
              <a:gd name="connsiteY453" fmla="*/ 926812 h 6857997"/>
              <a:gd name="connsiteX454" fmla="*/ 9931443 w 11576549"/>
              <a:gd name="connsiteY454" fmla="*/ 925343 h 6857997"/>
              <a:gd name="connsiteX455" fmla="*/ 9931443 w 11576549"/>
              <a:gd name="connsiteY455" fmla="*/ 876755 h 6857997"/>
              <a:gd name="connsiteX456" fmla="*/ 9924383 w 11576549"/>
              <a:gd name="connsiteY456" fmla="*/ 857825 h 6857997"/>
              <a:gd name="connsiteX457" fmla="*/ 9905245 w 11576549"/>
              <a:gd name="connsiteY457" fmla="*/ 850808 h 6857997"/>
              <a:gd name="connsiteX458" fmla="*/ 9766238 w 11576549"/>
              <a:gd name="connsiteY458" fmla="*/ 850808 h 6857997"/>
              <a:gd name="connsiteX459" fmla="*/ 9746952 w 11576549"/>
              <a:gd name="connsiteY459" fmla="*/ 856678 h 6857997"/>
              <a:gd name="connsiteX460" fmla="*/ 9736351 w 11576549"/>
              <a:gd name="connsiteY460" fmla="*/ 872738 h 6857997"/>
              <a:gd name="connsiteX461" fmla="*/ 9734761 w 11576549"/>
              <a:gd name="connsiteY461" fmla="*/ 889043 h 6857997"/>
              <a:gd name="connsiteX462" fmla="*/ 9738267 w 11576549"/>
              <a:gd name="connsiteY462" fmla="*/ 910076 h 6857997"/>
              <a:gd name="connsiteX463" fmla="*/ 9749317 w 11576549"/>
              <a:gd name="connsiteY463" fmla="*/ 923486 h 6857997"/>
              <a:gd name="connsiteX464" fmla="*/ 9767420 w 11576549"/>
              <a:gd name="connsiteY464" fmla="*/ 928174 h 6857997"/>
              <a:gd name="connsiteX465" fmla="*/ 9784545 w 11576549"/>
              <a:gd name="connsiteY465" fmla="*/ 924342 h 6857997"/>
              <a:gd name="connsiteX466" fmla="*/ 9796248 w 11576549"/>
              <a:gd name="connsiteY466" fmla="*/ 913907 h 6857997"/>
              <a:gd name="connsiteX467" fmla="*/ 9795799 w 11576549"/>
              <a:gd name="connsiteY467" fmla="*/ 911991 h 6857997"/>
              <a:gd name="connsiteX468" fmla="*/ 9787441 w 11576549"/>
              <a:gd name="connsiteY468" fmla="*/ 906407 h 6857997"/>
              <a:gd name="connsiteX469" fmla="*/ 9785524 w 11576549"/>
              <a:gd name="connsiteY469" fmla="*/ 906855 h 6857997"/>
              <a:gd name="connsiteX470" fmla="*/ 9768725 w 11576549"/>
              <a:gd name="connsiteY470" fmla="*/ 915823 h 6857997"/>
              <a:gd name="connsiteX471" fmla="*/ 9756289 w 11576549"/>
              <a:gd name="connsiteY471" fmla="*/ 912521 h 6857997"/>
              <a:gd name="connsiteX472" fmla="*/ 9749765 w 11576549"/>
              <a:gd name="connsiteY472" fmla="*/ 903309 h 6857997"/>
              <a:gd name="connsiteX473" fmla="*/ 9748868 w 11576549"/>
              <a:gd name="connsiteY473" fmla="*/ 895687 h 6857997"/>
              <a:gd name="connsiteX474" fmla="*/ 9749439 w 11576549"/>
              <a:gd name="connsiteY474" fmla="*/ 895075 h 6857997"/>
              <a:gd name="connsiteX475" fmla="*/ 9796411 w 11576549"/>
              <a:gd name="connsiteY475" fmla="*/ 895075 h 6857997"/>
              <a:gd name="connsiteX476" fmla="*/ 9797879 w 11576549"/>
              <a:gd name="connsiteY476" fmla="*/ 893608 h 6857997"/>
              <a:gd name="connsiteX477" fmla="*/ 9797430 w 11576549"/>
              <a:gd name="connsiteY477" fmla="*/ 880075 h 6857997"/>
              <a:gd name="connsiteX478" fmla="*/ 9788460 w 11576549"/>
              <a:gd name="connsiteY478" fmla="*/ 858227 h 6857997"/>
              <a:gd name="connsiteX479" fmla="*/ 9766238 w 11576549"/>
              <a:gd name="connsiteY479" fmla="*/ 850808 h 6857997"/>
              <a:gd name="connsiteX480" fmla="*/ 9636101 w 11576549"/>
              <a:gd name="connsiteY480" fmla="*/ 850808 h 6857997"/>
              <a:gd name="connsiteX481" fmla="*/ 9617371 w 11576549"/>
              <a:gd name="connsiteY481" fmla="*/ 858927 h 6857997"/>
              <a:gd name="connsiteX482" fmla="*/ 9617004 w 11576549"/>
              <a:gd name="connsiteY482" fmla="*/ 859049 h 6857997"/>
              <a:gd name="connsiteX483" fmla="*/ 9616800 w 11576549"/>
              <a:gd name="connsiteY483" fmla="*/ 858641 h 6857997"/>
              <a:gd name="connsiteX484" fmla="*/ 9616800 w 11576549"/>
              <a:gd name="connsiteY484" fmla="*/ 853338 h 6857997"/>
              <a:gd name="connsiteX485" fmla="*/ 9615331 w 11576549"/>
              <a:gd name="connsiteY485" fmla="*/ 851869 h 6857997"/>
              <a:gd name="connsiteX486" fmla="*/ 9604109 w 11576549"/>
              <a:gd name="connsiteY486" fmla="*/ 851869 h 6857997"/>
              <a:gd name="connsiteX487" fmla="*/ 9602640 w 11576549"/>
              <a:gd name="connsiteY487" fmla="*/ 853338 h 6857997"/>
              <a:gd name="connsiteX488" fmla="*/ 9602640 w 11576549"/>
              <a:gd name="connsiteY488" fmla="*/ 925343 h 6857997"/>
              <a:gd name="connsiteX489" fmla="*/ 9604109 w 11576549"/>
              <a:gd name="connsiteY489" fmla="*/ 926812 h 6857997"/>
              <a:gd name="connsiteX490" fmla="*/ 9615331 w 11576549"/>
              <a:gd name="connsiteY490" fmla="*/ 926812 h 6857997"/>
              <a:gd name="connsiteX491" fmla="*/ 9616800 w 11576549"/>
              <a:gd name="connsiteY491" fmla="*/ 925343 h 6857997"/>
              <a:gd name="connsiteX492" fmla="*/ 9616800 w 11576549"/>
              <a:gd name="connsiteY492" fmla="*/ 879406 h 6857997"/>
              <a:gd name="connsiteX493" fmla="*/ 9621207 w 11576549"/>
              <a:gd name="connsiteY493" fmla="*/ 867616 h 6857997"/>
              <a:gd name="connsiteX494" fmla="*/ 9632551 w 11576549"/>
              <a:gd name="connsiteY494" fmla="*/ 863047 h 6857997"/>
              <a:gd name="connsiteX495" fmla="*/ 9643895 w 11576549"/>
              <a:gd name="connsiteY495" fmla="*/ 867616 h 6857997"/>
              <a:gd name="connsiteX496" fmla="*/ 9648180 w 11576549"/>
              <a:gd name="connsiteY496" fmla="*/ 879529 h 6857997"/>
              <a:gd name="connsiteX497" fmla="*/ 9648180 w 11576549"/>
              <a:gd name="connsiteY497" fmla="*/ 925343 h 6857997"/>
              <a:gd name="connsiteX498" fmla="*/ 9649649 w 11576549"/>
              <a:gd name="connsiteY498" fmla="*/ 926812 h 6857997"/>
              <a:gd name="connsiteX499" fmla="*/ 9660830 w 11576549"/>
              <a:gd name="connsiteY499" fmla="*/ 926812 h 6857997"/>
              <a:gd name="connsiteX500" fmla="*/ 9662299 w 11576549"/>
              <a:gd name="connsiteY500" fmla="*/ 925343 h 6857997"/>
              <a:gd name="connsiteX501" fmla="*/ 9662299 w 11576549"/>
              <a:gd name="connsiteY501" fmla="*/ 876755 h 6857997"/>
              <a:gd name="connsiteX502" fmla="*/ 9655239 w 11576549"/>
              <a:gd name="connsiteY502" fmla="*/ 857825 h 6857997"/>
              <a:gd name="connsiteX503" fmla="*/ 9636101 w 11576549"/>
              <a:gd name="connsiteY503" fmla="*/ 850808 h 6857997"/>
              <a:gd name="connsiteX504" fmla="*/ 9690130 w 11576549"/>
              <a:gd name="connsiteY504" fmla="*/ 832284 h 6857997"/>
              <a:gd name="connsiteX505" fmla="*/ 9688656 w 11576549"/>
              <a:gd name="connsiteY505" fmla="*/ 833755 h 6857997"/>
              <a:gd name="connsiteX506" fmla="*/ 9688656 w 11576549"/>
              <a:gd name="connsiteY506" fmla="*/ 851154 h 6857997"/>
              <a:gd name="connsiteX507" fmla="*/ 9688082 w 11576549"/>
              <a:gd name="connsiteY507" fmla="*/ 851726 h 6857997"/>
              <a:gd name="connsiteX508" fmla="*/ 9679070 w 11576549"/>
              <a:gd name="connsiteY508" fmla="*/ 851726 h 6857997"/>
              <a:gd name="connsiteX509" fmla="*/ 9677554 w 11576549"/>
              <a:gd name="connsiteY509" fmla="*/ 853237 h 6857997"/>
              <a:gd name="connsiteX510" fmla="*/ 9677554 w 11576549"/>
              <a:gd name="connsiteY510" fmla="*/ 861937 h 6857997"/>
              <a:gd name="connsiteX511" fmla="*/ 9679070 w 11576549"/>
              <a:gd name="connsiteY511" fmla="*/ 863408 h 6857997"/>
              <a:gd name="connsiteX512" fmla="*/ 9688082 w 11576549"/>
              <a:gd name="connsiteY512" fmla="*/ 863408 h 6857997"/>
              <a:gd name="connsiteX513" fmla="*/ 9688656 w 11576549"/>
              <a:gd name="connsiteY513" fmla="*/ 863980 h 6857997"/>
              <a:gd name="connsiteX514" fmla="*/ 9688656 w 11576549"/>
              <a:gd name="connsiteY514" fmla="*/ 908051 h 6857997"/>
              <a:gd name="connsiteX515" fmla="*/ 9694350 w 11576549"/>
              <a:gd name="connsiteY515" fmla="*/ 923040 h 6857997"/>
              <a:gd name="connsiteX516" fmla="*/ 9711310 w 11576549"/>
              <a:gd name="connsiteY516" fmla="*/ 927084 h 6857997"/>
              <a:gd name="connsiteX517" fmla="*/ 9718111 w 11576549"/>
              <a:gd name="connsiteY517" fmla="*/ 926798 h 6857997"/>
              <a:gd name="connsiteX518" fmla="*/ 9719585 w 11576549"/>
              <a:gd name="connsiteY518" fmla="*/ 925328 h 6857997"/>
              <a:gd name="connsiteX519" fmla="*/ 9719585 w 11576549"/>
              <a:gd name="connsiteY519" fmla="*/ 916179 h 6857997"/>
              <a:gd name="connsiteX520" fmla="*/ 9718111 w 11576549"/>
              <a:gd name="connsiteY520" fmla="*/ 914708 h 6857997"/>
              <a:gd name="connsiteX521" fmla="*/ 9713809 w 11576549"/>
              <a:gd name="connsiteY521" fmla="*/ 914708 h 6857997"/>
              <a:gd name="connsiteX522" fmla="*/ 9705083 w 11576549"/>
              <a:gd name="connsiteY522" fmla="*/ 911972 h 6857997"/>
              <a:gd name="connsiteX523" fmla="*/ 9702256 w 11576549"/>
              <a:gd name="connsiteY523" fmla="*/ 903068 h 6857997"/>
              <a:gd name="connsiteX524" fmla="*/ 9702256 w 11576549"/>
              <a:gd name="connsiteY524" fmla="*/ 863980 h 6857997"/>
              <a:gd name="connsiteX525" fmla="*/ 9702871 w 11576549"/>
              <a:gd name="connsiteY525" fmla="*/ 863408 h 6857997"/>
              <a:gd name="connsiteX526" fmla="*/ 9718848 w 11576549"/>
              <a:gd name="connsiteY526" fmla="*/ 863408 h 6857997"/>
              <a:gd name="connsiteX527" fmla="*/ 9720323 w 11576549"/>
              <a:gd name="connsiteY527" fmla="*/ 861937 h 6857997"/>
              <a:gd name="connsiteX528" fmla="*/ 9720323 w 11576549"/>
              <a:gd name="connsiteY528" fmla="*/ 853237 h 6857997"/>
              <a:gd name="connsiteX529" fmla="*/ 9718848 w 11576549"/>
              <a:gd name="connsiteY529" fmla="*/ 851726 h 6857997"/>
              <a:gd name="connsiteX530" fmla="*/ 9702871 w 11576549"/>
              <a:gd name="connsiteY530" fmla="*/ 851726 h 6857997"/>
              <a:gd name="connsiteX531" fmla="*/ 9702256 w 11576549"/>
              <a:gd name="connsiteY531" fmla="*/ 851154 h 6857997"/>
              <a:gd name="connsiteX532" fmla="*/ 9702256 w 11576549"/>
              <a:gd name="connsiteY532" fmla="*/ 833755 h 6857997"/>
              <a:gd name="connsiteX533" fmla="*/ 9700782 w 11576549"/>
              <a:gd name="connsiteY533" fmla="*/ 832284 h 6857997"/>
              <a:gd name="connsiteX534" fmla="*/ 9690130 w 11576549"/>
              <a:gd name="connsiteY534" fmla="*/ 832284 h 6857997"/>
              <a:gd name="connsiteX535" fmla="*/ 10032887 w 11576549"/>
              <a:gd name="connsiteY535" fmla="*/ 823839 h 6857997"/>
              <a:gd name="connsiteX536" fmla="*/ 10031418 w 11576549"/>
              <a:gd name="connsiteY536" fmla="*/ 825306 h 6857997"/>
              <a:gd name="connsiteX537" fmla="*/ 10031418 w 11576549"/>
              <a:gd name="connsiteY537" fmla="*/ 925345 h 6857997"/>
              <a:gd name="connsiteX538" fmla="*/ 10032887 w 11576549"/>
              <a:gd name="connsiteY538" fmla="*/ 926811 h 6857997"/>
              <a:gd name="connsiteX539" fmla="*/ 10044068 w 11576549"/>
              <a:gd name="connsiteY539" fmla="*/ 926811 h 6857997"/>
              <a:gd name="connsiteX540" fmla="*/ 10045537 w 11576549"/>
              <a:gd name="connsiteY540" fmla="*/ 925345 h 6857997"/>
              <a:gd name="connsiteX541" fmla="*/ 10045537 w 11576549"/>
              <a:gd name="connsiteY541" fmla="*/ 879461 h 6857997"/>
              <a:gd name="connsiteX542" fmla="*/ 10049984 w 11576549"/>
              <a:gd name="connsiteY542" fmla="*/ 867685 h 6857997"/>
              <a:gd name="connsiteX543" fmla="*/ 10061329 w 11576549"/>
              <a:gd name="connsiteY543" fmla="*/ 863121 h 6857997"/>
              <a:gd name="connsiteX544" fmla="*/ 10072673 w 11576549"/>
              <a:gd name="connsiteY544" fmla="*/ 867685 h 6857997"/>
              <a:gd name="connsiteX545" fmla="*/ 10076917 w 11576549"/>
              <a:gd name="connsiteY545" fmla="*/ 879584 h 6857997"/>
              <a:gd name="connsiteX546" fmla="*/ 10076917 w 11576549"/>
              <a:gd name="connsiteY546" fmla="*/ 925345 h 6857997"/>
              <a:gd name="connsiteX547" fmla="*/ 10078386 w 11576549"/>
              <a:gd name="connsiteY547" fmla="*/ 926811 h 6857997"/>
              <a:gd name="connsiteX548" fmla="*/ 10089607 w 11576549"/>
              <a:gd name="connsiteY548" fmla="*/ 926811 h 6857997"/>
              <a:gd name="connsiteX549" fmla="*/ 10091076 w 11576549"/>
              <a:gd name="connsiteY549" fmla="*/ 925345 h 6857997"/>
              <a:gd name="connsiteX550" fmla="*/ 10091076 w 11576549"/>
              <a:gd name="connsiteY550" fmla="*/ 876813 h 6857997"/>
              <a:gd name="connsiteX551" fmla="*/ 10084017 w 11576549"/>
              <a:gd name="connsiteY551" fmla="*/ 857905 h 6857997"/>
              <a:gd name="connsiteX552" fmla="*/ 10064838 w 11576549"/>
              <a:gd name="connsiteY552" fmla="*/ 850897 h 6857997"/>
              <a:gd name="connsiteX553" fmla="*/ 10046149 w 11576549"/>
              <a:gd name="connsiteY553" fmla="*/ 859006 h 6857997"/>
              <a:gd name="connsiteX554" fmla="*/ 10045781 w 11576549"/>
              <a:gd name="connsiteY554" fmla="*/ 859128 h 6857997"/>
              <a:gd name="connsiteX555" fmla="*/ 10045537 w 11576549"/>
              <a:gd name="connsiteY555" fmla="*/ 858720 h 6857997"/>
              <a:gd name="connsiteX556" fmla="*/ 10045537 w 11576549"/>
              <a:gd name="connsiteY556" fmla="*/ 825306 h 6857997"/>
              <a:gd name="connsiteX557" fmla="*/ 10044068 w 11576549"/>
              <a:gd name="connsiteY557" fmla="*/ 823839 h 6857997"/>
              <a:gd name="connsiteX558" fmla="*/ 10032887 w 11576549"/>
              <a:gd name="connsiteY558" fmla="*/ 823839 h 6857997"/>
              <a:gd name="connsiteX559" fmla="*/ 10864455 w 11576549"/>
              <a:gd name="connsiteY559" fmla="*/ 821115 h 6857997"/>
              <a:gd name="connsiteX560" fmla="*/ 10857603 w 11576549"/>
              <a:gd name="connsiteY560" fmla="*/ 823798 h 6857997"/>
              <a:gd name="connsiteX561" fmla="*/ 10854920 w 11576549"/>
              <a:gd name="connsiteY561" fmla="*/ 830650 h 6857997"/>
              <a:gd name="connsiteX562" fmla="*/ 10857603 w 11576549"/>
              <a:gd name="connsiteY562" fmla="*/ 837501 h 6857997"/>
              <a:gd name="connsiteX563" fmla="*/ 10864455 w 11576549"/>
              <a:gd name="connsiteY563" fmla="*/ 840184 h 6857997"/>
              <a:gd name="connsiteX564" fmla="*/ 10871348 w 11576549"/>
              <a:gd name="connsiteY564" fmla="*/ 837501 h 6857997"/>
              <a:gd name="connsiteX565" fmla="*/ 10873989 w 11576549"/>
              <a:gd name="connsiteY565" fmla="*/ 830650 h 6857997"/>
              <a:gd name="connsiteX566" fmla="*/ 10871348 w 11576549"/>
              <a:gd name="connsiteY566" fmla="*/ 823798 h 6857997"/>
              <a:gd name="connsiteX567" fmla="*/ 10864455 w 11576549"/>
              <a:gd name="connsiteY567" fmla="*/ 821115 h 6857997"/>
              <a:gd name="connsiteX568" fmla="*/ 9016299 w 11576549"/>
              <a:gd name="connsiteY568" fmla="*/ 615717 h 6857997"/>
              <a:gd name="connsiteX569" fmla="*/ 9054063 w 11576549"/>
              <a:gd name="connsiteY569" fmla="*/ 615717 h 6857997"/>
              <a:gd name="connsiteX570" fmla="*/ 9058905 w 11576549"/>
              <a:gd name="connsiteY570" fmla="*/ 620168 h 6857997"/>
              <a:gd name="connsiteX571" fmla="*/ 9058905 w 11576549"/>
              <a:gd name="connsiteY571" fmla="*/ 716582 h 6857997"/>
              <a:gd name="connsiteX572" fmla="*/ 9052110 w 11576549"/>
              <a:gd name="connsiteY572" fmla="*/ 723238 h 6857997"/>
              <a:gd name="connsiteX573" fmla="*/ 9031152 w 11576549"/>
              <a:gd name="connsiteY573" fmla="*/ 722993 h 6857997"/>
              <a:gd name="connsiteX574" fmla="*/ 9016299 w 11576549"/>
              <a:gd name="connsiteY574" fmla="*/ 722993 h 6857997"/>
              <a:gd name="connsiteX575" fmla="*/ 8998231 w 11576549"/>
              <a:gd name="connsiteY575" fmla="*/ 717725 h 6857997"/>
              <a:gd name="connsiteX576" fmla="*/ 8992982 w 11576549"/>
              <a:gd name="connsiteY576" fmla="*/ 699594 h 6857997"/>
              <a:gd name="connsiteX577" fmla="*/ 8992982 w 11576549"/>
              <a:gd name="connsiteY577" fmla="*/ 639524 h 6857997"/>
              <a:gd name="connsiteX578" fmla="*/ 8998231 w 11576549"/>
              <a:gd name="connsiteY578" fmla="*/ 621148 h 6857997"/>
              <a:gd name="connsiteX579" fmla="*/ 9016299 w 11576549"/>
              <a:gd name="connsiteY579" fmla="*/ 615717 h 6857997"/>
              <a:gd name="connsiteX580" fmla="*/ 9951829 w 11576549"/>
              <a:gd name="connsiteY580" fmla="*/ 598282 h 6857997"/>
              <a:gd name="connsiteX581" fmla="*/ 9979976 w 11576549"/>
              <a:gd name="connsiteY581" fmla="*/ 598282 h 6857997"/>
              <a:gd name="connsiteX582" fmla="*/ 10013711 w 11576549"/>
              <a:gd name="connsiteY582" fmla="*/ 632833 h 6857997"/>
              <a:gd name="connsiteX583" fmla="*/ 10013711 w 11576549"/>
              <a:gd name="connsiteY583" fmla="*/ 717331 h 6857997"/>
              <a:gd name="connsiteX584" fmla="*/ 9979976 w 11576549"/>
              <a:gd name="connsiteY584" fmla="*/ 751922 h 6857997"/>
              <a:gd name="connsiteX585" fmla="*/ 9951829 w 11576549"/>
              <a:gd name="connsiteY585" fmla="*/ 751922 h 6857997"/>
              <a:gd name="connsiteX586" fmla="*/ 9918094 w 11576549"/>
              <a:gd name="connsiteY586" fmla="*/ 717331 h 6857997"/>
              <a:gd name="connsiteX587" fmla="*/ 9918094 w 11576549"/>
              <a:gd name="connsiteY587" fmla="*/ 632833 h 6857997"/>
              <a:gd name="connsiteX588" fmla="*/ 9951829 w 11576549"/>
              <a:gd name="connsiteY588" fmla="*/ 598282 h 6857997"/>
              <a:gd name="connsiteX589" fmla="*/ 10549985 w 11576549"/>
              <a:gd name="connsiteY589" fmla="*/ 598010 h 6857997"/>
              <a:gd name="connsiteX590" fmla="*/ 10606293 w 11576549"/>
              <a:gd name="connsiteY590" fmla="*/ 598010 h 6857997"/>
              <a:gd name="connsiteX591" fmla="*/ 10610294 w 11576549"/>
              <a:gd name="connsiteY591" fmla="*/ 601650 h 6857997"/>
              <a:gd name="connsiteX592" fmla="*/ 10610294 w 11576549"/>
              <a:gd name="connsiteY592" fmla="*/ 714866 h 6857997"/>
              <a:gd name="connsiteX593" fmla="*/ 10600658 w 11576549"/>
              <a:gd name="connsiteY593" fmla="*/ 742270 h 6857997"/>
              <a:gd name="connsiteX594" fmla="*/ 10572892 w 11576549"/>
              <a:gd name="connsiteY594" fmla="*/ 751923 h 6857997"/>
              <a:gd name="connsiteX595" fmla="*/ 10549985 w 11576549"/>
              <a:gd name="connsiteY595" fmla="*/ 751923 h 6857997"/>
              <a:gd name="connsiteX596" fmla="*/ 10516584 w 11576549"/>
              <a:gd name="connsiteY596" fmla="*/ 716870 h 6857997"/>
              <a:gd name="connsiteX597" fmla="*/ 10516584 w 11576549"/>
              <a:gd name="connsiteY597" fmla="*/ 633062 h 6857997"/>
              <a:gd name="connsiteX598" fmla="*/ 10549985 w 11576549"/>
              <a:gd name="connsiteY598" fmla="*/ 598010 h 6857997"/>
              <a:gd name="connsiteX599" fmla="*/ 11003356 w 11576549"/>
              <a:gd name="connsiteY599" fmla="*/ 572403 h 6857997"/>
              <a:gd name="connsiteX600" fmla="*/ 10993721 w 11576549"/>
              <a:gd name="connsiteY600" fmla="*/ 577630 h 6857997"/>
              <a:gd name="connsiteX601" fmla="*/ 10936602 w 11576549"/>
              <a:gd name="connsiteY601" fmla="*/ 667717 h 6857997"/>
              <a:gd name="connsiteX602" fmla="*/ 10936602 w 11576549"/>
              <a:gd name="connsiteY602" fmla="*/ 676171 h 6857997"/>
              <a:gd name="connsiteX603" fmla="*/ 10998539 w 11576549"/>
              <a:gd name="connsiteY603" fmla="*/ 771894 h 6857997"/>
              <a:gd name="connsiteX604" fmla="*/ 11009807 w 11576549"/>
              <a:gd name="connsiteY604" fmla="*/ 777529 h 6857997"/>
              <a:gd name="connsiteX605" fmla="*/ 11028670 w 11576549"/>
              <a:gd name="connsiteY605" fmla="*/ 777529 h 6857997"/>
              <a:gd name="connsiteX606" fmla="*/ 11033120 w 11576549"/>
              <a:gd name="connsiteY606" fmla="*/ 775733 h 6857997"/>
              <a:gd name="connsiteX607" fmla="*/ 11032712 w 11576549"/>
              <a:gd name="connsiteY607" fmla="*/ 771118 h 6857997"/>
              <a:gd name="connsiteX608" fmla="*/ 10967550 w 11576549"/>
              <a:gd name="connsiteY608" fmla="*/ 672169 h 6857997"/>
              <a:gd name="connsiteX609" fmla="*/ 10967550 w 11576549"/>
              <a:gd name="connsiteY609" fmla="*/ 670535 h 6857997"/>
              <a:gd name="connsiteX610" fmla="*/ 11026669 w 11576549"/>
              <a:gd name="connsiteY610" fmla="*/ 578855 h 6857997"/>
              <a:gd name="connsiteX611" fmla="*/ 11027690 w 11576549"/>
              <a:gd name="connsiteY611" fmla="*/ 574200 h 6857997"/>
              <a:gd name="connsiteX612" fmla="*/ 11023444 w 11576549"/>
              <a:gd name="connsiteY612" fmla="*/ 572403 h 6857997"/>
              <a:gd name="connsiteX613" fmla="*/ 11003356 w 11576549"/>
              <a:gd name="connsiteY613" fmla="*/ 572403 h 6857997"/>
              <a:gd name="connsiteX614" fmla="*/ 10825017 w 11576549"/>
              <a:gd name="connsiteY614" fmla="*/ 572403 h 6857997"/>
              <a:gd name="connsiteX615" fmla="*/ 10819779 w 11576549"/>
              <a:gd name="connsiteY615" fmla="*/ 578038 h 6857997"/>
              <a:gd name="connsiteX616" fmla="*/ 10819779 w 11576549"/>
              <a:gd name="connsiteY616" fmla="*/ 771935 h 6857997"/>
              <a:gd name="connsiteX617" fmla="*/ 10825426 w 11576549"/>
              <a:gd name="connsiteY617" fmla="*/ 777529 h 6857997"/>
              <a:gd name="connsiteX618" fmla="*/ 10843594 w 11576549"/>
              <a:gd name="connsiteY618" fmla="*/ 777529 h 6857997"/>
              <a:gd name="connsiteX619" fmla="*/ 10849200 w 11576549"/>
              <a:gd name="connsiteY619" fmla="*/ 771935 h 6857997"/>
              <a:gd name="connsiteX620" fmla="*/ 10849200 w 11576549"/>
              <a:gd name="connsiteY620" fmla="*/ 578038 h 6857997"/>
              <a:gd name="connsiteX621" fmla="*/ 10843594 w 11576549"/>
              <a:gd name="connsiteY621" fmla="*/ 572403 h 6857997"/>
              <a:gd name="connsiteX622" fmla="*/ 10825017 w 11576549"/>
              <a:gd name="connsiteY622" fmla="*/ 572403 h 6857997"/>
              <a:gd name="connsiteX623" fmla="*/ 10546746 w 11576549"/>
              <a:gd name="connsiteY623" fmla="*/ 572403 h 6857997"/>
              <a:gd name="connsiteX624" fmla="*/ 10503101 w 11576549"/>
              <a:gd name="connsiteY624" fmla="*/ 588085 h 6857997"/>
              <a:gd name="connsiteX625" fmla="*/ 10487164 w 11576549"/>
              <a:gd name="connsiteY625" fmla="*/ 631944 h 6857997"/>
              <a:gd name="connsiteX626" fmla="*/ 10487164 w 11576549"/>
              <a:gd name="connsiteY626" fmla="*/ 718029 h 6857997"/>
              <a:gd name="connsiteX627" fmla="*/ 10503101 w 11576549"/>
              <a:gd name="connsiteY627" fmla="*/ 761848 h 6857997"/>
              <a:gd name="connsiteX628" fmla="*/ 10546746 w 11576549"/>
              <a:gd name="connsiteY628" fmla="*/ 777529 h 6857997"/>
              <a:gd name="connsiteX629" fmla="*/ 10567669 w 11576549"/>
              <a:gd name="connsiteY629" fmla="*/ 777529 h 6857997"/>
              <a:gd name="connsiteX630" fmla="*/ 10608739 w 11576549"/>
              <a:gd name="connsiteY630" fmla="*/ 756212 h 6857997"/>
              <a:gd name="connsiteX631" fmla="*/ 10610332 w 11576549"/>
              <a:gd name="connsiteY631" fmla="*/ 756212 h 6857997"/>
              <a:gd name="connsiteX632" fmla="*/ 10610332 w 11576549"/>
              <a:gd name="connsiteY632" fmla="*/ 771935 h 6857997"/>
              <a:gd name="connsiteX633" fmla="*/ 10615972 w 11576549"/>
              <a:gd name="connsiteY633" fmla="*/ 777529 h 6857997"/>
              <a:gd name="connsiteX634" fmla="*/ 10634116 w 11576549"/>
              <a:gd name="connsiteY634" fmla="*/ 777529 h 6857997"/>
              <a:gd name="connsiteX635" fmla="*/ 10639715 w 11576549"/>
              <a:gd name="connsiteY635" fmla="*/ 771935 h 6857997"/>
              <a:gd name="connsiteX636" fmla="*/ 10639715 w 11576549"/>
              <a:gd name="connsiteY636" fmla="*/ 578038 h 6857997"/>
              <a:gd name="connsiteX637" fmla="*/ 10634116 w 11576549"/>
              <a:gd name="connsiteY637" fmla="*/ 572403 h 6857997"/>
              <a:gd name="connsiteX638" fmla="*/ 10546746 w 11576549"/>
              <a:gd name="connsiteY638" fmla="*/ 572403 h 6857997"/>
              <a:gd name="connsiteX639" fmla="*/ 10201313 w 11576549"/>
              <a:gd name="connsiteY639" fmla="*/ 572403 h 6857997"/>
              <a:gd name="connsiteX640" fmla="*/ 10195682 w 11576549"/>
              <a:gd name="connsiteY640" fmla="*/ 578038 h 6857997"/>
              <a:gd name="connsiteX641" fmla="*/ 10195682 w 11576549"/>
              <a:gd name="connsiteY641" fmla="*/ 771894 h 6857997"/>
              <a:gd name="connsiteX642" fmla="*/ 10201313 w 11576549"/>
              <a:gd name="connsiteY642" fmla="*/ 777529 h 6857997"/>
              <a:gd name="connsiteX643" fmla="*/ 10219387 w 11576549"/>
              <a:gd name="connsiteY643" fmla="*/ 777529 h 6857997"/>
              <a:gd name="connsiteX644" fmla="*/ 10225017 w 11576549"/>
              <a:gd name="connsiteY644" fmla="*/ 771894 h 6857997"/>
              <a:gd name="connsiteX645" fmla="*/ 10225017 w 11576549"/>
              <a:gd name="connsiteY645" fmla="*/ 635170 h 6857997"/>
              <a:gd name="connsiteX646" fmla="*/ 10234646 w 11576549"/>
              <a:gd name="connsiteY646" fmla="*/ 607809 h 6857997"/>
              <a:gd name="connsiteX647" fmla="*/ 10262390 w 11576549"/>
              <a:gd name="connsiteY647" fmla="*/ 598171 h 6857997"/>
              <a:gd name="connsiteX648" fmla="*/ 10277241 w 11576549"/>
              <a:gd name="connsiteY648" fmla="*/ 598171 h 6857997"/>
              <a:gd name="connsiteX649" fmla="*/ 10311023 w 11576549"/>
              <a:gd name="connsiteY649" fmla="*/ 633128 h 6857997"/>
              <a:gd name="connsiteX650" fmla="*/ 10311023 w 11576549"/>
              <a:gd name="connsiteY650" fmla="*/ 771894 h 6857997"/>
              <a:gd name="connsiteX651" fmla="*/ 10316653 w 11576549"/>
              <a:gd name="connsiteY651" fmla="*/ 777529 h 6857997"/>
              <a:gd name="connsiteX652" fmla="*/ 10334727 w 11576549"/>
              <a:gd name="connsiteY652" fmla="*/ 777529 h 6857997"/>
              <a:gd name="connsiteX653" fmla="*/ 10340358 w 11576549"/>
              <a:gd name="connsiteY653" fmla="*/ 771894 h 6857997"/>
              <a:gd name="connsiteX654" fmla="*/ 10340358 w 11576549"/>
              <a:gd name="connsiteY654" fmla="*/ 636354 h 6857997"/>
              <a:gd name="connsiteX655" fmla="*/ 10350190 w 11576549"/>
              <a:gd name="connsiteY655" fmla="*/ 608422 h 6857997"/>
              <a:gd name="connsiteX656" fmla="*/ 10378138 w 11576549"/>
              <a:gd name="connsiteY656" fmla="*/ 598171 h 6857997"/>
              <a:gd name="connsiteX657" fmla="*/ 10391398 w 11576549"/>
              <a:gd name="connsiteY657" fmla="*/ 598171 h 6857997"/>
              <a:gd name="connsiteX658" fmla="*/ 10425139 w 11576549"/>
              <a:gd name="connsiteY658" fmla="*/ 633128 h 6857997"/>
              <a:gd name="connsiteX659" fmla="*/ 10425139 w 11576549"/>
              <a:gd name="connsiteY659" fmla="*/ 771894 h 6857997"/>
              <a:gd name="connsiteX660" fmla="*/ 10430770 w 11576549"/>
              <a:gd name="connsiteY660" fmla="*/ 777529 h 6857997"/>
              <a:gd name="connsiteX661" fmla="*/ 10448844 w 11576549"/>
              <a:gd name="connsiteY661" fmla="*/ 777529 h 6857997"/>
              <a:gd name="connsiteX662" fmla="*/ 10454474 w 11576549"/>
              <a:gd name="connsiteY662" fmla="*/ 771894 h 6857997"/>
              <a:gd name="connsiteX663" fmla="*/ 10454474 w 11576549"/>
              <a:gd name="connsiteY663" fmla="*/ 631944 h 6857997"/>
              <a:gd name="connsiteX664" fmla="*/ 10439215 w 11576549"/>
              <a:gd name="connsiteY664" fmla="*/ 588085 h 6857997"/>
              <a:gd name="connsiteX665" fmla="*/ 10396620 w 11576549"/>
              <a:gd name="connsiteY665" fmla="*/ 572403 h 6857997"/>
              <a:gd name="connsiteX666" fmla="*/ 10382544 w 11576549"/>
              <a:gd name="connsiteY666" fmla="*/ 572403 h 6857997"/>
              <a:gd name="connsiteX667" fmla="*/ 10353413 w 11576549"/>
              <a:gd name="connsiteY667" fmla="*/ 579427 h 6857997"/>
              <a:gd name="connsiteX668" fmla="*/ 10333136 w 11576549"/>
              <a:gd name="connsiteY668" fmla="*/ 599764 h 6857997"/>
              <a:gd name="connsiteX669" fmla="*/ 10284095 w 11576549"/>
              <a:gd name="connsiteY669" fmla="*/ 572403 h 6857997"/>
              <a:gd name="connsiteX670" fmla="*/ 10269203 w 11576549"/>
              <a:gd name="connsiteY670" fmla="*/ 572403 h 6857997"/>
              <a:gd name="connsiteX671" fmla="*/ 10226609 w 11576549"/>
              <a:gd name="connsiteY671" fmla="*/ 593720 h 6857997"/>
              <a:gd name="connsiteX672" fmla="*/ 10225017 w 11576549"/>
              <a:gd name="connsiteY672" fmla="*/ 593720 h 6857997"/>
              <a:gd name="connsiteX673" fmla="*/ 10225017 w 11576549"/>
              <a:gd name="connsiteY673" fmla="*/ 578038 h 6857997"/>
              <a:gd name="connsiteX674" fmla="*/ 10219387 w 11576549"/>
              <a:gd name="connsiteY674" fmla="*/ 572403 h 6857997"/>
              <a:gd name="connsiteX675" fmla="*/ 10201313 w 11576549"/>
              <a:gd name="connsiteY675" fmla="*/ 572403 h 6857997"/>
              <a:gd name="connsiteX676" fmla="*/ 10080309 w 11576549"/>
              <a:gd name="connsiteY676" fmla="*/ 572403 h 6857997"/>
              <a:gd name="connsiteX677" fmla="*/ 10074731 w 11576549"/>
              <a:gd name="connsiteY677" fmla="*/ 578038 h 6857997"/>
              <a:gd name="connsiteX678" fmla="*/ 10074731 w 11576549"/>
              <a:gd name="connsiteY678" fmla="*/ 771894 h 6857997"/>
              <a:gd name="connsiteX679" fmla="*/ 10080309 w 11576549"/>
              <a:gd name="connsiteY679" fmla="*/ 777529 h 6857997"/>
              <a:gd name="connsiteX680" fmla="*/ 10098386 w 11576549"/>
              <a:gd name="connsiteY680" fmla="*/ 777529 h 6857997"/>
              <a:gd name="connsiteX681" fmla="*/ 10103964 w 11576549"/>
              <a:gd name="connsiteY681" fmla="*/ 771894 h 6857997"/>
              <a:gd name="connsiteX682" fmla="*/ 10103964 w 11576549"/>
              <a:gd name="connsiteY682" fmla="*/ 638764 h 6857997"/>
              <a:gd name="connsiteX683" fmla="*/ 10113613 w 11576549"/>
              <a:gd name="connsiteY683" fmla="*/ 609034 h 6857997"/>
              <a:gd name="connsiteX684" fmla="*/ 10141298 w 11576549"/>
              <a:gd name="connsiteY684" fmla="*/ 598171 h 6857997"/>
              <a:gd name="connsiteX685" fmla="*/ 10162957 w 11576549"/>
              <a:gd name="connsiteY685" fmla="*/ 598171 h 6857997"/>
              <a:gd name="connsiteX686" fmla="*/ 10166947 w 11576549"/>
              <a:gd name="connsiteY686" fmla="*/ 597150 h 6857997"/>
              <a:gd name="connsiteX687" fmla="*/ 10168169 w 11576549"/>
              <a:gd name="connsiteY687" fmla="*/ 592903 h 6857997"/>
              <a:gd name="connsiteX688" fmla="*/ 10168169 w 11576549"/>
              <a:gd name="connsiteY688" fmla="*/ 578038 h 6857997"/>
              <a:gd name="connsiteX689" fmla="*/ 10162957 w 11576549"/>
              <a:gd name="connsiteY689" fmla="*/ 572403 h 6857997"/>
              <a:gd name="connsiteX690" fmla="*/ 10147283 w 11576549"/>
              <a:gd name="connsiteY690" fmla="*/ 572403 h 6857997"/>
              <a:gd name="connsiteX691" fmla="*/ 10120819 w 11576549"/>
              <a:gd name="connsiteY691" fmla="*/ 578855 h 6857997"/>
              <a:gd name="connsiteX692" fmla="*/ 10105592 w 11576549"/>
              <a:gd name="connsiteY692" fmla="*/ 594128 h 6857997"/>
              <a:gd name="connsiteX693" fmla="*/ 10103964 w 11576549"/>
              <a:gd name="connsiteY693" fmla="*/ 594128 h 6857997"/>
              <a:gd name="connsiteX694" fmla="*/ 10103964 w 11576549"/>
              <a:gd name="connsiteY694" fmla="*/ 578038 h 6857997"/>
              <a:gd name="connsiteX695" fmla="*/ 10098386 w 11576549"/>
              <a:gd name="connsiteY695" fmla="*/ 572403 h 6857997"/>
              <a:gd name="connsiteX696" fmla="*/ 10080309 w 11576549"/>
              <a:gd name="connsiteY696" fmla="*/ 572403 h 6857997"/>
              <a:gd name="connsiteX697" fmla="*/ 9948617 w 11576549"/>
              <a:gd name="connsiteY697" fmla="*/ 572403 h 6857997"/>
              <a:gd name="connsiteX698" fmla="*/ 9905077 w 11576549"/>
              <a:gd name="connsiteY698" fmla="*/ 588085 h 6857997"/>
              <a:gd name="connsiteX699" fmla="*/ 9889218 w 11576549"/>
              <a:gd name="connsiteY699" fmla="*/ 631944 h 6857997"/>
              <a:gd name="connsiteX700" fmla="*/ 9889218 w 11576549"/>
              <a:gd name="connsiteY700" fmla="*/ 718029 h 6857997"/>
              <a:gd name="connsiteX701" fmla="*/ 9905077 w 11576549"/>
              <a:gd name="connsiteY701" fmla="*/ 761848 h 6857997"/>
              <a:gd name="connsiteX702" fmla="*/ 9948617 w 11576549"/>
              <a:gd name="connsiteY702" fmla="*/ 777529 h 6857997"/>
              <a:gd name="connsiteX703" fmla="*/ 9983147 w 11576549"/>
              <a:gd name="connsiteY703" fmla="*/ 777529 h 6857997"/>
              <a:gd name="connsiteX704" fmla="*/ 10026728 w 11576549"/>
              <a:gd name="connsiteY704" fmla="*/ 761848 h 6857997"/>
              <a:gd name="connsiteX705" fmla="*/ 10042587 w 11576549"/>
              <a:gd name="connsiteY705" fmla="*/ 718029 h 6857997"/>
              <a:gd name="connsiteX706" fmla="*/ 10042587 w 11576549"/>
              <a:gd name="connsiteY706" fmla="*/ 631944 h 6857997"/>
              <a:gd name="connsiteX707" fmla="*/ 10026728 w 11576549"/>
              <a:gd name="connsiteY707" fmla="*/ 588085 h 6857997"/>
              <a:gd name="connsiteX708" fmla="*/ 9983147 w 11576549"/>
              <a:gd name="connsiteY708" fmla="*/ 572403 h 6857997"/>
              <a:gd name="connsiteX709" fmla="*/ 9948617 w 11576549"/>
              <a:gd name="connsiteY709" fmla="*/ 572403 h 6857997"/>
              <a:gd name="connsiteX710" fmla="*/ 9596011 w 11576549"/>
              <a:gd name="connsiteY710" fmla="*/ 572403 h 6857997"/>
              <a:gd name="connsiteX711" fmla="*/ 9590382 w 11576549"/>
              <a:gd name="connsiteY711" fmla="*/ 578038 h 6857997"/>
              <a:gd name="connsiteX712" fmla="*/ 9590382 w 11576549"/>
              <a:gd name="connsiteY712" fmla="*/ 771894 h 6857997"/>
              <a:gd name="connsiteX713" fmla="*/ 9596011 w 11576549"/>
              <a:gd name="connsiteY713" fmla="*/ 777529 h 6857997"/>
              <a:gd name="connsiteX714" fmla="*/ 9614082 w 11576549"/>
              <a:gd name="connsiteY714" fmla="*/ 777529 h 6857997"/>
              <a:gd name="connsiteX715" fmla="*/ 9619712 w 11576549"/>
              <a:gd name="connsiteY715" fmla="*/ 771894 h 6857997"/>
              <a:gd name="connsiteX716" fmla="*/ 9619712 w 11576549"/>
              <a:gd name="connsiteY716" fmla="*/ 635170 h 6857997"/>
              <a:gd name="connsiteX717" fmla="*/ 9629339 w 11576549"/>
              <a:gd name="connsiteY717" fmla="*/ 607809 h 6857997"/>
              <a:gd name="connsiteX718" fmla="*/ 9657078 w 11576549"/>
              <a:gd name="connsiteY718" fmla="*/ 598171 h 6857997"/>
              <a:gd name="connsiteX719" fmla="*/ 9679595 w 11576549"/>
              <a:gd name="connsiteY719" fmla="*/ 598171 h 6857997"/>
              <a:gd name="connsiteX720" fmla="*/ 9713331 w 11576549"/>
              <a:gd name="connsiteY720" fmla="*/ 633128 h 6857997"/>
              <a:gd name="connsiteX721" fmla="*/ 9713331 w 11576549"/>
              <a:gd name="connsiteY721" fmla="*/ 771894 h 6857997"/>
              <a:gd name="connsiteX722" fmla="*/ 9718960 w 11576549"/>
              <a:gd name="connsiteY722" fmla="*/ 777529 h 6857997"/>
              <a:gd name="connsiteX723" fmla="*/ 9737031 w 11576549"/>
              <a:gd name="connsiteY723" fmla="*/ 777529 h 6857997"/>
              <a:gd name="connsiteX724" fmla="*/ 9742660 w 11576549"/>
              <a:gd name="connsiteY724" fmla="*/ 771894 h 6857997"/>
              <a:gd name="connsiteX725" fmla="*/ 9742660 w 11576549"/>
              <a:gd name="connsiteY725" fmla="*/ 631944 h 6857997"/>
              <a:gd name="connsiteX726" fmla="*/ 9727404 w 11576549"/>
              <a:gd name="connsiteY726" fmla="*/ 588085 h 6857997"/>
              <a:gd name="connsiteX727" fmla="*/ 9684817 w 11576549"/>
              <a:gd name="connsiteY727" fmla="*/ 572403 h 6857997"/>
              <a:gd name="connsiteX728" fmla="*/ 9662299 w 11576549"/>
              <a:gd name="connsiteY728" fmla="*/ 572403 h 6857997"/>
              <a:gd name="connsiteX729" fmla="*/ 9621303 w 11576549"/>
              <a:gd name="connsiteY729" fmla="*/ 593720 h 6857997"/>
              <a:gd name="connsiteX730" fmla="*/ 9619712 w 11576549"/>
              <a:gd name="connsiteY730" fmla="*/ 593720 h 6857997"/>
              <a:gd name="connsiteX731" fmla="*/ 9619712 w 11576549"/>
              <a:gd name="connsiteY731" fmla="*/ 578038 h 6857997"/>
              <a:gd name="connsiteX732" fmla="*/ 9614082 w 11576549"/>
              <a:gd name="connsiteY732" fmla="*/ 572403 h 6857997"/>
              <a:gd name="connsiteX733" fmla="*/ 9596011 w 11576549"/>
              <a:gd name="connsiteY733" fmla="*/ 572403 h 6857997"/>
              <a:gd name="connsiteX734" fmla="*/ 9528334 w 11576549"/>
              <a:gd name="connsiteY734" fmla="*/ 572403 h 6857997"/>
              <a:gd name="connsiteX735" fmla="*/ 9523096 w 11576549"/>
              <a:gd name="connsiteY735" fmla="*/ 578038 h 6857997"/>
              <a:gd name="connsiteX736" fmla="*/ 9523096 w 11576549"/>
              <a:gd name="connsiteY736" fmla="*/ 771935 h 6857997"/>
              <a:gd name="connsiteX737" fmla="*/ 9528743 w 11576549"/>
              <a:gd name="connsiteY737" fmla="*/ 777529 h 6857997"/>
              <a:gd name="connsiteX738" fmla="*/ 9546870 w 11576549"/>
              <a:gd name="connsiteY738" fmla="*/ 777529 h 6857997"/>
              <a:gd name="connsiteX739" fmla="*/ 9552517 w 11576549"/>
              <a:gd name="connsiteY739" fmla="*/ 771935 h 6857997"/>
              <a:gd name="connsiteX740" fmla="*/ 9552517 w 11576549"/>
              <a:gd name="connsiteY740" fmla="*/ 578038 h 6857997"/>
              <a:gd name="connsiteX741" fmla="*/ 9546870 w 11576549"/>
              <a:gd name="connsiteY741" fmla="*/ 572403 h 6857997"/>
              <a:gd name="connsiteX742" fmla="*/ 9528334 w 11576549"/>
              <a:gd name="connsiteY742" fmla="*/ 572403 h 6857997"/>
              <a:gd name="connsiteX743" fmla="*/ 9251780 w 11576549"/>
              <a:gd name="connsiteY743" fmla="*/ 571313 h 6857997"/>
              <a:gd name="connsiteX744" fmla="*/ 9245738 w 11576549"/>
              <a:gd name="connsiteY744" fmla="*/ 579767 h 6857997"/>
              <a:gd name="connsiteX745" fmla="*/ 9296156 w 11576549"/>
              <a:gd name="connsiteY745" fmla="*/ 768123 h 6857997"/>
              <a:gd name="connsiteX746" fmla="*/ 9307015 w 11576549"/>
              <a:gd name="connsiteY746" fmla="*/ 776985 h 6857997"/>
              <a:gd name="connsiteX747" fmla="*/ 9358209 w 11576549"/>
              <a:gd name="connsiteY747" fmla="*/ 776985 h 6857997"/>
              <a:gd name="connsiteX748" fmla="*/ 9369109 w 11576549"/>
              <a:gd name="connsiteY748" fmla="*/ 768123 h 6857997"/>
              <a:gd name="connsiteX749" fmla="*/ 9419894 w 11576549"/>
              <a:gd name="connsiteY749" fmla="*/ 579767 h 6857997"/>
              <a:gd name="connsiteX750" fmla="*/ 9413852 w 11576549"/>
              <a:gd name="connsiteY750" fmla="*/ 571313 h 6857997"/>
              <a:gd name="connsiteX751" fmla="*/ 9378376 w 11576549"/>
              <a:gd name="connsiteY751" fmla="*/ 571313 h 6857997"/>
              <a:gd name="connsiteX752" fmla="*/ 9368292 w 11576549"/>
              <a:gd name="connsiteY752" fmla="*/ 579767 h 6857997"/>
              <a:gd name="connsiteX753" fmla="*/ 9334449 w 11576549"/>
              <a:gd name="connsiteY753" fmla="*/ 731407 h 6857997"/>
              <a:gd name="connsiteX754" fmla="*/ 9331591 w 11576549"/>
              <a:gd name="connsiteY754" fmla="*/ 731407 h 6857997"/>
              <a:gd name="connsiteX755" fmla="*/ 9296932 w 11576549"/>
              <a:gd name="connsiteY755" fmla="*/ 579767 h 6857997"/>
              <a:gd name="connsiteX756" fmla="*/ 9287256 w 11576549"/>
              <a:gd name="connsiteY756" fmla="*/ 571313 h 6857997"/>
              <a:gd name="connsiteX757" fmla="*/ 9251780 w 11576549"/>
              <a:gd name="connsiteY757" fmla="*/ 571313 h 6857997"/>
              <a:gd name="connsiteX758" fmla="*/ 9187975 w 11576549"/>
              <a:gd name="connsiteY758" fmla="*/ 571313 h 6857997"/>
              <a:gd name="connsiteX759" fmla="*/ 9174297 w 11576549"/>
              <a:gd name="connsiteY759" fmla="*/ 579359 h 6857997"/>
              <a:gd name="connsiteX760" fmla="*/ 9125917 w 11576549"/>
              <a:gd name="connsiteY760" fmla="*/ 665287 h 6857997"/>
              <a:gd name="connsiteX761" fmla="*/ 9125917 w 11576549"/>
              <a:gd name="connsiteY761" fmla="*/ 678601 h 6857997"/>
              <a:gd name="connsiteX762" fmla="*/ 9177115 w 11576549"/>
              <a:gd name="connsiteY762" fmla="*/ 768490 h 6857997"/>
              <a:gd name="connsiteX763" fmla="*/ 9183361 w 11576549"/>
              <a:gd name="connsiteY763" fmla="*/ 775351 h 6857997"/>
              <a:gd name="connsiteX764" fmla="*/ 9193241 w 11576549"/>
              <a:gd name="connsiteY764" fmla="*/ 776985 h 6857997"/>
              <a:gd name="connsiteX765" fmla="*/ 9227904 w 11576549"/>
              <a:gd name="connsiteY765" fmla="*/ 776985 h 6857997"/>
              <a:gd name="connsiteX766" fmla="*/ 9235171 w 11576549"/>
              <a:gd name="connsiteY766" fmla="*/ 773963 h 6857997"/>
              <a:gd name="connsiteX767" fmla="*/ 9234763 w 11576549"/>
              <a:gd name="connsiteY767" fmla="*/ 766897 h 6857997"/>
              <a:gd name="connsiteX768" fmla="*/ 9178707 w 11576549"/>
              <a:gd name="connsiteY768" fmla="*/ 671331 h 6857997"/>
              <a:gd name="connsiteX769" fmla="*/ 9178707 w 11576549"/>
              <a:gd name="connsiteY769" fmla="*/ 669698 h 6857997"/>
              <a:gd name="connsiteX770" fmla="*/ 9232354 w 11576549"/>
              <a:gd name="connsiteY770" fmla="*/ 581401 h 6857997"/>
              <a:gd name="connsiteX771" fmla="*/ 9233538 w 11576549"/>
              <a:gd name="connsiteY771" fmla="*/ 574131 h 6857997"/>
              <a:gd name="connsiteX772" fmla="*/ 9227087 w 11576549"/>
              <a:gd name="connsiteY772" fmla="*/ 571313 h 6857997"/>
              <a:gd name="connsiteX773" fmla="*/ 9187975 w 11576549"/>
              <a:gd name="connsiteY773" fmla="*/ 571313 h 6857997"/>
              <a:gd name="connsiteX774" fmla="*/ 9008219 w 11576549"/>
              <a:gd name="connsiteY774" fmla="*/ 571313 h 6857997"/>
              <a:gd name="connsiteX775" fmla="*/ 8959064 w 11576549"/>
              <a:gd name="connsiteY775" fmla="*/ 588267 h 6857997"/>
              <a:gd name="connsiteX776" fmla="*/ 8941768 w 11576549"/>
              <a:gd name="connsiteY776" fmla="*/ 637044 h 6857997"/>
              <a:gd name="connsiteX777" fmla="*/ 8941768 w 11576549"/>
              <a:gd name="connsiteY777" fmla="*/ 701998 h 6857997"/>
              <a:gd name="connsiteX778" fmla="*/ 8957636 w 11576549"/>
              <a:gd name="connsiteY778" fmla="*/ 750816 h 6857997"/>
              <a:gd name="connsiteX779" fmla="*/ 9004588 w 11576549"/>
              <a:gd name="connsiteY779" fmla="*/ 767769 h 6857997"/>
              <a:gd name="connsiteX780" fmla="*/ 9017887 w 11576549"/>
              <a:gd name="connsiteY780" fmla="*/ 767933 h 6857997"/>
              <a:gd name="connsiteX781" fmla="*/ 9041628 w 11576549"/>
              <a:gd name="connsiteY781" fmla="*/ 767933 h 6857997"/>
              <a:gd name="connsiteX782" fmla="*/ 9057333 w 11576549"/>
              <a:gd name="connsiteY782" fmla="*/ 767892 h 6857997"/>
              <a:gd name="connsiteX783" fmla="*/ 9058965 w 11576549"/>
              <a:gd name="connsiteY783" fmla="*/ 767892 h 6857997"/>
              <a:gd name="connsiteX784" fmla="*/ 9058965 w 11576549"/>
              <a:gd name="connsiteY784" fmla="*/ 776225 h 6857997"/>
              <a:gd name="connsiteX785" fmla="*/ 9053540 w 11576549"/>
              <a:gd name="connsiteY785" fmla="*/ 794200 h 6857997"/>
              <a:gd name="connsiteX786" fmla="*/ 9035183 w 11576549"/>
              <a:gd name="connsiteY786" fmla="*/ 799634 h 6857997"/>
              <a:gd name="connsiteX787" fmla="*/ 8966325 w 11576549"/>
              <a:gd name="connsiteY787" fmla="*/ 799634 h 6857997"/>
              <a:gd name="connsiteX788" fmla="*/ 8957840 w 11576549"/>
              <a:gd name="connsiteY788" fmla="*/ 808090 h 6857997"/>
              <a:gd name="connsiteX789" fmla="*/ 8957840 w 11576549"/>
              <a:gd name="connsiteY789" fmla="*/ 835910 h 6857997"/>
              <a:gd name="connsiteX790" fmla="*/ 8959676 w 11576549"/>
              <a:gd name="connsiteY790" fmla="*/ 842160 h 6857997"/>
              <a:gd name="connsiteX791" fmla="*/ 8966325 w 11576549"/>
              <a:gd name="connsiteY791" fmla="*/ 843998 h 6857997"/>
              <a:gd name="connsiteX792" fmla="*/ 9043668 w 11576549"/>
              <a:gd name="connsiteY792" fmla="*/ 843998 h 6857997"/>
              <a:gd name="connsiteX793" fmla="*/ 9092578 w 11576549"/>
              <a:gd name="connsiteY793" fmla="*/ 827045 h 6857997"/>
              <a:gd name="connsiteX794" fmla="*/ 9110119 w 11576549"/>
              <a:gd name="connsiteY794" fmla="*/ 778636 h 6857997"/>
              <a:gd name="connsiteX795" fmla="*/ 9110119 w 11576549"/>
              <a:gd name="connsiteY795" fmla="*/ 579770 h 6857997"/>
              <a:gd name="connsiteX796" fmla="*/ 9101226 w 11576549"/>
              <a:gd name="connsiteY796" fmla="*/ 571313 h 6857997"/>
              <a:gd name="connsiteX797" fmla="*/ 9008219 w 11576549"/>
              <a:gd name="connsiteY797" fmla="*/ 571313 h 6857997"/>
              <a:gd name="connsiteX798" fmla="*/ 10706288 w 11576549"/>
              <a:gd name="connsiteY798" fmla="*/ 528544 h 6857997"/>
              <a:gd name="connsiteX799" fmla="*/ 10700691 w 11576549"/>
              <a:gd name="connsiteY799" fmla="*/ 534180 h 6857997"/>
              <a:gd name="connsiteX800" fmla="*/ 10700691 w 11576549"/>
              <a:gd name="connsiteY800" fmla="*/ 568769 h 6857997"/>
              <a:gd name="connsiteX801" fmla="*/ 10696646 w 11576549"/>
              <a:gd name="connsiteY801" fmla="*/ 572404 h 6857997"/>
              <a:gd name="connsiteX802" fmla="*/ 10674501 w 11576549"/>
              <a:gd name="connsiteY802" fmla="*/ 572404 h 6857997"/>
              <a:gd name="connsiteX803" fmla="*/ 10668863 w 11576549"/>
              <a:gd name="connsiteY803" fmla="*/ 578039 h 6857997"/>
              <a:gd name="connsiteX804" fmla="*/ 10668863 w 11576549"/>
              <a:gd name="connsiteY804" fmla="*/ 592904 h 6857997"/>
              <a:gd name="connsiteX805" fmla="*/ 10674501 w 11576549"/>
              <a:gd name="connsiteY805" fmla="*/ 598131 h 6857997"/>
              <a:gd name="connsiteX806" fmla="*/ 10696646 w 11576549"/>
              <a:gd name="connsiteY806" fmla="*/ 598131 h 6857997"/>
              <a:gd name="connsiteX807" fmla="*/ 10700691 w 11576549"/>
              <a:gd name="connsiteY807" fmla="*/ 601766 h 6857997"/>
              <a:gd name="connsiteX808" fmla="*/ 10700691 w 11576549"/>
              <a:gd name="connsiteY808" fmla="*/ 718805 h 6857997"/>
              <a:gd name="connsiteX809" fmla="*/ 10717197 w 11576549"/>
              <a:gd name="connsiteY809" fmla="*/ 762052 h 6857997"/>
              <a:gd name="connsiteX810" fmla="*/ 10761445 w 11576549"/>
              <a:gd name="connsiteY810" fmla="*/ 777529 h 6857997"/>
              <a:gd name="connsiteX811" fmla="*/ 10780771 w 11576549"/>
              <a:gd name="connsiteY811" fmla="*/ 777529 h 6857997"/>
              <a:gd name="connsiteX812" fmla="*/ 10786817 w 11576549"/>
              <a:gd name="connsiteY812" fmla="*/ 772302 h 6857997"/>
              <a:gd name="connsiteX813" fmla="*/ 10786817 w 11576549"/>
              <a:gd name="connsiteY813" fmla="*/ 757437 h 6857997"/>
              <a:gd name="connsiteX814" fmla="*/ 10780771 w 11576549"/>
              <a:gd name="connsiteY814" fmla="*/ 751802 h 6857997"/>
              <a:gd name="connsiteX815" fmla="*/ 10765081 w 11576549"/>
              <a:gd name="connsiteY815" fmla="*/ 751802 h 6857997"/>
              <a:gd name="connsiteX816" fmla="*/ 10729658 w 11576549"/>
              <a:gd name="connsiteY816" fmla="*/ 717621 h 6857997"/>
              <a:gd name="connsiteX817" fmla="*/ 10729658 w 11576549"/>
              <a:gd name="connsiteY817" fmla="*/ 601766 h 6857997"/>
              <a:gd name="connsiteX818" fmla="*/ 10734071 w 11576549"/>
              <a:gd name="connsiteY818" fmla="*/ 598131 h 6857997"/>
              <a:gd name="connsiteX819" fmla="*/ 10776726 w 11576549"/>
              <a:gd name="connsiteY819" fmla="*/ 598131 h 6857997"/>
              <a:gd name="connsiteX820" fmla="*/ 10782773 w 11576549"/>
              <a:gd name="connsiteY820" fmla="*/ 592904 h 6857997"/>
              <a:gd name="connsiteX821" fmla="*/ 10782773 w 11576549"/>
              <a:gd name="connsiteY821" fmla="*/ 578039 h 6857997"/>
              <a:gd name="connsiteX822" fmla="*/ 10776726 w 11576549"/>
              <a:gd name="connsiteY822" fmla="*/ 572404 h 6857997"/>
              <a:gd name="connsiteX823" fmla="*/ 10734071 w 11576549"/>
              <a:gd name="connsiteY823" fmla="*/ 572404 h 6857997"/>
              <a:gd name="connsiteX824" fmla="*/ 10729658 w 11576549"/>
              <a:gd name="connsiteY824" fmla="*/ 568769 h 6857997"/>
              <a:gd name="connsiteX825" fmla="*/ 10729658 w 11576549"/>
              <a:gd name="connsiteY825" fmla="*/ 534180 h 6857997"/>
              <a:gd name="connsiteX826" fmla="*/ 10724429 w 11576549"/>
              <a:gd name="connsiteY826" fmla="*/ 528544 h 6857997"/>
              <a:gd name="connsiteX827" fmla="*/ 10706288 w 11576549"/>
              <a:gd name="connsiteY827" fmla="*/ 528544 h 6857997"/>
              <a:gd name="connsiteX828" fmla="*/ 10825017 w 11576549"/>
              <a:gd name="connsiteY828" fmla="*/ 495038 h 6857997"/>
              <a:gd name="connsiteX829" fmla="*/ 10819779 w 11576549"/>
              <a:gd name="connsiteY829" fmla="*/ 500699 h 6857997"/>
              <a:gd name="connsiteX830" fmla="*/ 10819779 w 11576549"/>
              <a:gd name="connsiteY830" fmla="*/ 538684 h 6857997"/>
              <a:gd name="connsiteX831" fmla="*/ 10825017 w 11576549"/>
              <a:gd name="connsiteY831" fmla="*/ 544345 h 6857997"/>
              <a:gd name="connsiteX832" fmla="*/ 10843594 w 11576549"/>
              <a:gd name="connsiteY832" fmla="*/ 544345 h 6857997"/>
              <a:gd name="connsiteX833" fmla="*/ 10849200 w 11576549"/>
              <a:gd name="connsiteY833" fmla="*/ 538684 h 6857997"/>
              <a:gd name="connsiteX834" fmla="*/ 10849200 w 11576549"/>
              <a:gd name="connsiteY834" fmla="*/ 500699 h 6857997"/>
              <a:gd name="connsiteX835" fmla="*/ 10843594 w 11576549"/>
              <a:gd name="connsiteY835" fmla="*/ 495038 h 6857997"/>
              <a:gd name="connsiteX836" fmla="*/ 10825017 w 11576549"/>
              <a:gd name="connsiteY836" fmla="*/ 495038 h 6857997"/>
              <a:gd name="connsiteX837" fmla="*/ 9528334 w 11576549"/>
              <a:gd name="connsiteY837" fmla="*/ 495038 h 6857997"/>
              <a:gd name="connsiteX838" fmla="*/ 9523096 w 11576549"/>
              <a:gd name="connsiteY838" fmla="*/ 500699 h 6857997"/>
              <a:gd name="connsiteX839" fmla="*/ 9523096 w 11576549"/>
              <a:gd name="connsiteY839" fmla="*/ 538684 h 6857997"/>
              <a:gd name="connsiteX840" fmla="*/ 9528334 w 11576549"/>
              <a:gd name="connsiteY840" fmla="*/ 544345 h 6857997"/>
              <a:gd name="connsiteX841" fmla="*/ 9546870 w 11576549"/>
              <a:gd name="connsiteY841" fmla="*/ 544345 h 6857997"/>
              <a:gd name="connsiteX842" fmla="*/ 9552517 w 11576549"/>
              <a:gd name="connsiteY842" fmla="*/ 538684 h 6857997"/>
              <a:gd name="connsiteX843" fmla="*/ 9552517 w 11576549"/>
              <a:gd name="connsiteY843" fmla="*/ 500699 h 6857997"/>
              <a:gd name="connsiteX844" fmla="*/ 9546870 w 11576549"/>
              <a:gd name="connsiteY844" fmla="*/ 495038 h 6857997"/>
              <a:gd name="connsiteX845" fmla="*/ 9528334 w 11576549"/>
              <a:gd name="connsiteY845" fmla="*/ 495038 h 6857997"/>
              <a:gd name="connsiteX846" fmla="*/ 10892712 w 11576549"/>
              <a:gd name="connsiteY846" fmla="*/ 494765 h 6857997"/>
              <a:gd name="connsiteX847" fmla="*/ 10887065 w 11576549"/>
              <a:gd name="connsiteY847" fmla="*/ 500401 h 6857997"/>
              <a:gd name="connsiteX848" fmla="*/ 10887065 w 11576549"/>
              <a:gd name="connsiteY848" fmla="*/ 771894 h 6857997"/>
              <a:gd name="connsiteX849" fmla="*/ 10892712 w 11576549"/>
              <a:gd name="connsiteY849" fmla="*/ 777529 h 6857997"/>
              <a:gd name="connsiteX850" fmla="*/ 10910880 w 11576549"/>
              <a:gd name="connsiteY850" fmla="*/ 777529 h 6857997"/>
              <a:gd name="connsiteX851" fmla="*/ 10916486 w 11576549"/>
              <a:gd name="connsiteY851" fmla="*/ 771894 h 6857997"/>
              <a:gd name="connsiteX852" fmla="*/ 10916486 w 11576549"/>
              <a:gd name="connsiteY852" fmla="*/ 500401 h 6857997"/>
              <a:gd name="connsiteX853" fmla="*/ 10910880 w 11576549"/>
              <a:gd name="connsiteY853" fmla="*/ 494765 h 6857997"/>
              <a:gd name="connsiteX854" fmla="*/ 10892712 w 11576549"/>
              <a:gd name="connsiteY854" fmla="*/ 494765 h 6857997"/>
              <a:gd name="connsiteX855" fmla="*/ 9853001 w 11576549"/>
              <a:gd name="connsiteY855" fmla="*/ 494765 h 6857997"/>
              <a:gd name="connsiteX856" fmla="*/ 9811935 w 11576549"/>
              <a:gd name="connsiteY856" fmla="*/ 510039 h 6857997"/>
              <a:gd name="connsiteX857" fmla="*/ 9797878 w 11576549"/>
              <a:gd name="connsiteY857" fmla="*/ 553899 h 6857997"/>
              <a:gd name="connsiteX858" fmla="*/ 9797878 w 11576549"/>
              <a:gd name="connsiteY858" fmla="*/ 568764 h 6857997"/>
              <a:gd name="connsiteX859" fmla="*/ 9793833 w 11576549"/>
              <a:gd name="connsiteY859" fmla="*/ 572399 h 6857997"/>
              <a:gd name="connsiteX860" fmla="*/ 9770092 w 11576549"/>
              <a:gd name="connsiteY860" fmla="*/ 572399 h 6857997"/>
              <a:gd name="connsiteX861" fmla="*/ 9764453 w 11576549"/>
              <a:gd name="connsiteY861" fmla="*/ 577626 h 6857997"/>
              <a:gd name="connsiteX862" fmla="*/ 9764453 w 11576549"/>
              <a:gd name="connsiteY862" fmla="*/ 592532 h 6857997"/>
              <a:gd name="connsiteX863" fmla="*/ 9770092 w 11576549"/>
              <a:gd name="connsiteY863" fmla="*/ 598127 h 6857997"/>
              <a:gd name="connsiteX864" fmla="*/ 9793833 w 11576549"/>
              <a:gd name="connsiteY864" fmla="*/ 598127 h 6857997"/>
              <a:gd name="connsiteX865" fmla="*/ 9797878 w 11576549"/>
              <a:gd name="connsiteY865" fmla="*/ 601761 h 6857997"/>
              <a:gd name="connsiteX866" fmla="*/ 9797878 w 11576549"/>
              <a:gd name="connsiteY866" fmla="*/ 771894 h 6857997"/>
              <a:gd name="connsiteX867" fmla="*/ 9803517 w 11576549"/>
              <a:gd name="connsiteY867" fmla="*/ 777529 h 6857997"/>
              <a:gd name="connsiteX868" fmla="*/ 9821211 w 11576549"/>
              <a:gd name="connsiteY868" fmla="*/ 777529 h 6857997"/>
              <a:gd name="connsiteX869" fmla="*/ 9827258 w 11576549"/>
              <a:gd name="connsiteY869" fmla="*/ 771894 h 6857997"/>
              <a:gd name="connsiteX870" fmla="*/ 9827258 w 11576549"/>
              <a:gd name="connsiteY870" fmla="*/ 601761 h 6857997"/>
              <a:gd name="connsiteX871" fmla="*/ 9830854 w 11576549"/>
              <a:gd name="connsiteY871" fmla="*/ 598127 h 6857997"/>
              <a:gd name="connsiteX872" fmla="*/ 9866281 w 11576549"/>
              <a:gd name="connsiteY872" fmla="*/ 598127 h 6857997"/>
              <a:gd name="connsiteX873" fmla="*/ 9872329 w 11576549"/>
              <a:gd name="connsiteY873" fmla="*/ 592532 h 6857997"/>
              <a:gd name="connsiteX874" fmla="*/ 9872329 w 11576549"/>
              <a:gd name="connsiteY874" fmla="*/ 577626 h 6857997"/>
              <a:gd name="connsiteX875" fmla="*/ 9866281 w 11576549"/>
              <a:gd name="connsiteY875" fmla="*/ 572399 h 6857997"/>
              <a:gd name="connsiteX876" fmla="*/ 9830854 w 11576549"/>
              <a:gd name="connsiteY876" fmla="*/ 572399 h 6857997"/>
              <a:gd name="connsiteX877" fmla="*/ 9827258 w 11576549"/>
              <a:gd name="connsiteY877" fmla="*/ 568764 h 6857997"/>
              <a:gd name="connsiteX878" fmla="*/ 9827258 w 11576549"/>
              <a:gd name="connsiteY878" fmla="*/ 555124 h 6857997"/>
              <a:gd name="connsiteX879" fmla="*/ 9833673 w 11576549"/>
              <a:gd name="connsiteY879" fmla="*/ 528743 h 6857997"/>
              <a:gd name="connsiteX880" fmla="*/ 9856638 w 11576549"/>
              <a:gd name="connsiteY880" fmla="*/ 520493 h 6857997"/>
              <a:gd name="connsiteX881" fmla="*/ 9866690 w 11576549"/>
              <a:gd name="connsiteY881" fmla="*/ 520493 h 6857997"/>
              <a:gd name="connsiteX882" fmla="*/ 9872329 w 11576549"/>
              <a:gd name="connsiteY882" fmla="*/ 514899 h 6857997"/>
              <a:gd name="connsiteX883" fmla="*/ 9872329 w 11576549"/>
              <a:gd name="connsiteY883" fmla="*/ 499993 h 6857997"/>
              <a:gd name="connsiteX884" fmla="*/ 9866690 w 11576549"/>
              <a:gd name="connsiteY884" fmla="*/ 494765 h 6857997"/>
              <a:gd name="connsiteX885" fmla="*/ 9853001 w 11576549"/>
              <a:gd name="connsiteY885" fmla="*/ 494765 h 6857997"/>
              <a:gd name="connsiteX886" fmla="*/ 0 w 11576549"/>
              <a:gd name="connsiteY886" fmla="*/ 0 h 6857997"/>
              <a:gd name="connsiteX887" fmla="*/ 11576549 w 11576549"/>
              <a:gd name="connsiteY887" fmla="*/ 0 h 6857997"/>
              <a:gd name="connsiteX888" fmla="*/ 11576549 w 11576549"/>
              <a:gd name="connsiteY888" fmla="*/ 6857997 h 6857997"/>
              <a:gd name="connsiteX889" fmla="*/ 10740256 w 11576549"/>
              <a:gd name="connsiteY889" fmla="*/ 6857997 h 6857997"/>
              <a:gd name="connsiteX890" fmla="*/ 10761062 w 11576549"/>
              <a:gd name="connsiteY890" fmla="*/ 6823699 h 6857997"/>
              <a:gd name="connsiteX891" fmla="*/ 11020773 w 11576549"/>
              <a:gd name="connsiteY891" fmla="*/ 6395584 h 6857997"/>
              <a:gd name="connsiteX892" fmla="*/ 11029459 w 11576549"/>
              <a:gd name="connsiteY892" fmla="*/ 6343544 h 6857997"/>
              <a:gd name="connsiteX893" fmla="*/ 10983220 w 11576549"/>
              <a:gd name="connsiteY893" fmla="*/ 6323214 h 6857997"/>
              <a:gd name="connsiteX894" fmla="*/ 10702593 w 11576549"/>
              <a:gd name="connsiteY894" fmla="*/ 6323214 h 6857997"/>
              <a:gd name="connsiteX895" fmla="*/ 10604239 w 11576549"/>
              <a:gd name="connsiteY895" fmla="*/ 6381136 h 6857997"/>
              <a:gd name="connsiteX896" fmla="*/ 10371659 w 11576549"/>
              <a:gd name="connsiteY896" fmla="*/ 6794350 h 6857997"/>
              <a:gd name="connsiteX897" fmla="*/ 10335834 w 11576549"/>
              <a:gd name="connsiteY897" fmla="*/ 6857997 h 6857997"/>
              <a:gd name="connsiteX898" fmla="*/ 647565 w 11576549"/>
              <a:gd name="connsiteY898" fmla="*/ 6857997 h 6857997"/>
              <a:gd name="connsiteX899" fmla="*/ 831502 w 11576549"/>
              <a:gd name="connsiteY899" fmla="*/ 6739195 h 6857997"/>
              <a:gd name="connsiteX900" fmla="*/ 1523381 w 11576549"/>
              <a:gd name="connsiteY900" fmla="*/ 6170533 h 6857997"/>
              <a:gd name="connsiteX901" fmla="*/ 3233054 w 11576549"/>
              <a:gd name="connsiteY901" fmla="*/ 1355745 h 6857997"/>
              <a:gd name="connsiteX902" fmla="*/ 3233054 w 11576549"/>
              <a:gd name="connsiteY902" fmla="*/ 14060 h 6857997"/>
              <a:gd name="connsiteX903" fmla="*/ 3233054 w 11576549"/>
              <a:gd name="connsiteY903" fmla="*/ 4 h 6857997"/>
              <a:gd name="connsiteX904" fmla="*/ 0 w 11576549"/>
              <a:gd name="connsiteY904" fmla="*/ 4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</a:cxnLst>
            <a:rect l="l" t="t" r="r" b="b"/>
            <a:pathLst>
              <a:path w="11576549" h="6857997">
                <a:moveTo>
                  <a:pt x="10923779" y="862794"/>
                </a:moveTo>
                <a:cubicBezTo>
                  <a:pt x="10928062" y="862794"/>
                  <a:pt x="10931691" y="863990"/>
                  <a:pt x="10934587" y="866300"/>
                </a:cubicBezTo>
                <a:cubicBezTo>
                  <a:pt x="10937482" y="868651"/>
                  <a:pt x="10939399" y="871744"/>
                  <a:pt x="10940419" y="875621"/>
                </a:cubicBezTo>
                <a:cubicBezTo>
                  <a:pt x="10940786" y="877188"/>
                  <a:pt x="10941071" y="879621"/>
                  <a:pt x="10941275" y="882921"/>
                </a:cubicBezTo>
                <a:cubicBezTo>
                  <a:pt x="10941275" y="883292"/>
                  <a:pt x="10941071" y="883498"/>
                  <a:pt x="10940704" y="883498"/>
                </a:cubicBezTo>
                <a:cubicBezTo>
                  <a:pt x="10940704" y="883498"/>
                  <a:pt x="10940704" y="883498"/>
                  <a:pt x="10906977" y="883498"/>
                </a:cubicBezTo>
                <a:cubicBezTo>
                  <a:pt x="10906569" y="883498"/>
                  <a:pt x="10906406" y="883292"/>
                  <a:pt x="10906406" y="882921"/>
                </a:cubicBezTo>
                <a:cubicBezTo>
                  <a:pt x="10906569" y="879539"/>
                  <a:pt x="10907018" y="876734"/>
                  <a:pt x="10907711" y="874548"/>
                </a:cubicBezTo>
                <a:cubicBezTo>
                  <a:pt x="10908690" y="871002"/>
                  <a:pt x="10910566" y="868156"/>
                  <a:pt x="10913299" y="866011"/>
                </a:cubicBezTo>
                <a:cubicBezTo>
                  <a:pt x="10916071" y="863867"/>
                  <a:pt x="10919538" y="862794"/>
                  <a:pt x="10923779" y="862794"/>
                </a:cubicBezTo>
                <a:close/>
                <a:moveTo>
                  <a:pt x="10804709" y="862794"/>
                </a:moveTo>
                <a:cubicBezTo>
                  <a:pt x="10808844" y="862794"/>
                  <a:pt x="10812283" y="863984"/>
                  <a:pt x="10815027" y="866281"/>
                </a:cubicBezTo>
                <a:cubicBezTo>
                  <a:pt x="10817811" y="868618"/>
                  <a:pt x="10819571" y="871612"/>
                  <a:pt x="10820349" y="875262"/>
                </a:cubicBezTo>
                <a:cubicBezTo>
                  <a:pt x="10820759" y="876820"/>
                  <a:pt x="10821045" y="878461"/>
                  <a:pt x="10821168" y="880183"/>
                </a:cubicBezTo>
                <a:cubicBezTo>
                  <a:pt x="10821332" y="881947"/>
                  <a:pt x="10821414" y="884858"/>
                  <a:pt x="10821414" y="889000"/>
                </a:cubicBezTo>
                <a:cubicBezTo>
                  <a:pt x="10821414" y="893142"/>
                  <a:pt x="10821332" y="896095"/>
                  <a:pt x="10821168" y="897900"/>
                </a:cubicBezTo>
                <a:cubicBezTo>
                  <a:pt x="10821045" y="899663"/>
                  <a:pt x="10820800" y="901345"/>
                  <a:pt x="10820513" y="902944"/>
                </a:cubicBezTo>
                <a:cubicBezTo>
                  <a:pt x="10819735" y="906594"/>
                  <a:pt x="10817975" y="909547"/>
                  <a:pt x="10815272" y="911884"/>
                </a:cubicBezTo>
                <a:cubicBezTo>
                  <a:pt x="10812570" y="914222"/>
                  <a:pt x="10809049" y="915370"/>
                  <a:pt x="10804709" y="915370"/>
                </a:cubicBezTo>
                <a:cubicBezTo>
                  <a:pt x="10800574" y="915370"/>
                  <a:pt x="10797053" y="914222"/>
                  <a:pt x="10794146" y="911884"/>
                </a:cubicBezTo>
                <a:cubicBezTo>
                  <a:pt x="10791239" y="909547"/>
                  <a:pt x="10789274" y="906594"/>
                  <a:pt x="10788291" y="902944"/>
                </a:cubicBezTo>
                <a:cubicBezTo>
                  <a:pt x="10787309" y="900442"/>
                  <a:pt x="10786817" y="895808"/>
                  <a:pt x="10786817" y="889000"/>
                </a:cubicBezTo>
                <a:cubicBezTo>
                  <a:pt x="10786817" y="882808"/>
                  <a:pt x="10787350" y="878215"/>
                  <a:pt x="10788455" y="875262"/>
                </a:cubicBezTo>
                <a:cubicBezTo>
                  <a:pt x="10789642" y="871612"/>
                  <a:pt x="10791608" y="868618"/>
                  <a:pt x="10794351" y="866281"/>
                </a:cubicBezTo>
                <a:cubicBezTo>
                  <a:pt x="10797094" y="863984"/>
                  <a:pt x="10800574" y="862794"/>
                  <a:pt x="10804709" y="862794"/>
                </a:cubicBezTo>
                <a:close/>
                <a:moveTo>
                  <a:pt x="10671757" y="862794"/>
                </a:moveTo>
                <a:cubicBezTo>
                  <a:pt x="10676080" y="862794"/>
                  <a:pt x="10679710" y="863990"/>
                  <a:pt x="10682605" y="866300"/>
                </a:cubicBezTo>
                <a:cubicBezTo>
                  <a:pt x="10685501" y="868651"/>
                  <a:pt x="10687417" y="871744"/>
                  <a:pt x="10688396" y="875621"/>
                </a:cubicBezTo>
                <a:cubicBezTo>
                  <a:pt x="10688804" y="877188"/>
                  <a:pt x="10689090" y="879621"/>
                  <a:pt x="10689294" y="882921"/>
                </a:cubicBezTo>
                <a:cubicBezTo>
                  <a:pt x="10689294" y="883292"/>
                  <a:pt x="10689090" y="883498"/>
                  <a:pt x="10688723" y="883498"/>
                </a:cubicBezTo>
                <a:cubicBezTo>
                  <a:pt x="10688723" y="883498"/>
                  <a:pt x="10688723" y="883498"/>
                  <a:pt x="10654996" y="883498"/>
                </a:cubicBezTo>
                <a:cubicBezTo>
                  <a:pt x="10654588" y="883498"/>
                  <a:pt x="10654425" y="883292"/>
                  <a:pt x="10654425" y="882921"/>
                </a:cubicBezTo>
                <a:cubicBezTo>
                  <a:pt x="10654588" y="879539"/>
                  <a:pt x="10655037" y="876734"/>
                  <a:pt x="10655730" y="874548"/>
                </a:cubicBezTo>
                <a:cubicBezTo>
                  <a:pt x="10656709" y="871002"/>
                  <a:pt x="10658585" y="868156"/>
                  <a:pt x="10661317" y="866011"/>
                </a:cubicBezTo>
                <a:cubicBezTo>
                  <a:pt x="10664090" y="863867"/>
                  <a:pt x="10667557" y="862794"/>
                  <a:pt x="10671757" y="862794"/>
                </a:cubicBezTo>
                <a:close/>
                <a:moveTo>
                  <a:pt x="10263159" y="862794"/>
                </a:moveTo>
                <a:cubicBezTo>
                  <a:pt x="10267477" y="862794"/>
                  <a:pt x="10271062" y="863990"/>
                  <a:pt x="10273954" y="866300"/>
                </a:cubicBezTo>
                <a:cubicBezTo>
                  <a:pt x="10276846" y="868651"/>
                  <a:pt x="10278801" y="871744"/>
                  <a:pt x="10279779" y="875621"/>
                </a:cubicBezTo>
                <a:cubicBezTo>
                  <a:pt x="10280186" y="877188"/>
                  <a:pt x="10280471" y="879621"/>
                  <a:pt x="10280675" y="882921"/>
                </a:cubicBezTo>
                <a:cubicBezTo>
                  <a:pt x="10280675" y="883292"/>
                  <a:pt x="10280471" y="883498"/>
                  <a:pt x="10280064" y="883498"/>
                </a:cubicBezTo>
                <a:cubicBezTo>
                  <a:pt x="10280064" y="883498"/>
                  <a:pt x="10280064" y="883498"/>
                  <a:pt x="10246417" y="883498"/>
                </a:cubicBezTo>
                <a:cubicBezTo>
                  <a:pt x="10246010" y="883498"/>
                  <a:pt x="10245806" y="883292"/>
                  <a:pt x="10245806" y="882921"/>
                </a:cubicBezTo>
                <a:cubicBezTo>
                  <a:pt x="10246010" y="879539"/>
                  <a:pt x="10246458" y="876734"/>
                  <a:pt x="10247151" y="874548"/>
                </a:cubicBezTo>
                <a:cubicBezTo>
                  <a:pt x="10248128" y="871002"/>
                  <a:pt x="10249961" y="868156"/>
                  <a:pt x="10252731" y="866011"/>
                </a:cubicBezTo>
                <a:cubicBezTo>
                  <a:pt x="10255461" y="863867"/>
                  <a:pt x="10258964" y="862794"/>
                  <a:pt x="10263159" y="862794"/>
                </a:cubicBezTo>
                <a:close/>
                <a:moveTo>
                  <a:pt x="9981096" y="862794"/>
                </a:moveTo>
                <a:cubicBezTo>
                  <a:pt x="9985453" y="862794"/>
                  <a:pt x="9989070" y="863990"/>
                  <a:pt x="9991988" y="866300"/>
                </a:cubicBezTo>
                <a:cubicBezTo>
                  <a:pt x="9994906" y="868651"/>
                  <a:pt x="9996879" y="871744"/>
                  <a:pt x="9997865" y="875621"/>
                </a:cubicBezTo>
                <a:cubicBezTo>
                  <a:pt x="9998235" y="877188"/>
                  <a:pt x="9998564" y="879621"/>
                  <a:pt x="9998728" y="882921"/>
                </a:cubicBezTo>
                <a:cubicBezTo>
                  <a:pt x="9998728" y="883292"/>
                  <a:pt x="9998564" y="883498"/>
                  <a:pt x="9998153" y="883498"/>
                </a:cubicBezTo>
                <a:cubicBezTo>
                  <a:pt x="9998153" y="883498"/>
                  <a:pt x="9998153" y="883498"/>
                  <a:pt x="9964163" y="883498"/>
                </a:cubicBezTo>
                <a:cubicBezTo>
                  <a:pt x="9963793" y="883498"/>
                  <a:pt x="9963587" y="883292"/>
                  <a:pt x="9963587" y="882921"/>
                </a:cubicBezTo>
                <a:cubicBezTo>
                  <a:pt x="9963793" y="879539"/>
                  <a:pt x="9964245" y="876734"/>
                  <a:pt x="9964902" y="874548"/>
                </a:cubicBezTo>
                <a:cubicBezTo>
                  <a:pt x="9965930" y="871002"/>
                  <a:pt x="9967779" y="868156"/>
                  <a:pt x="9970574" y="866011"/>
                </a:cubicBezTo>
                <a:cubicBezTo>
                  <a:pt x="9973328" y="863867"/>
                  <a:pt x="9976822" y="862794"/>
                  <a:pt x="9981096" y="862794"/>
                </a:cubicBezTo>
                <a:close/>
                <a:moveTo>
                  <a:pt x="9766279" y="862794"/>
                </a:moveTo>
                <a:cubicBezTo>
                  <a:pt x="9770597" y="862794"/>
                  <a:pt x="9774181" y="863990"/>
                  <a:pt x="9777074" y="866300"/>
                </a:cubicBezTo>
                <a:cubicBezTo>
                  <a:pt x="9779966" y="868651"/>
                  <a:pt x="9781921" y="871744"/>
                  <a:pt x="9782898" y="875621"/>
                </a:cubicBezTo>
                <a:cubicBezTo>
                  <a:pt x="9783265" y="877188"/>
                  <a:pt x="9783591" y="879621"/>
                  <a:pt x="9783795" y="882921"/>
                </a:cubicBezTo>
                <a:cubicBezTo>
                  <a:pt x="9783795" y="883292"/>
                  <a:pt x="9783591" y="883498"/>
                  <a:pt x="9783184" y="883498"/>
                </a:cubicBezTo>
                <a:cubicBezTo>
                  <a:pt x="9783184" y="883498"/>
                  <a:pt x="9783184" y="883498"/>
                  <a:pt x="9749496" y="883498"/>
                </a:cubicBezTo>
                <a:cubicBezTo>
                  <a:pt x="9749130" y="883498"/>
                  <a:pt x="9748926" y="883292"/>
                  <a:pt x="9748926" y="882921"/>
                </a:cubicBezTo>
                <a:cubicBezTo>
                  <a:pt x="9749130" y="879539"/>
                  <a:pt x="9749578" y="876734"/>
                  <a:pt x="9750229" y="874548"/>
                </a:cubicBezTo>
                <a:cubicBezTo>
                  <a:pt x="9751248" y="871002"/>
                  <a:pt x="9753081" y="868156"/>
                  <a:pt x="9755851" y="866011"/>
                </a:cubicBezTo>
                <a:cubicBezTo>
                  <a:pt x="9758580" y="863867"/>
                  <a:pt x="9762083" y="862794"/>
                  <a:pt x="9766279" y="862794"/>
                </a:cubicBezTo>
                <a:close/>
                <a:moveTo>
                  <a:pt x="10858569" y="851898"/>
                </a:moveTo>
                <a:cubicBezTo>
                  <a:pt x="10857590" y="851898"/>
                  <a:pt x="10857100" y="852388"/>
                  <a:pt x="10857100" y="853369"/>
                </a:cubicBezTo>
                <a:cubicBezTo>
                  <a:pt x="10857100" y="853369"/>
                  <a:pt x="10857100" y="853369"/>
                  <a:pt x="10857100" y="925340"/>
                </a:cubicBezTo>
                <a:cubicBezTo>
                  <a:pt x="10857100" y="926321"/>
                  <a:pt x="10857590" y="926812"/>
                  <a:pt x="10858569" y="926812"/>
                </a:cubicBezTo>
                <a:cubicBezTo>
                  <a:pt x="10858569" y="926812"/>
                  <a:pt x="10858569" y="926812"/>
                  <a:pt x="10869755" y="926812"/>
                </a:cubicBezTo>
                <a:cubicBezTo>
                  <a:pt x="10870734" y="926812"/>
                  <a:pt x="10871265" y="926321"/>
                  <a:pt x="10871265" y="925340"/>
                </a:cubicBezTo>
                <a:cubicBezTo>
                  <a:pt x="10871265" y="925340"/>
                  <a:pt x="10871265" y="925340"/>
                  <a:pt x="10871265" y="853369"/>
                </a:cubicBezTo>
                <a:cubicBezTo>
                  <a:pt x="10871265" y="852388"/>
                  <a:pt x="10870734" y="851898"/>
                  <a:pt x="10869755" y="851898"/>
                </a:cubicBezTo>
                <a:cubicBezTo>
                  <a:pt x="10869755" y="851898"/>
                  <a:pt x="10869755" y="851898"/>
                  <a:pt x="10858569" y="851898"/>
                </a:cubicBezTo>
                <a:close/>
                <a:moveTo>
                  <a:pt x="10486060" y="851898"/>
                </a:moveTo>
                <a:cubicBezTo>
                  <a:pt x="10485161" y="851898"/>
                  <a:pt x="10484712" y="852225"/>
                  <a:pt x="10484712" y="852919"/>
                </a:cubicBezTo>
                <a:cubicBezTo>
                  <a:pt x="10484712" y="852919"/>
                  <a:pt x="10484712" y="852919"/>
                  <a:pt x="10484875" y="853491"/>
                </a:cubicBezTo>
                <a:cubicBezTo>
                  <a:pt x="10484875" y="853491"/>
                  <a:pt x="10484875" y="853491"/>
                  <a:pt x="10509469" y="926463"/>
                </a:cubicBezTo>
                <a:cubicBezTo>
                  <a:pt x="10509591" y="926953"/>
                  <a:pt x="10509591" y="927239"/>
                  <a:pt x="10509469" y="927362"/>
                </a:cubicBezTo>
                <a:cubicBezTo>
                  <a:pt x="10508121" y="932180"/>
                  <a:pt x="10506691" y="935774"/>
                  <a:pt x="10505220" y="938183"/>
                </a:cubicBezTo>
                <a:cubicBezTo>
                  <a:pt x="10503749" y="940592"/>
                  <a:pt x="10501870" y="942226"/>
                  <a:pt x="10499623" y="943124"/>
                </a:cubicBezTo>
                <a:cubicBezTo>
                  <a:pt x="10497335" y="944022"/>
                  <a:pt x="10494231" y="944513"/>
                  <a:pt x="10490309" y="944594"/>
                </a:cubicBezTo>
                <a:cubicBezTo>
                  <a:pt x="10490309" y="944594"/>
                  <a:pt x="10490309" y="944594"/>
                  <a:pt x="10490023" y="944594"/>
                </a:cubicBezTo>
                <a:cubicBezTo>
                  <a:pt x="10489042" y="944594"/>
                  <a:pt x="10488552" y="945084"/>
                  <a:pt x="10488552" y="946064"/>
                </a:cubicBezTo>
                <a:cubicBezTo>
                  <a:pt x="10488552" y="946064"/>
                  <a:pt x="10488552" y="946064"/>
                  <a:pt x="10488552" y="954762"/>
                </a:cubicBezTo>
                <a:cubicBezTo>
                  <a:pt x="10488552" y="954762"/>
                  <a:pt x="10488552" y="954762"/>
                  <a:pt x="10488552" y="956232"/>
                </a:cubicBezTo>
                <a:lnTo>
                  <a:pt x="10489573" y="956232"/>
                </a:lnTo>
                <a:cubicBezTo>
                  <a:pt x="10489573" y="956232"/>
                  <a:pt x="10489573" y="956232"/>
                  <a:pt x="10490595" y="956232"/>
                </a:cubicBezTo>
                <a:cubicBezTo>
                  <a:pt x="10497213" y="956232"/>
                  <a:pt x="10502319" y="955538"/>
                  <a:pt x="10505955" y="954191"/>
                </a:cubicBezTo>
                <a:cubicBezTo>
                  <a:pt x="10509591" y="952802"/>
                  <a:pt x="10512533" y="950474"/>
                  <a:pt x="10514780" y="947167"/>
                </a:cubicBezTo>
                <a:cubicBezTo>
                  <a:pt x="10517067" y="943900"/>
                  <a:pt x="10519314" y="938836"/>
                  <a:pt x="10521561" y="932058"/>
                </a:cubicBezTo>
                <a:cubicBezTo>
                  <a:pt x="10521561" y="932058"/>
                  <a:pt x="10521561" y="932058"/>
                  <a:pt x="10548443" y="853491"/>
                </a:cubicBezTo>
                <a:cubicBezTo>
                  <a:pt x="10548729" y="852429"/>
                  <a:pt x="10548320" y="851898"/>
                  <a:pt x="10547258" y="851898"/>
                </a:cubicBezTo>
                <a:cubicBezTo>
                  <a:pt x="10547258" y="851898"/>
                  <a:pt x="10547258" y="851898"/>
                  <a:pt x="10535574" y="851898"/>
                </a:cubicBezTo>
                <a:cubicBezTo>
                  <a:pt x="10534716" y="851898"/>
                  <a:pt x="10534103" y="852265"/>
                  <a:pt x="10533817" y="853041"/>
                </a:cubicBezTo>
                <a:cubicBezTo>
                  <a:pt x="10533817" y="853041"/>
                  <a:pt x="10533817" y="853041"/>
                  <a:pt x="10517313" y="908618"/>
                </a:cubicBezTo>
                <a:cubicBezTo>
                  <a:pt x="10517190" y="908822"/>
                  <a:pt x="10517067" y="908945"/>
                  <a:pt x="10516863" y="908945"/>
                </a:cubicBezTo>
                <a:cubicBezTo>
                  <a:pt x="10516659" y="908945"/>
                  <a:pt x="10516496" y="908822"/>
                  <a:pt x="10516414" y="908618"/>
                </a:cubicBezTo>
                <a:cubicBezTo>
                  <a:pt x="10516414" y="908618"/>
                  <a:pt x="10516414" y="908618"/>
                  <a:pt x="10499746" y="853041"/>
                </a:cubicBezTo>
                <a:cubicBezTo>
                  <a:pt x="10499460" y="852265"/>
                  <a:pt x="10498888" y="851898"/>
                  <a:pt x="10497989" y="851898"/>
                </a:cubicBezTo>
                <a:cubicBezTo>
                  <a:pt x="10497989" y="851898"/>
                  <a:pt x="10497989" y="851898"/>
                  <a:pt x="10486060" y="851898"/>
                </a:cubicBezTo>
                <a:close/>
                <a:moveTo>
                  <a:pt x="9523244" y="851898"/>
                </a:moveTo>
                <a:cubicBezTo>
                  <a:pt x="9522224" y="851898"/>
                  <a:pt x="9521734" y="852388"/>
                  <a:pt x="9521734" y="853368"/>
                </a:cubicBezTo>
                <a:cubicBezTo>
                  <a:pt x="9521734" y="853368"/>
                  <a:pt x="9521734" y="853368"/>
                  <a:pt x="9521734" y="903615"/>
                </a:cubicBezTo>
                <a:cubicBezTo>
                  <a:pt x="9521734" y="908798"/>
                  <a:pt x="9522958" y="913207"/>
                  <a:pt x="9525448" y="916840"/>
                </a:cubicBezTo>
                <a:cubicBezTo>
                  <a:pt x="9527896" y="920513"/>
                  <a:pt x="9531160" y="923248"/>
                  <a:pt x="9535241" y="925126"/>
                </a:cubicBezTo>
                <a:cubicBezTo>
                  <a:pt x="9539321" y="926963"/>
                  <a:pt x="9543728" y="927901"/>
                  <a:pt x="9548544" y="927901"/>
                </a:cubicBezTo>
                <a:cubicBezTo>
                  <a:pt x="9556705" y="927901"/>
                  <a:pt x="9562744" y="925207"/>
                  <a:pt x="9566661" y="919819"/>
                </a:cubicBezTo>
                <a:cubicBezTo>
                  <a:pt x="9566866" y="919615"/>
                  <a:pt x="9567029" y="919534"/>
                  <a:pt x="9567192" y="919574"/>
                </a:cubicBezTo>
                <a:cubicBezTo>
                  <a:pt x="9567355" y="919615"/>
                  <a:pt x="9567396" y="919738"/>
                  <a:pt x="9567396" y="919942"/>
                </a:cubicBezTo>
                <a:cubicBezTo>
                  <a:pt x="9567396" y="919942"/>
                  <a:pt x="9567396" y="919942"/>
                  <a:pt x="9567396" y="925411"/>
                </a:cubicBezTo>
                <a:cubicBezTo>
                  <a:pt x="9567396" y="926391"/>
                  <a:pt x="9567886" y="926881"/>
                  <a:pt x="9568906" y="926881"/>
                </a:cubicBezTo>
                <a:cubicBezTo>
                  <a:pt x="9568906" y="926881"/>
                  <a:pt x="9568906" y="926881"/>
                  <a:pt x="9579924" y="926881"/>
                </a:cubicBezTo>
                <a:cubicBezTo>
                  <a:pt x="9580903" y="926881"/>
                  <a:pt x="9581392" y="926391"/>
                  <a:pt x="9581392" y="925411"/>
                </a:cubicBezTo>
                <a:cubicBezTo>
                  <a:pt x="9581392" y="925411"/>
                  <a:pt x="9581392" y="925411"/>
                  <a:pt x="9581392" y="853368"/>
                </a:cubicBezTo>
                <a:cubicBezTo>
                  <a:pt x="9581392" y="852388"/>
                  <a:pt x="9580903" y="851898"/>
                  <a:pt x="9579924" y="851898"/>
                </a:cubicBezTo>
                <a:cubicBezTo>
                  <a:pt x="9579924" y="851898"/>
                  <a:pt x="9579924" y="851898"/>
                  <a:pt x="9568906" y="851898"/>
                </a:cubicBezTo>
                <a:cubicBezTo>
                  <a:pt x="9567886" y="851898"/>
                  <a:pt x="9567396" y="852388"/>
                  <a:pt x="9567396" y="853368"/>
                </a:cubicBezTo>
                <a:cubicBezTo>
                  <a:pt x="9567396" y="853368"/>
                  <a:pt x="9567396" y="853368"/>
                  <a:pt x="9567396" y="899165"/>
                </a:cubicBezTo>
                <a:cubicBezTo>
                  <a:pt x="9567396" y="904186"/>
                  <a:pt x="9565927" y="908186"/>
                  <a:pt x="9562989" y="911166"/>
                </a:cubicBezTo>
                <a:cubicBezTo>
                  <a:pt x="9560051" y="914186"/>
                  <a:pt x="9556133" y="915697"/>
                  <a:pt x="9551196" y="915697"/>
                </a:cubicBezTo>
                <a:cubicBezTo>
                  <a:pt x="9546300" y="915697"/>
                  <a:pt x="9542504" y="914186"/>
                  <a:pt x="9539811" y="911248"/>
                </a:cubicBezTo>
                <a:cubicBezTo>
                  <a:pt x="9537077" y="908309"/>
                  <a:pt x="9535730" y="904268"/>
                  <a:pt x="9535730" y="899165"/>
                </a:cubicBezTo>
                <a:cubicBezTo>
                  <a:pt x="9535730" y="899165"/>
                  <a:pt x="9535730" y="899165"/>
                  <a:pt x="9535730" y="853368"/>
                </a:cubicBezTo>
                <a:cubicBezTo>
                  <a:pt x="9535730" y="852388"/>
                  <a:pt x="9535241" y="851898"/>
                  <a:pt x="9534262" y="851898"/>
                </a:cubicBezTo>
                <a:cubicBezTo>
                  <a:pt x="9534262" y="851898"/>
                  <a:pt x="9534262" y="851898"/>
                  <a:pt x="9523244" y="851898"/>
                </a:cubicBezTo>
                <a:close/>
                <a:moveTo>
                  <a:pt x="10754761" y="851081"/>
                </a:moveTo>
                <a:cubicBezTo>
                  <a:pt x="10747106" y="851081"/>
                  <a:pt x="10741080" y="854549"/>
                  <a:pt x="10736682" y="861404"/>
                </a:cubicBezTo>
                <a:cubicBezTo>
                  <a:pt x="10736560" y="861608"/>
                  <a:pt x="10736438" y="861690"/>
                  <a:pt x="10736316" y="861649"/>
                </a:cubicBezTo>
                <a:cubicBezTo>
                  <a:pt x="10736153" y="861567"/>
                  <a:pt x="10736071" y="861404"/>
                  <a:pt x="10736071" y="861118"/>
                </a:cubicBezTo>
                <a:cubicBezTo>
                  <a:pt x="10736071" y="861118"/>
                  <a:pt x="10736071" y="861118"/>
                  <a:pt x="10736071" y="853325"/>
                </a:cubicBezTo>
                <a:cubicBezTo>
                  <a:pt x="10736071" y="852346"/>
                  <a:pt x="10735583" y="851856"/>
                  <a:pt x="10734605" y="851856"/>
                </a:cubicBezTo>
                <a:cubicBezTo>
                  <a:pt x="10734605" y="851856"/>
                  <a:pt x="10734605" y="851856"/>
                  <a:pt x="10723449" y="851856"/>
                </a:cubicBezTo>
                <a:cubicBezTo>
                  <a:pt x="10722472" y="851856"/>
                  <a:pt x="10721983" y="852346"/>
                  <a:pt x="10721983" y="853325"/>
                </a:cubicBezTo>
                <a:cubicBezTo>
                  <a:pt x="10721983" y="853325"/>
                  <a:pt x="10721983" y="853325"/>
                  <a:pt x="10721983" y="925343"/>
                </a:cubicBezTo>
                <a:cubicBezTo>
                  <a:pt x="10721983" y="926322"/>
                  <a:pt x="10722472" y="926811"/>
                  <a:pt x="10723449" y="926811"/>
                </a:cubicBezTo>
                <a:cubicBezTo>
                  <a:pt x="10723449" y="926811"/>
                  <a:pt x="10723449" y="926811"/>
                  <a:pt x="10734605" y="926811"/>
                </a:cubicBezTo>
                <a:cubicBezTo>
                  <a:pt x="10735583" y="926811"/>
                  <a:pt x="10736071" y="926322"/>
                  <a:pt x="10736071" y="925343"/>
                </a:cubicBezTo>
                <a:cubicBezTo>
                  <a:pt x="10736071" y="925343"/>
                  <a:pt x="10736071" y="925343"/>
                  <a:pt x="10736071" y="882336"/>
                </a:cubicBezTo>
                <a:cubicBezTo>
                  <a:pt x="10736071" y="877521"/>
                  <a:pt x="10737578" y="873604"/>
                  <a:pt x="10740550" y="870625"/>
                </a:cubicBezTo>
                <a:cubicBezTo>
                  <a:pt x="10743563" y="867606"/>
                  <a:pt x="10747350" y="866015"/>
                  <a:pt x="10751951" y="865852"/>
                </a:cubicBezTo>
                <a:cubicBezTo>
                  <a:pt x="10751951" y="865852"/>
                  <a:pt x="10751951" y="865852"/>
                  <a:pt x="10754028" y="865688"/>
                </a:cubicBezTo>
                <a:cubicBezTo>
                  <a:pt x="10756267" y="865688"/>
                  <a:pt x="10758222" y="866015"/>
                  <a:pt x="10759891" y="866708"/>
                </a:cubicBezTo>
                <a:cubicBezTo>
                  <a:pt x="10760990" y="866994"/>
                  <a:pt x="10761560" y="866708"/>
                  <a:pt x="10761642" y="865852"/>
                </a:cubicBezTo>
                <a:cubicBezTo>
                  <a:pt x="10761642" y="865852"/>
                  <a:pt x="10761642" y="865852"/>
                  <a:pt x="10764003" y="854794"/>
                </a:cubicBezTo>
                <a:cubicBezTo>
                  <a:pt x="10764207" y="853896"/>
                  <a:pt x="10763963" y="853325"/>
                  <a:pt x="10763271" y="852998"/>
                </a:cubicBezTo>
                <a:cubicBezTo>
                  <a:pt x="10760746" y="851734"/>
                  <a:pt x="10757896" y="851081"/>
                  <a:pt x="10754761" y="851081"/>
                </a:cubicBezTo>
                <a:close/>
                <a:moveTo>
                  <a:pt x="10449591" y="851081"/>
                </a:moveTo>
                <a:cubicBezTo>
                  <a:pt x="10441049" y="851081"/>
                  <a:pt x="10434183" y="853044"/>
                  <a:pt x="10429033" y="856930"/>
                </a:cubicBezTo>
                <a:cubicBezTo>
                  <a:pt x="10423842" y="860816"/>
                  <a:pt x="10421267" y="866052"/>
                  <a:pt x="10421267" y="872679"/>
                </a:cubicBezTo>
                <a:cubicBezTo>
                  <a:pt x="10421267" y="877383"/>
                  <a:pt x="10422575" y="881228"/>
                  <a:pt x="10425191" y="884255"/>
                </a:cubicBezTo>
                <a:cubicBezTo>
                  <a:pt x="10427807" y="887241"/>
                  <a:pt x="10430994" y="889573"/>
                  <a:pt x="10434755" y="891209"/>
                </a:cubicBezTo>
                <a:cubicBezTo>
                  <a:pt x="10438556" y="892804"/>
                  <a:pt x="10443256" y="894400"/>
                  <a:pt x="10448855" y="895995"/>
                </a:cubicBezTo>
                <a:cubicBezTo>
                  <a:pt x="10454577" y="897549"/>
                  <a:pt x="10458705" y="899063"/>
                  <a:pt x="10461280" y="900495"/>
                </a:cubicBezTo>
                <a:cubicBezTo>
                  <a:pt x="10463814" y="901926"/>
                  <a:pt x="10465081" y="904053"/>
                  <a:pt x="10465081" y="906917"/>
                </a:cubicBezTo>
                <a:cubicBezTo>
                  <a:pt x="10465081" y="909862"/>
                  <a:pt x="10463732" y="912316"/>
                  <a:pt x="10460953" y="914239"/>
                </a:cubicBezTo>
                <a:cubicBezTo>
                  <a:pt x="10458215" y="916161"/>
                  <a:pt x="10454618" y="917102"/>
                  <a:pt x="10450204" y="917102"/>
                </a:cubicBezTo>
                <a:cubicBezTo>
                  <a:pt x="10445586" y="917102"/>
                  <a:pt x="10441744" y="916079"/>
                  <a:pt x="10438760" y="913993"/>
                </a:cubicBezTo>
                <a:cubicBezTo>
                  <a:pt x="10435777" y="911948"/>
                  <a:pt x="10434264" y="909535"/>
                  <a:pt x="10434264" y="906753"/>
                </a:cubicBezTo>
                <a:cubicBezTo>
                  <a:pt x="10434264" y="906753"/>
                  <a:pt x="10434264" y="906753"/>
                  <a:pt x="10434264" y="906017"/>
                </a:cubicBezTo>
                <a:cubicBezTo>
                  <a:pt x="10434264" y="905035"/>
                  <a:pt x="10433774" y="904544"/>
                  <a:pt x="10432793" y="904544"/>
                </a:cubicBezTo>
                <a:cubicBezTo>
                  <a:pt x="10432793" y="904544"/>
                  <a:pt x="10432793" y="904544"/>
                  <a:pt x="10422166" y="904544"/>
                </a:cubicBezTo>
                <a:cubicBezTo>
                  <a:pt x="10421185" y="904544"/>
                  <a:pt x="10420695" y="905035"/>
                  <a:pt x="10420695" y="906017"/>
                </a:cubicBezTo>
                <a:cubicBezTo>
                  <a:pt x="10420695" y="906017"/>
                  <a:pt x="10420695" y="906017"/>
                  <a:pt x="10420695" y="907653"/>
                </a:cubicBezTo>
                <a:cubicBezTo>
                  <a:pt x="10420695" y="911375"/>
                  <a:pt x="10421921" y="914811"/>
                  <a:pt x="10424373" y="917920"/>
                </a:cubicBezTo>
                <a:cubicBezTo>
                  <a:pt x="10426826" y="921029"/>
                  <a:pt x="10430300" y="923443"/>
                  <a:pt x="10434755" y="925242"/>
                </a:cubicBezTo>
                <a:cubicBezTo>
                  <a:pt x="10439251" y="927001"/>
                  <a:pt x="10444441" y="927901"/>
                  <a:pt x="10450327" y="927901"/>
                </a:cubicBezTo>
                <a:cubicBezTo>
                  <a:pt x="10459114" y="927901"/>
                  <a:pt x="10466103" y="925897"/>
                  <a:pt x="10471375" y="921970"/>
                </a:cubicBezTo>
                <a:cubicBezTo>
                  <a:pt x="10476607" y="918043"/>
                  <a:pt x="10479264" y="912725"/>
                  <a:pt x="10479264" y="906017"/>
                </a:cubicBezTo>
                <a:cubicBezTo>
                  <a:pt x="10479264" y="901190"/>
                  <a:pt x="10477915" y="897304"/>
                  <a:pt x="10475258" y="894277"/>
                </a:cubicBezTo>
                <a:cubicBezTo>
                  <a:pt x="10472601" y="891291"/>
                  <a:pt x="10469414" y="889041"/>
                  <a:pt x="10465613" y="887487"/>
                </a:cubicBezTo>
                <a:cubicBezTo>
                  <a:pt x="10461812" y="885973"/>
                  <a:pt x="10457071" y="884419"/>
                  <a:pt x="10451389" y="882864"/>
                </a:cubicBezTo>
                <a:cubicBezTo>
                  <a:pt x="10445586" y="881187"/>
                  <a:pt x="10441376" y="879592"/>
                  <a:pt x="10438760" y="878119"/>
                </a:cubicBezTo>
                <a:cubicBezTo>
                  <a:pt x="10436144" y="876647"/>
                  <a:pt x="10434836" y="874479"/>
                  <a:pt x="10434836" y="871615"/>
                </a:cubicBezTo>
                <a:cubicBezTo>
                  <a:pt x="10434836" y="868752"/>
                  <a:pt x="10436185" y="866502"/>
                  <a:pt x="10438883" y="864825"/>
                </a:cubicBezTo>
                <a:cubicBezTo>
                  <a:pt x="10441621" y="863148"/>
                  <a:pt x="10445136" y="862330"/>
                  <a:pt x="10449468" y="862330"/>
                </a:cubicBezTo>
                <a:cubicBezTo>
                  <a:pt x="10454291" y="862330"/>
                  <a:pt x="10458092" y="863271"/>
                  <a:pt x="10460872" y="865193"/>
                </a:cubicBezTo>
                <a:cubicBezTo>
                  <a:pt x="10463692" y="867116"/>
                  <a:pt x="10465081" y="869488"/>
                  <a:pt x="10465081" y="872352"/>
                </a:cubicBezTo>
                <a:cubicBezTo>
                  <a:pt x="10465081" y="872352"/>
                  <a:pt x="10465081" y="872352"/>
                  <a:pt x="10465081" y="872801"/>
                </a:cubicBezTo>
                <a:cubicBezTo>
                  <a:pt x="10465081" y="873783"/>
                  <a:pt x="10465572" y="874274"/>
                  <a:pt x="10466553" y="874274"/>
                </a:cubicBezTo>
                <a:cubicBezTo>
                  <a:pt x="10466553" y="874274"/>
                  <a:pt x="10466553" y="874274"/>
                  <a:pt x="10476893" y="874274"/>
                </a:cubicBezTo>
                <a:cubicBezTo>
                  <a:pt x="10477874" y="874274"/>
                  <a:pt x="10478365" y="873783"/>
                  <a:pt x="10478365" y="872801"/>
                </a:cubicBezTo>
                <a:cubicBezTo>
                  <a:pt x="10478365" y="872801"/>
                  <a:pt x="10478365" y="872801"/>
                  <a:pt x="10478365" y="872352"/>
                </a:cubicBezTo>
                <a:cubicBezTo>
                  <a:pt x="10478365" y="868343"/>
                  <a:pt x="10477179" y="864661"/>
                  <a:pt x="10474849" y="861430"/>
                </a:cubicBezTo>
                <a:cubicBezTo>
                  <a:pt x="10472479" y="858198"/>
                  <a:pt x="10469087" y="855662"/>
                  <a:pt x="10464713" y="853821"/>
                </a:cubicBezTo>
                <a:cubicBezTo>
                  <a:pt x="10460340" y="852022"/>
                  <a:pt x="10455313" y="851081"/>
                  <a:pt x="10449591" y="851081"/>
                </a:cubicBezTo>
                <a:close/>
                <a:moveTo>
                  <a:pt x="9849201" y="851081"/>
                </a:moveTo>
                <a:cubicBezTo>
                  <a:pt x="9841537" y="851081"/>
                  <a:pt x="9835472" y="854549"/>
                  <a:pt x="9831005" y="861404"/>
                </a:cubicBezTo>
                <a:cubicBezTo>
                  <a:pt x="9830923" y="861608"/>
                  <a:pt x="9830801" y="861690"/>
                  <a:pt x="9830637" y="861649"/>
                </a:cubicBezTo>
                <a:cubicBezTo>
                  <a:pt x="9830514" y="861567"/>
                  <a:pt x="9830432" y="861404"/>
                  <a:pt x="9830432" y="861118"/>
                </a:cubicBezTo>
                <a:cubicBezTo>
                  <a:pt x="9830432" y="861118"/>
                  <a:pt x="9830432" y="861118"/>
                  <a:pt x="9830432" y="853325"/>
                </a:cubicBezTo>
                <a:cubicBezTo>
                  <a:pt x="9830432" y="852346"/>
                  <a:pt x="9829940" y="851856"/>
                  <a:pt x="9828957" y="851856"/>
                </a:cubicBezTo>
                <a:cubicBezTo>
                  <a:pt x="9828957" y="851856"/>
                  <a:pt x="9828957" y="851856"/>
                  <a:pt x="9817687" y="851856"/>
                </a:cubicBezTo>
                <a:cubicBezTo>
                  <a:pt x="9816703" y="851856"/>
                  <a:pt x="9816212" y="852346"/>
                  <a:pt x="9816212" y="853325"/>
                </a:cubicBezTo>
                <a:cubicBezTo>
                  <a:pt x="9816212" y="853325"/>
                  <a:pt x="9816212" y="853325"/>
                  <a:pt x="9816212" y="925343"/>
                </a:cubicBezTo>
                <a:cubicBezTo>
                  <a:pt x="9816212" y="926322"/>
                  <a:pt x="9816703" y="926811"/>
                  <a:pt x="9817687" y="926811"/>
                </a:cubicBezTo>
                <a:cubicBezTo>
                  <a:pt x="9817687" y="926811"/>
                  <a:pt x="9817687" y="926811"/>
                  <a:pt x="9828957" y="926811"/>
                </a:cubicBezTo>
                <a:cubicBezTo>
                  <a:pt x="9829940" y="926811"/>
                  <a:pt x="9830432" y="926322"/>
                  <a:pt x="9830432" y="925343"/>
                </a:cubicBezTo>
                <a:cubicBezTo>
                  <a:pt x="9830432" y="925343"/>
                  <a:pt x="9830432" y="925343"/>
                  <a:pt x="9830432" y="882336"/>
                </a:cubicBezTo>
                <a:cubicBezTo>
                  <a:pt x="9830432" y="877521"/>
                  <a:pt x="9831907" y="873604"/>
                  <a:pt x="9834940" y="870625"/>
                </a:cubicBezTo>
                <a:cubicBezTo>
                  <a:pt x="9837931" y="867606"/>
                  <a:pt x="9841783" y="866015"/>
                  <a:pt x="9846414" y="865852"/>
                </a:cubicBezTo>
                <a:cubicBezTo>
                  <a:pt x="9846414" y="865852"/>
                  <a:pt x="9846414" y="865852"/>
                  <a:pt x="9848463" y="865688"/>
                </a:cubicBezTo>
                <a:cubicBezTo>
                  <a:pt x="9850758" y="865688"/>
                  <a:pt x="9852725" y="866015"/>
                  <a:pt x="9854405" y="866708"/>
                </a:cubicBezTo>
                <a:cubicBezTo>
                  <a:pt x="9855471" y="866994"/>
                  <a:pt x="9856086" y="866708"/>
                  <a:pt x="9856167" y="865852"/>
                </a:cubicBezTo>
                <a:cubicBezTo>
                  <a:pt x="9856167" y="865852"/>
                  <a:pt x="9856167" y="865852"/>
                  <a:pt x="9858544" y="854794"/>
                </a:cubicBezTo>
                <a:cubicBezTo>
                  <a:pt x="9858708" y="853896"/>
                  <a:pt x="9858462" y="853325"/>
                  <a:pt x="9857807" y="852998"/>
                </a:cubicBezTo>
                <a:cubicBezTo>
                  <a:pt x="9855225" y="851734"/>
                  <a:pt x="9852356" y="851081"/>
                  <a:pt x="9849201" y="851081"/>
                </a:cubicBezTo>
                <a:close/>
                <a:moveTo>
                  <a:pt x="11007426" y="850808"/>
                </a:moveTo>
                <a:cubicBezTo>
                  <a:pt x="10999183" y="850808"/>
                  <a:pt x="10992939" y="853501"/>
                  <a:pt x="10988696" y="858927"/>
                </a:cubicBezTo>
                <a:cubicBezTo>
                  <a:pt x="10988614" y="859131"/>
                  <a:pt x="10988492" y="859172"/>
                  <a:pt x="10988328" y="859049"/>
                </a:cubicBezTo>
                <a:cubicBezTo>
                  <a:pt x="10988206" y="858968"/>
                  <a:pt x="10988124" y="858804"/>
                  <a:pt x="10988124" y="858641"/>
                </a:cubicBezTo>
                <a:cubicBezTo>
                  <a:pt x="10988124" y="858641"/>
                  <a:pt x="10988124" y="858641"/>
                  <a:pt x="10988124" y="853338"/>
                </a:cubicBezTo>
                <a:cubicBezTo>
                  <a:pt x="10988124" y="852359"/>
                  <a:pt x="10987635" y="851869"/>
                  <a:pt x="10986655" y="851869"/>
                </a:cubicBezTo>
                <a:cubicBezTo>
                  <a:pt x="10986655" y="851869"/>
                  <a:pt x="10986655" y="851869"/>
                  <a:pt x="10975475" y="851869"/>
                </a:cubicBezTo>
                <a:cubicBezTo>
                  <a:pt x="10974495" y="851869"/>
                  <a:pt x="10973965" y="852359"/>
                  <a:pt x="10973965" y="853338"/>
                </a:cubicBezTo>
                <a:cubicBezTo>
                  <a:pt x="10973965" y="853338"/>
                  <a:pt x="10973965" y="853338"/>
                  <a:pt x="10973965" y="925343"/>
                </a:cubicBezTo>
                <a:cubicBezTo>
                  <a:pt x="10973965" y="926322"/>
                  <a:pt x="10974495" y="926812"/>
                  <a:pt x="10975475" y="926812"/>
                </a:cubicBezTo>
                <a:cubicBezTo>
                  <a:pt x="10975475" y="926812"/>
                  <a:pt x="10975475" y="926812"/>
                  <a:pt x="10986655" y="926812"/>
                </a:cubicBezTo>
                <a:cubicBezTo>
                  <a:pt x="10987635" y="926812"/>
                  <a:pt x="10988124" y="926322"/>
                  <a:pt x="10988124" y="925343"/>
                </a:cubicBezTo>
                <a:cubicBezTo>
                  <a:pt x="10988124" y="925343"/>
                  <a:pt x="10988124" y="925343"/>
                  <a:pt x="10988124" y="879406"/>
                </a:cubicBezTo>
                <a:cubicBezTo>
                  <a:pt x="10988124" y="874593"/>
                  <a:pt x="10989593" y="870635"/>
                  <a:pt x="10992531" y="867616"/>
                </a:cubicBezTo>
                <a:cubicBezTo>
                  <a:pt x="10995510" y="864557"/>
                  <a:pt x="10999264" y="863047"/>
                  <a:pt x="11003875" y="863047"/>
                </a:cubicBezTo>
                <a:cubicBezTo>
                  <a:pt x="11008609" y="863047"/>
                  <a:pt x="11012363" y="864557"/>
                  <a:pt x="11015220" y="867616"/>
                </a:cubicBezTo>
                <a:cubicBezTo>
                  <a:pt x="11018076" y="870635"/>
                  <a:pt x="11019504" y="874633"/>
                  <a:pt x="11019504" y="879529"/>
                </a:cubicBezTo>
                <a:cubicBezTo>
                  <a:pt x="11019504" y="879529"/>
                  <a:pt x="11019504" y="879529"/>
                  <a:pt x="11019504" y="925343"/>
                </a:cubicBezTo>
                <a:cubicBezTo>
                  <a:pt x="11019504" y="926322"/>
                  <a:pt x="11019994" y="926812"/>
                  <a:pt x="11020973" y="926812"/>
                </a:cubicBezTo>
                <a:cubicBezTo>
                  <a:pt x="11020973" y="926812"/>
                  <a:pt x="11020973" y="926812"/>
                  <a:pt x="11032154" y="926812"/>
                </a:cubicBezTo>
                <a:cubicBezTo>
                  <a:pt x="11033133" y="926812"/>
                  <a:pt x="11033623" y="926322"/>
                  <a:pt x="11033623" y="925343"/>
                </a:cubicBezTo>
                <a:cubicBezTo>
                  <a:pt x="11033623" y="925343"/>
                  <a:pt x="11033623" y="925343"/>
                  <a:pt x="11033623" y="876755"/>
                </a:cubicBezTo>
                <a:cubicBezTo>
                  <a:pt x="11033623" y="868799"/>
                  <a:pt x="11031297" y="862476"/>
                  <a:pt x="11026564" y="857825"/>
                </a:cubicBezTo>
                <a:cubicBezTo>
                  <a:pt x="11021871" y="853134"/>
                  <a:pt x="11015464" y="850808"/>
                  <a:pt x="11007426" y="850808"/>
                </a:cubicBezTo>
                <a:close/>
                <a:moveTo>
                  <a:pt x="10923739" y="850808"/>
                </a:moveTo>
                <a:cubicBezTo>
                  <a:pt x="10916160" y="850808"/>
                  <a:pt x="10909762" y="852765"/>
                  <a:pt x="10904465" y="856678"/>
                </a:cubicBezTo>
                <a:cubicBezTo>
                  <a:pt x="10899168" y="860591"/>
                  <a:pt x="10895623" y="865931"/>
                  <a:pt x="10893871" y="872738"/>
                </a:cubicBezTo>
                <a:cubicBezTo>
                  <a:pt x="10892771" y="876447"/>
                  <a:pt x="10892241" y="881909"/>
                  <a:pt x="10892241" y="889043"/>
                </a:cubicBezTo>
                <a:cubicBezTo>
                  <a:pt x="10892241" y="897276"/>
                  <a:pt x="10893423" y="904287"/>
                  <a:pt x="10895786" y="910076"/>
                </a:cubicBezTo>
                <a:cubicBezTo>
                  <a:pt x="10898231" y="915864"/>
                  <a:pt x="10901898" y="920348"/>
                  <a:pt x="10906788" y="923486"/>
                </a:cubicBezTo>
                <a:cubicBezTo>
                  <a:pt x="10911718" y="926625"/>
                  <a:pt x="10917749" y="928174"/>
                  <a:pt x="10924880" y="928174"/>
                </a:cubicBezTo>
                <a:cubicBezTo>
                  <a:pt x="10931277" y="928174"/>
                  <a:pt x="10936982" y="926910"/>
                  <a:pt x="10942035" y="924342"/>
                </a:cubicBezTo>
                <a:cubicBezTo>
                  <a:pt x="10947087" y="921815"/>
                  <a:pt x="10950999" y="918350"/>
                  <a:pt x="10953729" y="913907"/>
                </a:cubicBezTo>
                <a:cubicBezTo>
                  <a:pt x="10954137" y="913214"/>
                  <a:pt x="10953973" y="912603"/>
                  <a:pt x="10953281" y="911991"/>
                </a:cubicBezTo>
                <a:cubicBezTo>
                  <a:pt x="10953281" y="911991"/>
                  <a:pt x="10953281" y="911991"/>
                  <a:pt x="10944887" y="906407"/>
                </a:cubicBezTo>
                <a:cubicBezTo>
                  <a:pt x="10944113" y="905714"/>
                  <a:pt x="10943461" y="905877"/>
                  <a:pt x="10942972" y="906855"/>
                </a:cubicBezTo>
                <a:cubicBezTo>
                  <a:pt x="10939060" y="912847"/>
                  <a:pt x="10933477" y="915823"/>
                  <a:pt x="10926224" y="915823"/>
                </a:cubicBezTo>
                <a:cubicBezTo>
                  <a:pt x="10921213" y="915823"/>
                  <a:pt x="10917097" y="914722"/>
                  <a:pt x="10913796" y="912521"/>
                </a:cubicBezTo>
                <a:cubicBezTo>
                  <a:pt x="10910496" y="910320"/>
                  <a:pt x="10908336" y="907263"/>
                  <a:pt x="10907236" y="903309"/>
                </a:cubicBezTo>
                <a:cubicBezTo>
                  <a:pt x="10906666" y="901556"/>
                  <a:pt x="10906380" y="898988"/>
                  <a:pt x="10906380" y="895687"/>
                </a:cubicBezTo>
                <a:cubicBezTo>
                  <a:pt x="10906380" y="895279"/>
                  <a:pt x="10906543" y="895075"/>
                  <a:pt x="10906951" y="895075"/>
                </a:cubicBezTo>
                <a:cubicBezTo>
                  <a:pt x="10906951" y="895075"/>
                  <a:pt x="10906951" y="895075"/>
                  <a:pt x="10953892" y="895075"/>
                </a:cubicBezTo>
                <a:cubicBezTo>
                  <a:pt x="10954870" y="895075"/>
                  <a:pt x="10955359" y="894586"/>
                  <a:pt x="10955359" y="893608"/>
                </a:cubicBezTo>
                <a:cubicBezTo>
                  <a:pt x="10955441" y="888594"/>
                  <a:pt x="10955318" y="884110"/>
                  <a:pt x="10954911" y="880075"/>
                </a:cubicBezTo>
                <a:cubicBezTo>
                  <a:pt x="10953811" y="870455"/>
                  <a:pt x="10950836" y="863200"/>
                  <a:pt x="10945946" y="858227"/>
                </a:cubicBezTo>
                <a:cubicBezTo>
                  <a:pt x="10941016" y="853254"/>
                  <a:pt x="10933641" y="850808"/>
                  <a:pt x="10923739" y="850808"/>
                </a:cubicBezTo>
                <a:close/>
                <a:moveTo>
                  <a:pt x="10801413" y="850808"/>
                </a:moveTo>
                <a:cubicBezTo>
                  <a:pt x="10794921" y="850808"/>
                  <a:pt x="10789285" y="852604"/>
                  <a:pt x="10784548" y="856153"/>
                </a:cubicBezTo>
                <a:cubicBezTo>
                  <a:pt x="10779771" y="859743"/>
                  <a:pt x="10776463" y="864476"/>
                  <a:pt x="10774584" y="870392"/>
                </a:cubicBezTo>
                <a:cubicBezTo>
                  <a:pt x="10773114" y="874798"/>
                  <a:pt x="10772379" y="881081"/>
                  <a:pt x="10772379" y="889241"/>
                </a:cubicBezTo>
                <a:cubicBezTo>
                  <a:pt x="10772379" y="896911"/>
                  <a:pt x="10773033" y="902868"/>
                  <a:pt x="10774299" y="907192"/>
                </a:cubicBezTo>
                <a:cubicBezTo>
                  <a:pt x="10776259" y="913679"/>
                  <a:pt x="10779811" y="918575"/>
                  <a:pt x="10784957" y="921921"/>
                </a:cubicBezTo>
                <a:cubicBezTo>
                  <a:pt x="10790143" y="925266"/>
                  <a:pt x="10795901" y="926939"/>
                  <a:pt x="10802312" y="926939"/>
                </a:cubicBezTo>
                <a:cubicBezTo>
                  <a:pt x="10810275" y="926939"/>
                  <a:pt x="10816318" y="924532"/>
                  <a:pt x="10820443" y="919717"/>
                </a:cubicBezTo>
                <a:cubicBezTo>
                  <a:pt x="10820647" y="919513"/>
                  <a:pt x="10820810" y="919473"/>
                  <a:pt x="10820933" y="919554"/>
                </a:cubicBezTo>
                <a:cubicBezTo>
                  <a:pt x="10821096" y="919677"/>
                  <a:pt x="10821178" y="919799"/>
                  <a:pt x="10821178" y="920003"/>
                </a:cubicBezTo>
                <a:cubicBezTo>
                  <a:pt x="10821178" y="920003"/>
                  <a:pt x="10821178" y="920003"/>
                  <a:pt x="10821178" y="922655"/>
                </a:cubicBezTo>
                <a:cubicBezTo>
                  <a:pt x="10821178" y="930040"/>
                  <a:pt x="10819299" y="935262"/>
                  <a:pt x="10815583" y="938362"/>
                </a:cubicBezTo>
                <a:cubicBezTo>
                  <a:pt x="10811826" y="941463"/>
                  <a:pt x="10805783" y="942973"/>
                  <a:pt x="10797452" y="942973"/>
                </a:cubicBezTo>
                <a:cubicBezTo>
                  <a:pt x="10794798" y="942973"/>
                  <a:pt x="10792756" y="942932"/>
                  <a:pt x="10791409" y="942850"/>
                </a:cubicBezTo>
                <a:cubicBezTo>
                  <a:pt x="10790878" y="942728"/>
                  <a:pt x="10790510" y="942850"/>
                  <a:pt x="10790224" y="943136"/>
                </a:cubicBezTo>
                <a:cubicBezTo>
                  <a:pt x="10789939" y="943422"/>
                  <a:pt x="10789775" y="943789"/>
                  <a:pt x="10789775" y="944156"/>
                </a:cubicBezTo>
                <a:cubicBezTo>
                  <a:pt x="10789775" y="944156"/>
                  <a:pt x="10789775" y="944156"/>
                  <a:pt x="10789326" y="954315"/>
                </a:cubicBezTo>
                <a:cubicBezTo>
                  <a:pt x="10789326" y="955294"/>
                  <a:pt x="10789816" y="955865"/>
                  <a:pt x="10790796" y="955947"/>
                </a:cubicBezTo>
                <a:cubicBezTo>
                  <a:pt x="10794145" y="956151"/>
                  <a:pt x="10796595" y="956232"/>
                  <a:pt x="10798187" y="956232"/>
                </a:cubicBezTo>
                <a:cubicBezTo>
                  <a:pt x="10809458" y="956232"/>
                  <a:pt x="10818483" y="953703"/>
                  <a:pt x="10825220" y="948603"/>
                </a:cubicBezTo>
                <a:cubicBezTo>
                  <a:pt x="10831958" y="943462"/>
                  <a:pt x="10835307" y="934976"/>
                  <a:pt x="10835307" y="923104"/>
                </a:cubicBezTo>
                <a:cubicBezTo>
                  <a:pt x="10835307" y="923104"/>
                  <a:pt x="10835307" y="923104"/>
                  <a:pt x="10835307" y="853460"/>
                </a:cubicBezTo>
                <a:cubicBezTo>
                  <a:pt x="10835307" y="852481"/>
                  <a:pt x="10834817" y="851991"/>
                  <a:pt x="10833837" y="851991"/>
                </a:cubicBezTo>
                <a:cubicBezTo>
                  <a:pt x="10833837" y="851991"/>
                  <a:pt x="10833837" y="851991"/>
                  <a:pt x="10822648" y="851991"/>
                </a:cubicBezTo>
                <a:cubicBezTo>
                  <a:pt x="10821668" y="851991"/>
                  <a:pt x="10821178" y="852481"/>
                  <a:pt x="10821178" y="853460"/>
                </a:cubicBezTo>
                <a:cubicBezTo>
                  <a:pt x="10821178" y="853460"/>
                  <a:pt x="10821178" y="853460"/>
                  <a:pt x="10821178" y="858030"/>
                </a:cubicBezTo>
                <a:cubicBezTo>
                  <a:pt x="10821178" y="858193"/>
                  <a:pt x="10821096" y="858315"/>
                  <a:pt x="10820933" y="858397"/>
                </a:cubicBezTo>
                <a:cubicBezTo>
                  <a:pt x="10820810" y="858438"/>
                  <a:pt x="10820647" y="858356"/>
                  <a:pt x="10820443" y="858152"/>
                </a:cubicBezTo>
                <a:cubicBezTo>
                  <a:pt x="10815828" y="853256"/>
                  <a:pt x="10809458" y="850808"/>
                  <a:pt x="10801413" y="850808"/>
                </a:cubicBezTo>
                <a:close/>
                <a:moveTo>
                  <a:pt x="10671852" y="850808"/>
                </a:moveTo>
                <a:cubicBezTo>
                  <a:pt x="10664281" y="850808"/>
                  <a:pt x="10657856" y="852765"/>
                  <a:pt x="10652536" y="856678"/>
                </a:cubicBezTo>
                <a:cubicBezTo>
                  <a:pt x="10647216" y="860591"/>
                  <a:pt x="10643656" y="865931"/>
                  <a:pt x="10641896" y="872738"/>
                </a:cubicBezTo>
                <a:cubicBezTo>
                  <a:pt x="10640791" y="876447"/>
                  <a:pt x="10640259" y="881909"/>
                  <a:pt x="10640259" y="889043"/>
                </a:cubicBezTo>
                <a:cubicBezTo>
                  <a:pt x="10640259" y="897276"/>
                  <a:pt x="10641446" y="904287"/>
                  <a:pt x="10643820" y="910076"/>
                </a:cubicBezTo>
                <a:cubicBezTo>
                  <a:pt x="10646275" y="915864"/>
                  <a:pt x="10649958" y="920348"/>
                  <a:pt x="10654869" y="923486"/>
                </a:cubicBezTo>
                <a:cubicBezTo>
                  <a:pt x="10659821" y="926625"/>
                  <a:pt x="10665877" y="928174"/>
                  <a:pt x="10673039" y="928174"/>
                </a:cubicBezTo>
                <a:cubicBezTo>
                  <a:pt x="10679464" y="928174"/>
                  <a:pt x="10685193" y="926910"/>
                  <a:pt x="10690268" y="924342"/>
                </a:cubicBezTo>
                <a:cubicBezTo>
                  <a:pt x="10695342" y="921815"/>
                  <a:pt x="10699271" y="918350"/>
                  <a:pt x="10702013" y="913907"/>
                </a:cubicBezTo>
                <a:cubicBezTo>
                  <a:pt x="10702381" y="913214"/>
                  <a:pt x="10702258" y="912603"/>
                  <a:pt x="10701563" y="911991"/>
                </a:cubicBezTo>
                <a:cubicBezTo>
                  <a:pt x="10701563" y="911991"/>
                  <a:pt x="10701563" y="911991"/>
                  <a:pt x="10693132" y="906407"/>
                </a:cubicBezTo>
                <a:cubicBezTo>
                  <a:pt x="10692355" y="905714"/>
                  <a:pt x="10691700" y="905877"/>
                  <a:pt x="10691209" y="906855"/>
                </a:cubicBezTo>
                <a:cubicBezTo>
                  <a:pt x="10687280" y="912847"/>
                  <a:pt x="10681674" y="915823"/>
                  <a:pt x="10674389" y="915823"/>
                </a:cubicBezTo>
                <a:cubicBezTo>
                  <a:pt x="10669356" y="915823"/>
                  <a:pt x="10665182" y="914722"/>
                  <a:pt x="10661908" y="912521"/>
                </a:cubicBezTo>
                <a:cubicBezTo>
                  <a:pt x="10658593" y="910320"/>
                  <a:pt x="10656424" y="907263"/>
                  <a:pt x="10655319" y="903309"/>
                </a:cubicBezTo>
                <a:cubicBezTo>
                  <a:pt x="10654746" y="901556"/>
                  <a:pt x="10654460" y="898988"/>
                  <a:pt x="10654460" y="895687"/>
                </a:cubicBezTo>
                <a:cubicBezTo>
                  <a:pt x="10654460" y="895279"/>
                  <a:pt x="10654623" y="895075"/>
                  <a:pt x="10655033" y="895075"/>
                </a:cubicBezTo>
                <a:cubicBezTo>
                  <a:pt x="10655033" y="895075"/>
                  <a:pt x="10655033" y="895075"/>
                  <a:pt x="10702135" y="895075"/>
                </a:cubicBezTo>
                <a:cubicBezTo>
                  <a:pt x="10703118" y="895075"/>
                  <a:pt x="10703650" y="894586"/>
                  <a:pt x="10703650" y="893608"/>
                </a:cubicBezTo>
                <a:cubicBezTo>
                  <a:pt x="10703731" y="888594"/>
                  <a:pt x="10703568" y="884110"/>
                  <a:pt x="10703200" y="880075"/>
                </a:cubicBezTo>
                <a:cubicBezTo>
                  <a:pt x="10702095" y="870455"/>
                  <a:pt x="10699107" y="863200"/>
                  <a:pt x="10694196" y="858227"/>
                </a:cubicBezTo>
                <a:cubicBezTo>
                  <a:pt x="10689245" y="853254"/>
                  <a:pt x="10681837" y="850808"/>
                  <a:pt x="10671852" y="850808"/>
                </a:cubicBezTo>
                <a:close/>
                <a:moveTo>
                  <a:pt x="10596042" y="850808"/>
                </a:moveTo>
                <a:cubicBezTo>
                  <a:pt x="10587799" y="850808"/>
                  <a:pt x="10581556" y="853501"/>
                  <a:pt x="10577353" y="858927"/>
                </a:cubicBezTo>
                <a:cubicBezTo>
                  <a:pt x="10577230" y="859131"/>
                  <a:pt x="10577108" y="859172"/>
                  <a:pt x="10576985" y="859049"/>
                </a:cubicBezTo>
                <a:cubicBezTo>
                  <a:pt x="10576822" y="858968"/>
                  <a:pt x="10576741" y="858804"/>
                  <a:pt x="10576741" y="858641"/>
                </a:cubicBezTo>
                <a:cubicBezTo>
                  <a:pt x="10576741" y="858641"/>
                  <a:pt x="10576741" y="858641"/>
                  <a:pt x="10576741" y="853338"/>
                </a:cubicBezTo>
                <a:cubicBezTo>
                  <a:pt x="10576741" y="852359"/>
                  <a:pt x="10576251" y="851869"/>
                  <a:pt x="10575272" y="851869"/>
                </a:cubicBezTo>
                <a:cubicBezTo>
                  <a:pt x="10575272" y="851869"/>
                  <a:pt x="10575272" y="851869"/>
                  <a:pt x="10564091" y="851869"/>
                </a:cubicBezTo>
                <a:cubicBezTo>
                  <a:pt x="10563111" y="851869"/>
                  <a:pt x="10562622" y="852359"/>
                  <a:pt x="10562622" y="853338"/>
                </a:cubicBezTo>
                <a:cubicBezTo>
                  <a:pt x="10562622" y="853338"/>
                  <a:pt x="10562622" y="853338"/>
                  <a:pt x="10562622" y="925343"/>
                </a:cubicBezTo>
                <a:cubicBezTo>
                  <a:pt x="10562622" y="926322"/>
                  <a:pt x="10563111" y="926812"/>
                  <a:pt x="10564091" y="926812"/>
                </a:cubicBezTo>
                <a:cubicBezTo>
                  <a:pt x="10564091" y="926812"/>
                  <a:pt x="10564091" y="926812"/>
                  <a:pt x="10575272" y="926812"/>
                </a:cubicBezTo>
                <a:cubicBezTo>
                  <a:pt x="10576251" y="926812"/>
                  <a:pt x="10576741" y="926322"/>
                  <a:pt x="10576741" y="925343"/>
                </a:cubicBezTo>
                <a:cubicBezTo>
                  <a:pt x="10576741" y="925343"/>
                  <a:pt x="10576741" y="925343"/>
                  <a:pt x="10576741" y="879406"/>
                </a:cubicBezTo>
                <a:cubicBezTo>
                  <a:pt x="10576741" y="874593"/>
                  <a:pt x="10578209" y="870635"/>
                  <a:pt x="10581148" y="867616"/>
                </a:cubicBezTo>
                <a:cubicBezTo>
                  <a:pt x="10584126" y="864557"/>
                  <a:pt x="10587881" y="863047"/>
                  <a:pt x="10592492" y="863047"/>
                </a:cubicBezTo>
                <a:cubicBezTo>
                  <a:pt x="10597225" y="863047"/>
                  <a:pt x="10600979" y="864557"/>
                  <a:pt x="10603836" y="867616"/>
                </a:cubicBezTo>
                <a:cubicBezTo>
                  <a:pt x="10606692" y="870635"/>
                  <a:pt x="10608120" y="874633"/>
                  <a:pt x="10608120" y="879529"/>
                </a:cubicBezTo>
                <a:cubicBezTo>
                  <a:pt x="10608120" y="879529"/>
                  <a:pt x="10608120" y="879529"/>
                  <a:pt x="10608120" y="925343"/>
                </a:cubicBezTo>
                <a:cubicBezTo>
                  <a:pt x="10608120" y="926322"/>
                  <a:pt x="10608610" y="926812"/>
                  <a:pt x="10609589" y="926812"/>
                </a:cubicBezTo>
                <a:cubicBezTo>
                  <a:pt x="10609589" y="926812"/>
                  <a:pt x="10609589" y="926812"/>
                  <a:pt x="10620770" y="926812"/>
                </a:cubicBezTo>
                <a:cubicBezTo>
                  <a:pt x="10621790" y="926812"/>
                  <a:pt x="10622280" y="926322"/>
                  <a:pt x="10622280" y="925343"/>
                </a:cubicBezTo>
                <a:cubicBezTo>
                  <a:pt x="10622280" y="925343"/>
                  <a:pt x="10622280" y="925343"/>
                  <a:pt x="10622280" y="876755"/>
                </a:cubicBezTo>
                <a:cubicBezTo>
                  <a:pt x="10622280" y="868799"/>
                  <a:pt x="10619913" y="862476"/>
                  <a:pt x="10615180" y="857825"/>
                </a:cubicBezTo>
                <a:cubicBezTo>
                  <a:pt x="10610487" y="853134"/>
                  <a:pt x="10604081" y="850808"/>
                  <a:pt x="10596042" y="850808"/>
                </a:cubicBezTo>
                <a:close/>
                <a:moveTo>
                  <a:pt x="10346553" y="850808"/>
                </a:moveTo>
                <a:cubicBezTo>
                  <a:pt x="10338310" y="850808"/>
                  <a:pt x="10332067" y="853501"/>
                  <a:pt x="10327823" y="858927"/>
                </a:cubicBezTo>
                <a:cubicBezTo>
                  <a:pt x="10327741" y="859131"/>
                  <a:pt x="10327619" y="859172"/>
                  <a:pt x="10327455" y="859049"/>
                </a:cubicBezTo>
                <a:cubicBezTo>
                  <a:pt x="10327333" y="858968"/>
                  <a:pt x="10327251" y="858804"/>
                  <a:pt x="10327251" y="858641"/>
                </a:cubicBezTo>
                <a:cubicBezTo>
                  <a:pt x="10327251" y="858641"/>
                  <a:pt x="10327251" y="858641"/>
                  <a:pt x="10327251" y="853338"/>
                </a:cubicBezTo>
                <a:cubicBezTo>
                  <a:pt x="10327251" y="852359"/>
                  <a:pt x="10326762" y="851869"/>
                  <a:pt x="10325783" y="851869"/>
                </a:cubicBezTo>
                <a:cubicBezTo>
                  <a:pt x="10325783" y="851869"/>
                  <a:pt x="10325783" y="851869"/>
                  <a:pt x="10314561" y="851869"/>
                </a:cubicBezTo>
                <a:cubicBezTo>
                  <a:pt x="10313582" y="851869"/>
                  <a:pt x="10313092" y="852359"/>
                  <a:pt x="10313092" y="853338"/>
                </a:cubicBezTo>
                <a:cubicBezTo>
                  <a:pt x="10313092" y="853338"/>
                  <a:pt x="10313092" y="853338"/>
                  <a:pt x="10313092" y="925343"/>
                </a:cubicBezTo>
                <a:cubicBezTo>
                  <a:pt x="10313092" y="926322"/>
                  <a:pt x="10313582" y="926812"/>
                  <a:pt x="10314561" y="926812"/>
                </a:cubicBezTo>
                <a:cubicBezTo>
                  <a:pt x="10314561" y="926812"/>
                  <a:pt x="10314561" y="926812"/>
                  <a:pt x="10325783" y="926812"/>
                </a:cubicBezTo>
                <a:cubicBezTo>
                  <a:pt x="10326762" y="926812"/>
                  <a:pt x="10327251" y="926322"/>
                  <a:pt x="10327251" y="925343"/>
                </a:cubicBezTo>
                <a:cubicBezTo>
                  <a:pt x="10327251" y="925343"/>
                  <a:pt x="10327251" y="925343"/>
                  <a:pt x="10327251" y="879406"/>
                </a:cubicBezTo>
                <a:cubicBezTo>
                  <a:pt x="10327251" y="874593"/>
                  <a:pt x="10328721" y="870635"/>
                  <a:pt x="10331659" y="867616"/>
                </a:cubicBezTo>
                <a:cubicBezTo>
                  <a:pt x="10334597" y="864557"/>
                  <a:pt x="10338392" y="863047"/>
                  <a:pt x="10343003" y="863047"/>
                </a:cubicBezTo>
                <a:cubicBezTo>
                  <a:pt x="10347736" y="863047"/>
                  <a:pt x="10351490" y="864557"/>
                  <a:pt x="10354347" y="867616"/>
                </a:cubicBezTo>
                <a:cubicBezTo>
                  <a:pt x="10357203" y="870635"/>
                  <a:pt x="10358631" y="874633"/>
                  <a:pt x="10358631" y="879529"/>
                </a:cubicBezTo>
                <a:cubicBezTo>
                  <a:pt x="10358631" y="879529"/>
                  <a:pt x="10358631" y="879529"/>
                  <a:pt x="10358631" y="925343"/>
                </a:cubicBezTo>
                <a:cubicBezTo>
                  <a:pt x="10358631" y="926322"/>
                  <a:pt x="10359121" y="926812"/>
                  <a:pt x="10360100" y="926812"/>
                </a:cubicBezTo>
                <a:cubicBezTo>
                  <a:pt x="10360100" y="926812"/>
                  <a:pt x="10360100" y="926812"/>
                  <a:pt x="10371281" y="926812"/>
                </a:cubicBezTo>
                <a:cubicBezTo>
                  <a:pt x="10372261" y="926812"/>
                  <a:pt x="10372750" y="926322"/>
                  <a:pt x="10372750" y="925343"/>
                </a:cubicBezTo>
                <a:cubicBezTo>
                  <a:pt x="10372750" y="925343"/>
                  <a:pt x="10372750" y="925343"/>
                  <a:pt x="10372750" y="876755"/>
                </a:cubicBezTo>
                <a:cubicBezTo>
                  <a:pt x="10372750" y="868799"/>
                  <a:pt x="10370424" y="862476"/>
                  <a:pt x="10365691" y="857825"/>
                </a:cubicBezTo>
                <a:cubicBezTo>
                  <a:pt x="10360957" y="853134"/>
                  <a:pt x="10354592" y="850808"/>
                  <a:pt x="10346553" y="850808"/>
                </a:cubicBezTo>
                <a:close/>
                <a:moveTo>
                  <a:pt x="10263118" y="850808"/>
                </a:moveTo>
                <a:cubicBezTo>
                  <a:pt x="10255575" y="850808"/>
                  <a:pt x="10249133" y="852765"/>
                  <a:pt x="10243832" y="856678"/>
                </a:cubicBezTo>
                <a:cubicBezTo>
                  <a:pt x="10238532" y="860591"/>
                  <a:pt x="10235025" y="865931"/>
                  <a:pt x="10233231" y="872738"/>
                </a:cubicBezTo>
                <a:cubicBezTo>
                  <a:pt x="10232171" y="876447"/>
                  <a:pt x="10231641" y="881909"/>
                  <a:pt x="10231641" y="889043"/>
                </a:cubicBezTo>
                <a:cubicBezTo>
                  <a:pt x="10231641" y="897276"/>
                  <a:pt x="10232783" y="904287"/>
                  <a:pt x="10235148" y="910076"/>
                </a:cubicBezTo>
                <a:cubicBezTo>
                  <a:pt x="10237594" y="915864"/>
                  <a:pt x="10241304" y="920348"/>
                  <a:pt x="10246197" y="923486"/>
                </a:cubicBezTo>
                <a:cubicBezTo>
                  <a:pt x="10251090" y="926625"/>
                  <a:pt x="10257125" y="928174"/>
                  <a:pt x="10264301" y="928174"/>
                </a:cubicBezTo>
                <a:cubicBezTo>
                  <a:pt x="10270662" y="928174"/>
                  <a:pt x="10276370" y="926910"/>
                  <a:pt x="10281426" y="924342"/>
                </a:cubicBezTo>
                <a:cubicBezTo>
                  <a:pt x="10286482" y="921815"/>
                  <a:pt x="10290396" y="918350"/>
                  <a:pt x="10293169" y="913907"/>
                </a:cubicBezTo>
                <a:cubicBezTo>
                  <a:pt x="10293535" y="913214"/>
                  <a:pt x="10293372" y="912603"/>
                  <a:pt x="10292720" y="911991"/>
                </a:cubicBezTo>
                <a:cubicBezTo>
                  <a:pt x="10292720" y="911991"/>
                  <a:pt x="10292720" y="911991"/>
                  <a:pt x="10284321" y="906407"/>
                </a:cubicBezTo>
                <a:cubicBezTo>
                  <a:pt x="10283505" y="905714"/>
                  <a:pt x="10282893" y="905877"/>
                  <a:pt x="10282404" y="906855"/>
                </a:cubicBezTo>
                <a:cubicBezTo>
                  <a:pt x="10278490" y="912847"/>
                  <a:pt x="10272863" y="915823"/>
                  <a:pt x="10265606" y="915823"/>
                </a:cubicBezTo>
                <a:cubicBezTo>
                  <a:pt x="10260631" y="915823"/>
                  <a:pt x="10256472" y="914722"/>
                  <a:pt x="10253169" y="912521"/>
                </a:cubicBezTo>
                <a:cubicBezTo>
                  <a:pt x="10249908" y="910320"/>
                  <a:pt x="10247706" y="907263"/>
                  <a:pt x="10246646" y="903309"/>
                </a:cubicBezTo>
                <a:cubicBezTo>
                  <a:pt x="10246034" y="901556"/>
                  <a:pt x="10245749" y="898988"/>
                  <a:pt x="10245749" y="895687"/>
                </a:cubicBezTo>
                <a:cubicBezTo>
                  <a:pt x="10245749" y="895279"/>
                  <a:pt x="10245953" y="895075"/>
                  <a:pt x="10246360" y="895075"/>
                </a:cubicBezTo>
                <a:cubicBezTo>
                  <a:pt x="10246360" y="895075"/>
                  <a:pt x="10246360" y="895075"/>
                  <a:pt x="10293291" y="895075"/>
                </a:cubicBezTo>
                <a:cubicBezTo>
                  <a:pt x="10294269" y="895075"/>
                  <a:pt x="10294759" y="894586"/>
                  <a:pt x="10294759" y="893608"/>
                </a:cubicBezTo>
                <a:cubicBezTo>
                  <a:pt x="10294840" y="888594"/>
                  <a:pt x="10294718" y="884110"/>
                  <a:pt x="10294310" y="880075"/>
                </a:cubicBezTo>
                <a:cubicBezTo>
                  <a:pt x="10293250" y="870455"/>
                  <a:pt x="10290233" y="863200"/>
                  <a:pt x="10285340" y="858227"/>
                </a:cubicBezTo>
                <a:cubicBezTo>
                  <a:pt x="10280447" y="853254"/>
                  <a:pt x="10273027" y="850808"/>
                  <a:pt x="10263118" y="850808"/>
                </a:cubicBezTo>
                <a:close/>
                <a:moveTo>
                  <a:pt x="10145545" y="850808"/>
                </a:moveTo>
                <a:cubicBezTo>
                  <a:pt x="10137298" y="850808"/>
                  <a:pt x="10131010" y="853419"/>
                  <a:pt x="10126682" y="858641"/>
                </a:cubicBezTo>
                <a:cubicBezTo>
                  <a:pt x="10126478" y="858804"/>
                  <a:pt x="10126315" y="858886"/>
                  <a:pt x="10126151" y="858764"/>
                </a:cubicBezTo>
                <a:cubicBezTo>
                  <a:pt x="10126029" y="858682"/>
                  <a:pt x="10125947" y="858519"/>
                  <a:pt x="10125947" y="858315"/>
                </a:cubicBezTo>
                <a:cubicBezTo>
                  <a:pt x="10125947" y="858315"/>
                  <a:pt x="10125947" y="858315"/>
                  <a:pt x="10125947" y="853338"/>
                </a:cubicBezTo>
                <a:cubicBezTo>
                  <a:pt x="10125947" y="852359"/>
                  <a:pt x="10125457" y="851869"/>
                  <a:pt x="10124477" y="851869"/>
                </a:cubicBezTo>
                <a:cubicBezTo>
                  <a:pt x="10124477" y="851869"/>
                  <a:pt x="10124477" y="851869"/>
                  <a:pt x="10113290" y="851869"/>
                </a:cubicBezTo>
                <a:cubicBezTo>
                  <a:pt x="10112269" y="851869"/>
                  <a:pt x="10111779" y="852359"/>
                  <a:pt x="10111779" y="853338"/>
                </a:cubicBezTo>
                <a:cubicBezTo>
                  <a:pt x="10111779" y="853338"/>
                  <a:pt x="10111779" y="853338"/>
                  <a:pt x="10111779" y="925343"/>
                </a:cubicBezTo>
                <a:cubicBezTo>
                  <a:pt x="10111779" y="926322"/>
                  <a:pt x="10112269" y="926812"/>
                  <a:pt x="10113290" y="926812"/>
                </a:cubicBezTo>
                <a:cubicBezTo>
                  <a:pt x="10113290" y="926812"/>
                  <a:pt x="10113290" y="926812"/>
                  <a:pt x="10124477" y="926812"/>
                </a:cubicBezTo>
                <a:cubicBezTo>
                  <a:pt x="10125457" y="926812"/>
                  <a:pt x="10125947" y="926322"/>
                  <a:pt x="10125947" y="925343"/>
                </a:cubicBezTo>
                <a:cubicBezTo>
                  <a:pt x="10125947" y="925343"/>
                  <a:pt x="10125947" y="925343"/>
                  <a:pt x="10125947" y="878795"/>
                </a:cubicBezTo>
                <a:cubicBezTo>
                  <a:pt x="10125947" y="873981"/>
                  <a:pt x="10127295" y="870146"/>
                  <a:pt x="10129989" y="867331"/>
                </a:cubicBezTo>
                <a:cubicBezTo>
                  <a:pt x="10132684" y="864475"/>
                  <a:pt x="10136318" y="863047"/>
                  <a:pt x="10140850" y="863047"/>
                </a:cubicBezTo>
                <a:cubicBezTo>
                  <a:pt x="10145341" y="863047"/>
                  <a:pt x="10148975" y="864475"/>
                  <a:pt x="10151670" y="867372"/>
                </a:cubicBezTo>
                <a:cubicBezTo>
                  <a:pt x="10154364" y="870268"/>
                  <a:pt x="10155712" y="874185"/>
                  <a:pt x="10155712" y="879080"/>
                </a:cubicBezTo>
                <a:cubicBezTo>
                  <a:pt x="10155712" y="879080"/>
                  <a:pt x="10155712" y="879080"/>
                  <a:pt x="10155712" y="925343"/>
                </a:cubicBezTo>
                <a:cubicBezTo>
                  <a:pt x="10155712" y="926322"/>
                  <a:pt x="10156202" y="926812"/>
                  <a:pt x="10157182" y="926812"/>
                </a:cubicBezTo>
                <a:cubicBezTo>
                  <a:pt x="10157182" y="926812"/>
                  <a:pt x="10157182" y="926812"/>
                  <a:pt x="10168246" y="926812"/>
                </a:cubicBezTo>
                <a:cubicBezTo>
                  <a:pt x="10169226" y="926812"/>
                  <a:pt x="10169716" y="926322"/>
                  <a:pt x="10169716" y="925343"/>
                </a:cubicBezTo>
                <a:cubicBezTo>
                  <a:pt x="10169716" y="925343"/>
                  <a:pt x="10169716" y="925343"/>
                  <a:pt x="10169716" y="878795"/>
                </a:cubicBezTo>
                <a:cubicBezTo>
                  <a:pt x="10169716" y="873981"/>
                  <a:pt x="10171145" y="870146"/>
                  <a:pt x="10174003" y="867331"/>
                </a:cubicBezTo>
                <a:cubicBezTo>
                  <a:pt x="10176861" y="864475"/>
                  <a:pt x="10180536" y="863047"/>
                  <a:pt x="10185027" y="863047"/>
                </a:cubicBezTo>
                <a:cubicBezTo>
                  <a:pt x="10189559" y="863047"/>
                  <a:pt x="10193193" y="864475"/>
                  <a:pt x="10195888" y="867372"/>
                </a:cubicBezTo>
                <a:cubicBezTo>
                  <a:pt x="10198583" y="870268"/>
                  <a:pt x="10199930" y="874185"/>
                  <a:pt x="10199930" y="879080"/>
                </a:cubicBezTo>
                <a:cubicBezTo>
                  <a:pt x="10199930" y="879080"/>
                  <a:pt x="10199930" y="879080"/>
                  <a:pt x="10199930" y="925343"/>
                </a:cubicBezTo>
                <a:cubicBezTo>
                  <a:pt x="10199930" y="926322"/>
                  <a:pt x="10200420" y="926812"/>
                  <a:pt x="10201400" y="926812"/>
                </a:cubicBezTo>
                <a:cubicBezTo>
                  <a:pt x="10201400" y="926812"/>
                  <a:pt x="10201400" y="926812"/>
                  <a:pt x="10212464" y="926812"/>
                </a:cubicBezTo>
                <a:cubicBezTo>
                  <a:pt x="10213444" y="926812"/>
                  <a:pt x="10213934" y="926322"/>
                  <a:pt x="10213934" y="925343"/>
                </a:cubicBezTo>
                <a:cubicBezTo>
                  <a:pt x="10213934" y="925343"/>
                  <a:pt x="10213934" y="925343"/>
                  <a:pt x="10213934" y="876143"/>
                </a:cubicBezTo>
                <a:cubicBezTo>
                  <a:pt x="10213934" y="868187"/>
                  <a:pt x="10211770" y="861987"/>
                  <a:pt x="10207442" y="857540"/>
                </a:cubicBezTo>
                <a:cubicBezTo>
                  <a:pt x="10203114" y="853052"/>
                  <a:pt x="10197235" y="850808"/>
                  <a:pt x="10189763" y="850808"/>
                </a:cubicBezTo>
                <a:cubicBezTo>
                  <a:pt x="10185027" y="850808"/>
                  <a:pt x="10180740" y="851747"/>
                  <a:pt x="10176861" y="853623"/>
                </a:cubicBezTo>
                <a:cubicBezTo>
                  <a:pt x="10172982" y="855459"/>
                  <a:pt x="10169879" y="858315"/>
                  <a:pt x="10167511" y="862150"/>
                </a:cubicBezTo>
                <a:cubicBezTo>
                  <a:pt x="10167226" y="862558"/>
                  <a:pt x="10166899" y="862558"/>
                  <a:pt x="10166613" y="862150"/>
                </a:cubicBezTo>
                <a:cubicBezTo>
                  <a:pt x="10164653" y="858437"/>
                  <a:pt x="10161918" y="855622"/>
                  <a:pt x="10158366" y="853705"/>
                </a:cubicBezTo>
                <a:cubicBezTo>
                  <a:pt x="10154813" y="851787"/>
                  <a:pt x="10150567" y="850808"/>
                  <a:pt x="10145545" y="850808"/>
                </a:cubicBezTo>
                <a:close/>
                <a:moveTo>
                  <a:pt x="9981055" y="850808"/>
                </a:moveTo>
                <a:cubicBezTo>
                  <a:pt x="9973485" y="850808"/>
                  <a:pt x="9967019" y="852765"/>
                  <a:pt x="9961699" y="856678"/>
                </a:cubicBezTo>
                <a:cubicBezTo>
                  <a:pt x="9956379" y="860591"/>
                  <a:pt x="9952818" y="865931"/>
                  <a:pt x="9951059" y="872738"/>
                </a:cubicBezTo>
                <a:cubicBezTo>
                  <a:pt x="9949995" y="876447"/>
                  <a:pt x="9949422" y="881909"/>
                  <a:pt x="9949422" y="889043"/>
                </a:cubicBezTo>
                <a:cubicBezTo>
                  <a:pt x="9949422" y="897276"/>
                  <a:pt x="9950608" y="904287"/>
                  <a:pt x="9952982" y="910076"/>
                </a:cubicBezTo>
                <a:cubicBezTo>
                  <a:pt x="9955437" y="915864"/>
                  <a:pt x="9959121" y="920348"/>
                  <a:pt x="9964072" y="923486"/>
                </a:cubicBezTo>
                <a:cubicBezTo>
                  <a:pt x="9968983" y="926625"/>
                  <a:pt x="9975040" y="928174"/>
                  <a:pt x="9982242" y="928174"/>
                </a:cubicBezTo>
                <a:cubicBezTo>
                  <a:pt x="9988626" y="928174"/>
                  <a:pt x="9994356" y="926910"/>
                  <a:pt x="9999430" y="924342"/>
                </a:cubicBezTo>
                <a:cubicBezTo>
                  <a:pt x="10004505" y="921815"/>
                  <a:pt x="10008433" y="918350"/>
                  <a:pt x="10011175" y="913907"/>
                </a:cubicBezTo>
                <a:cubicBezTo>
                  <a:pt x="10011584" y="913214"/>
                  <a:pt x="10011421" y="912603"/>
                  <a:pt x="10010725" y="911991"/>
                </a:cubicBezTo>
                <a:cubicBezTo>
                  <a:pt x="10010725" y="911991"/>
                  <a:pt x="10010725" y="911991"/>
                  <a:pt x="10002336" y="906407"/>
                </a:cubicBezTo>
                <a:cubicBezTo>
                  <a:pt x="10001517" y="905714"/>
                  <a:pt x="10000903" y="905877"/>
                  <a:pt x="10000412" y="906855"/>
                </a:cubicBezTo>
                <a:cubicBezTo>
                  <a:pt x="9996483" y="912847"/>
                  <a:pt x="9990836" y="915823"/>
                  <a:pt x="9983552" y="915823"/>
                </a:cubicBezTo>
                <a:cubicBezTo>
                  <a:pt x="9978559" y="915823"/>
                  <a:pt x="9974385" y="914722"/>
                  <a:pt x="9971070" y="912521"/>
                </a:cubicBezTo>
                <a:cubicBezTo>
                  <a:pt x="9967796" y="910320"/>
                  <a:pt x="9965586" y="907263"/>
                  <a:pt x="9964522" y="903309"/>
                </a:cubicBezTo>
                <a:cubicBezTo>
                  <a:pt x="9963908" y="901556"/>
                  <a:pt x="9963622" y="898988"/>
                  <a:pt x="9963622" y="895687"/>
                </a:cubicBezTo>
                <a:cubicBezTo>
                  <a:pt x="9963622" y="895279"/>
                  <a:pt x="9963827" y="895075"/>
                  <a:pt x="9964195" y="895075"/>
                </a:cubicBezTo>
                <a:cubicBezTo>
                  <a:pt x="9964195" y="895075"/>
                  <a:pt x="9964195" y="895075"/>
                  <a:pt x="10011339" y="895075"/>
                </a:cubicBezTo>
                <a:cubicBezTo>
                  <a:pt x="10012321" y="895075"/>
                  <a:pt x="10012812" y="894586"/>
                  <a:pt x="10012812" y="893608"/>
                </a:cubicBezTo>
                <a:cubicBezTo>
                  <a:pt x="10012894" y="888594"/>
                  <a:pt x="10012771" y="884110"/>
                  <a:pt x="10012362" y="880075"/>
                </a:cubicBezTo>
                <a:cubicBezTo>
                  <a:pt x="10011298" y="870455"/>
                  <a:pt x="10008270" y="863200"/>
                  <a:pt x="10003359" y="858227"/>
                </a:cubicBezTo>
                <a:cubicBezTo>
                  <a:pt x="9998448" y="853254"/>
                  <a:pt x="9991000" y="850808"/>
                  <a:pt x="9981055" y="850808"/>
                </a:cubicBezTo>
                <a:close/>
                <a:moveTo>
                  <a:pt x="9905245" y="850808"/>
                </a:moveTo>
                <a:cubicBezTo>
                  <a:pt x="9897002" y="850808"/>
                  <a:pt x="9890759" y="853501"/>
                  <a:pt x="9886515" y="858927"/>
                </a:cubicBezTo>
                <a:cubicBezTo>
                  <a:pt x="9886433" y="859131"/>
                  <a:pt x="9886311" y="859172"/>
                  <a:pt x="9886189" y="859049"/>
                </a:cubicBezTo>
                <a:cubicBezTo>
                  <a:pt x="9886025" y="858968"/>
                  <a:pt x="9885944" y="858804"/>
                  <a:pt x="9885944" y="858641"/>
                </a:cubicBezTo>
                <a:cubicBezTo>
                  <a:pt x="9885944" y="858641"/>
                  <a:pt x="9885944" y="858641"/>
                  <a:pt x="9885944" y="853338"/>
                </a:cubicBezTo>
                <a:cubicBezTo>
                  <a:pt x="9885944" y="852359"/>
                  <a:pt x="9885454" y="851869"/>
                  <a:pt x="9884475" y="851869"/>
                </a:cubicBezTo>
                <a:cubicBezTo>
                  <a:pt x="9884475" y="851869"/>
                  <a:pt x="9884475" y="851869"/>
                  <a:pt x="9873294" y="851869"/>
                </a:cubicBezTo>
                <a:cubicBezTo>
                  <a:pt x="9872315" y="851869"/>
                  <a:pt x="9871784" y="852359"/>
                  <a:pt x="9871784" y="853338"/>
                </a:cubicBezTo>
                <a:cubicBezTo>
                  <a:pt x="9871784" y="853338"/>
                  <a:pt x="9871784" y="853338"/>
                  <a:pt x="9871784" y="925343"/>
                </a:cubicBezTo>
                <a:cubicBezTo>
                  <a:pt x="9871784" y="926322"/>
                  <a:pt x="9872315" y="926812"/>
                  <a:pt x="9873294" y="926812"/>
                </a:cubicBezTo>
                <a:cubicBezTo>
                  <a:pt x="9873294" y="926812"/>
                  <a:pt x="9873294" y="926812"/>
                  <a:pt x="9884475" y="926812"/>
                </a:cubicBezTo>
                <a:cubicBezTo>
                  <a:pt x="9885454" y="926812"/>
                  <a:pt x="9885944" y="926322"/>
                  <a:pt x="9885944" y="925343"/>
                </a:cubicBezTo>
                <a:cubicBezTo>
                  <a:pt x="9885944" y="925343"/>
                  <a:pt x="9885944" y="925343"/>
                  <a:pt x="9885944" y="879406"/>
                </a:cubicBezTo>
                <a:cubicBezTo>
                  <a:pt x="9885944" y="874593"/>
                  <a:pt x="9887413" y="870635"/>
                  <a:pt x="9890351" y="867616"/>
                </a:cubicBezTo>
                <a:cubicBezTo>
                  <a:pt x="9893330" y="864557"/>
                  <a:pt x="9897084" y="863047"/>
                  <a:pt x="9901695" y="863047"/>
                </a:cubicBezTo>
                <a:cubicBezTo>
                  <a:pt x="9906428" y="863047"/>
                  <a:pt x="9910183" y="864557"/>
                  <a:pt x="9913039" y="867616"/>
                </a:cubicBezTo>
                <a:cubicBezTo>
                  <a:pt x="9915895" y="870635"/>
                  <a:pt x="9917324" y="874633"/>
                  <a:pt x="9917324" y="879529"/>
                </a:cubicBezTo>
                <a:cubicBezTo>
                  <a:pt x="9917324" y="879529"/>
                  <a:pt x="9917324" y="879529"/>
                  <a:pt x="9917324" y="925343"/>
                </a:cubicBezTo>
                <a:cubicBezTo>
                  <a:pt x="9917324" y="926322"/>
                  <a:pt x="9917813" y="926812"/>
                  <a:pt x="9918793" y="926812"/>
                </a:cubicBezTo>
                <a:cubicBezTo>
                  <a:pt x="9918793" y="926812"/>
                  <a:pt x="9918793" y="926812"/>
                  <a:pt x="9929973" y="926812"/>
                </a:cubicBezTo>
                <a:cubicBezTo>
                  <a:pt x="9930953" y="926812"/>
                  <a:pt x="9931443" y="926322"/>
                  <a:pt x="9931443" y="925343"/>
                </a:cubicBezTo>
                <a:cubicBezTo>
                  <a:pt x="9931443" y="925343"/>
                  <a:pt x="9931443" y="925343"/>
                  <a:pt x="9931443" y="876755"/>
                </a:cubicBezTo>
                <a:cubicBezTo>
                  <a:pt x="9931443" y="868799"/>
                  <a:pt x="9929117" y="862476"/>
                  <a:pt x="9924383" y="857825"/>
                </a:cubicBezTo>
                <a:cubicBezTo>
                  <a:pt x="9919690" y="853134"/>
                  <a:pt x="9913284" y="850808"/>
                  <a:pt x="9905245" y="850808"/>
                </a:cubicBezTo>
                <a:close/>
                <a:moveTo>
                  <a:pt x="9766238" y="850808"/>
                </a:moveTo>
                <a:cubicBezTo>
                  <a:pt x="9758695" y="850808"/>
                  <a:pt x="9752252" y="852765"/>
                  <a:pt x="9746952" y="856678"/>
                </a:cubicBezTo>
                <a:cubicBezTo>
                  <a:pt x="9741651" y="860591"/>
                  <a:pt x="9738145" y="865931"/>
                  <a:pt x="9736351" y="872738"/>
                </a:cubicBezTo>
                <a:cubicBezTo>
                  <a:pt x="9735290" y="876447"/>
                  <a:pt x="9734761" y="881909"/>
                  <a:pt x="9734761" y="889043"/>
                </a:cubicBezTo>
                <a:cubicBezTo>
                  <a:pt x="9734761" y="897276"/>
                  <a:pt x="9735902" y="904287"/>
                  <a:pt x="9738267" y="910076"/>
                </a:cubicBezTo>
                <a:cubicBezTo>
                  <a:pt x="9740713" y="915864"/>
                  <a:pt x="9744383" y="920348"/>
                  <a:pt x="9749317" y="923486"/>
                </a:cubicBezTo>
                <a:cubicBezTo>
                  <a:pt x="9754210" y="926625"/>
                  <a:pt x="9760244" y="928174"/>
                  <a:pt x="9767420" y="928174"/>
                </a:cubicBezTo>
                <a:cubicBezTo>
                  <a:pt x="9773781" y="928174"/>
                  <a:pt x="9779490" y="926910"/>
                  <a:pt x="9784545" y="924342"/>
                </a:cubicBezTo>
                <a:cubicBezTo>
                  <a:pt x="9789601" y="921815"/>
                  <a:pt x="9793516" y="918350"/>
                  <a:pt x="9796248" y="913907"/>
                </a:cubicBezTo>
                <a:cubicBezTo>
                  <a:pt x="9796655" y="913214"/>
                  <a:pt x="9796492" y="912603"/>
                  <a:pt x="9795799" y="911991"/>
                </a:cubicBezTo>
                <a:cubicBezTo>
                  <a:pt x="9795799" y="911991"/>
                  <a:pt x="9795799" y="911991"/>
                  <a:pt x="9787441" y="906407"/>
                </a:cubicBezTo>
                <a:cubicBezTo>
                  <a:pt x="9786625" y="905714"/>
                  <a:pt x="9786013" y="905877"/>
                  <a:pt x="9785524" y="906855"/>
                </a:cubicBezTo>
                <a:cubicBezTo>
                  <a:pt x="9781610" y="912847"/>
                  <a:pt x="9775983" y="915823"/>
                  <a:pt x="9768725" y="915823"/>
                </a:cubicBezTo>
                <a:cubicBezTo>
                  <a:pt x="9763751" y="915823"/>
                  <a:pt x="9759592" y="914722"/>
                  <a:pt x="9756289" y="912521"/>
                </a:cubicBezTo>
                <a:cubicBezTo>
                  <a:pt x="9753027" y="910320"/>
                  <a:pt x="9750826" y="907263"/>
                  <a:pt x="9749765" y="903309"/>
                </a:cubicBezTo>
                <a:cubicBezTo>
                  <a:pt x="9749154" y="901556"/>
                  <a:pt x="9748868" y="898988"/>
                  <a:pt x="9748868" y="895687"/>
                </a:cubicBezTo>
                <a:cubicBezTo>
                  <a:pt x="9748868" y="895279"/>
                  <a:pt x="9749072" y="895075"/>
                  <a:pt x="9749439" y="895075"/>
                </a:cubicBezTo>
                <a:cubicBezTo>
                  <a:pt x="9749439" y="895075"/>
                  <a:pt x="9749439" y="895075"/>
                  <a:pt x="9796411" y="895075"/>
                </a:cubicBezTo>
                <a:cubicBezTo>
                  <a:pt x="9797389" y="895075"/>
                  <a:pt x="9797879" y="894586"/>
                  <a:pt x="9797879" y="893608"/>
                </a:cubicBezTo>
                <a:cubicBezTo>
                  <a:pt x="9797960" y="888594"/>
                  <a:pt x="9797838" y="884110"/>
                  <a:pt x="9797430" y="880075"/>
                </a:cubicBezTo>
                <a:cubicBezTo>
                  <a:pt x="9796370" y="870455"/>
                  <a:pt x="9793353" y="863200"/>
                  <a:pt x="9788460" y="858227"/>
                </a:cubicBezTo>
                <a:cubicBezTo>
                  <a:pt x="9783567" y="853254"/>
                  <a:pt x="9776146" y="850808"/>
                  <a:pt x="9766238" y="850808"/>
                </a:cubicBezTo>
                <a:close/>
                <a:moveTo>
                  <a:pt x="9636101" y="850808"/>
                </a:moveTo>
                <a:cubicBezTo>
                  <a:pt x="9627859" y="850808"/>
                  <a:pt x="9621615" y="853501"/>
                  <a:pt x="9617371" y="858927"/>
                </a:cubicBezTo>
                <a:cubicBezTo>
                  <a:pt x="9617290" y="859131"/>
                  <a:pt x="9617167" y="859172"/>
                  <a:pt x="9617004" y="859049"/>
                </a:cubicBezTo>
                <a:cubicBezTo>
                  <a:pt x="9616841" y="858968"/>
                  <a:pt x="9616800" y="858804"/>
                  <a:pt x="9616800" y="858641"/>
                </a:cubicBezTo>
                <a:cubicBezTo>
                  <a:pt x="9616800" y="858641"/>
                  <a:pt x="9616800" y="858641"/>
                  <a:pt x="9616800" y="853338"/>
                </a:cubicBezTo>
                <a:cubicBezTo>
                  <a:pt x="9616800" y="852359"/>
                  <a:pt x="9616311" y="851869"/>
                  <a:pt x="9615331" y="851869"/>
                </a:cubicBezTo>
                <a:cubicBezTo>
                  <a:pt x="9615331" y="851869"/>
                  <a:pt x="9615331" y="851869"/>
                  <a:pt x="9604109" y="851869"/>
                </a:cubicBezTo>
                <a:cubicBezTo>
                  <a:pt x="9603130" y="851869"/>
                  <a:pt x="9602640" y="852359"/>
                  <a:pt x="9602640" y="853338"/>
                </a:cubicBezTo>
                <a:cubicBezTo>
                  <a:pt x="9602640" y="853338"/>
                  <a:pt x="9602640" y="853338"/>
                  <a:pt x="9602640" y="925343"/>
                </a:cubicBezTo>
                <a:cubicBezTo>
                  <a:pt x="9602640" y="926322"/>
                  <a:pt x="9603130" y="926812"/>
                  <a:pt x="9604109" y="926812"/>
                </a:cubicBezTo>
                <a:cubicBezTo>
                  <a:pt x="9604109" y="926812"/>
                  <a:pt x="9604109" y="926812"/>
                  <a:pt x="9615331" y="926812"/>
                </a:cubicBezTo>
                <a:cubicBezTo>
                  <a:pt x="9616311" y="926812"/>
                  <a:pt x="9616800" y="926322"/>
                  <a:pt x="9616800" y="925343"/>
                </a:cubicBezTo>
                <a:cubicBezTo>
                  <a:pt x="9616800" y="925343"/>
                  <a:pt x="9616800" y="925343"/>
                  <a:pt x="9616800" y="879406"/>
                </a:cubicBezTo>
                <a:cubicBezTo>
                  <a:pt x="9616800" y="874593"/>
                  <a:pt x="9618269" y="870635"/>
                  <a:pt x="9621207" y="867616"/>
                </a:cubicBezTo>
                <a:cubicBezTo>
                  <a:pt x="9624145" y="864557"/>
                  <a:pt x="9627940" y="863047"/>
                  <a:pt x="9632551" y="863047"/>
                </a:cubicBezTo>
                <a:cubicBezTo>
                  <a:pt x="9637285" y="863047"/>
                  <a:pt x="9641039" y="864557"/>
                  <a:pt x="9643895" y="867616"/>
                </a:cubicBezTo>
                <a:cubicBezTo>
                  <a:pt x="9646752" y="870635"/>
                  <a:pt x="9648180" y="874633"/>
                  <a:pt x="9648180" y="879529"/>
                </a:cubicBezTo>
                <a:cubicBezTo>
                  <a:pt x="9648180" y="879529"/>
                  <a:pt x="9648180" y="879529"/>
                  <a:pt x="9648180" y="925343"/>
                </a:cubicBezTo>
                <a:cubicBezTo>
                  <a:pt x="9648180" y="926322"/>
                  <a:pt x="9648669" y="926812"/>
                  <a:pt x="9649649" y="926812"/>
                </a:cubicBezTo>
                <a:cubicBezTo>
                  <a:pt x="9649649" y="926812"/>
                  <a:pt x="9649649" y="926812"/>
                  <a:pt x="9660830" y="926812"/>
                </a:cubicBezTo>
                <a:cubicBezTo>
                  <a:pt x="9661809" y="926812"/>
                  <a:pt x="9662299" y="926322"/>
                  <a:pt x="9662299" y="925343"/>
                </a:cubicBezTo>
                <a:cubicBezTo>
                  <a:pt x="9662299" y="925343"/>
                  <a:pt x="9662299" y="925343"/>
                  <a:pt x="9662299" y="876755"/>
                </a:cubicBezTo>
                <a:cubicBezTo>
                  <a:pt x="9662299" y="868799"/>
                  <a:pt x="9659932" y="862476"/>
                  <a:pt x="9655239" y="857825"/>
                </a:cubicBezTo>
                <a:cubicBezTo>
                  <a:pt x="9650506" y="853134"/>
                  <a:pt x="9644140" y="850808"/>
                  <a:pt x="9636101" y="850808"/>
                </a:cubicBezTo>
                <a:close/>
                <a:moveTo>
                  <a:pt x="9690130" y="832284"/>
                </a:moveTo>
                <a:cubicBezTo>
                  <a:pt x="9689147" y="832284"/>
                  <a:pt x="9688656" y="832774"/>
                  <a:pt x="9688656" y="833755"/>
                </a:cubicBezTo>
                <a:cubicBezTo>
                  <a:pt x="9688656" y="833755"/>
                  <a:pt x="9688656" y="833755"/>
                  <a:pt x="9688656" y="851154"/>
                </a:cubicBezTo>
                <a:cubicBezTo>
                  <a:pt x="9688656" y="851563"/>
                  <a:pt x="9688451" y="851726"/>
                  <a:pt x="9688082" y="851726"/>
                </a:cubicBezTo>
                <a:cubicBezTo>
                  <a:pt x="9688082" y="851726"/>
                  <a:pt x="9688082" y="851726"/>
                  <a:pt x="9679070" y="851726"/>
                </a:cubicBezTo>
                <a:cubicBezTo>
                  <a:pt x="9678086" y="851726"/>
                  <a:pt x="9677554" y="852257"/>
                  <a:pt x="9677554" y="853237"/>
                </a:cubicBezTo>
                <a:cubicBezTo>
                  <a:pt x="9677554" y="853237"/>
                  <a:pt x="9677554" y="853237"/>
                  <a:pt x="9677554" y="861937"/>
                </a:cubicBezTo>
                <a:cubicBezTo>
                  <a:pt x="9677554" y="862918"/>
                  <a:pt x="9678086" y="863408"/>
                  <a:pt x="9679070" y="863408"/>
                </a:cubicBezTo>
                <a:cubicBezTo>
                  <a:pt x="9679070" y="863408"/>
                  <a:pt x="9679070" y="863408"/>
                  <a:pt x="9688082" y="863408"/>
                </a:cubicBezTo>
                <a:cubicBezTo>
                  <a:pt x="9688451" y="863408"/>
                  <a:pt x="9688656" y="863612"/>
                  <a:pt x="9688656" y="863980"/>
                </a:cubicBezTo>
                <a:cubicBezTo>
                  <a:pt x="9688656" y="863980"/>
                  <a:pt x="9688656" y="863980"/>
                  <a:pt x="9688656" y="908051"/>
                </a:cubicBezTo>
                <a:cubicBezTo>
                  <a:pt x="9688656" y="915362"/>
                  <a:pt x="9690581" y="920345"/>
                  <a:pt x="9694350" y="923040"/>
                </a:cubicBezTo>
                <a:cubicBezTo>
                  <a:pt x="9698160" y="925736"/>
                  <a:pt x="9703813" y="927084"/>
                  <a:pt x="9711310" y="927084"/>
                </a:cubicBezTo>
                <a:cubicBezTo>
                  <a:pt x="9712662" y="927084"/>
                  <a:pt x="9714956" y="927002"/>
                  <a:pt x="9718111" y="926798"/>
                </a:cubicBezTo>
                <a:cubicBezTo>
                  <a:pt x="9719094" y="926798"/>
                  <a:pt x="9719585" y="926308"/>
                  <a:pt x="9719585" y="925328"/>
                </a:cubicBezTo>
                <a:cubicBezTo>
                  <a:pt x="9719585" y="925328"/>
                  <a:pt x="9719585" y="925328"/>
                  <a:pt x="9719585" y="916179"/>
                </a:cubicBezTo>
                <a:cubicBezTo>
                  <a:pt x="9719585" y="915198"/>
                  <a:pt x="9719094" y="914708"/>
                  <a:pt x="9718111" y="914708"/>
                </a:cubicBezTo>
                <a:cubicBezTo>
                  <a:pt x="9718111" y="914708"/>
                  <a:pt x="9718111" y="914708"/>
                  <a:pt x="9713809" y="914708"/>
                </a:cubicBezTo>
                <a:cubicBezTo>
                  <a:pt x="9709876" y="914708"/>
                  <a:pt x="9706968" y="913810"/>
                  <a:pt x="9705083" y="911972"/>
                </a:cubicBezTo>
                <a:cubicBezTo>
                  <a:pt x="9703199" y="910175"/>
                  <a:pt x="9702256" y="907193"/>
                  <a:pt x="9702256" y="903068"/>
                </a:cubicBezTo>
                <a:cubicBezTo>
                  <a:pt x="9702256" y="903068"/>
                  <a:pt x="9702256" y="903068"/>
                  <a:pt x="9702256" y="863980"/>
                </a:cubicBezTo>
                <a:cubicBezTo>
                  <a:pt x="9702256" y="863612"/>
                  <a:pt x="9702462" y="863408"/>
                  <a:pt x="9702871" y="863408"/>
                </a:cubicBezTo>
                <a:cubicBezTo>
                  <a:pt x="9702871" y="863408"/>
                  <a:pt x="9702871" y="863408"/>
                  <a:pt x="9718848" y="863408"/>
                </a:cubicBezTo>
                <a:cubicBezTo>
                  <a:pt x="9719831" y="863408"/>
                  <a:pt x="9720323" y="862918"/>
                  <a:pt x="9720323" y="861937"/>
                </a:cubicBezTo>
                <a:cubicBezTo>
                  <a:pt x="9720323" y="861937"/>
                  <a:pt x="9720323" y="861937"/>
                  <a:pt x="9720323" y="853237"/>
                </a:cubicBezTo>
                <a:cubicBezTo>
                  <a:pt x="9720323" y="852257"/>
                  <a:pt x="9719831" y="851726"/>
                  <a:pt x="9718848" y="851726"/>
                </a:cubicBezTo>
                <a:cubicBezTo>
                  <a:pt x="9718848" y="851726"/>
                  <a:pt x="9718848" y="851726"/>
                  <a:pt x="9702871" y="851726"/>
                </a:cubicBezTo>
                <a:cubicBezTo>
                  <a:pt x="9702462" y="851726"/>
                  <a:pt x="9702256" y="851563"/>
                  <a:pt x="9702256" y="851154"/>
                </a:cubicBezTo>
                <a:cubicBezTo>
                  <a:pt x="9702256" y="851154"/>
                  <a:pt x="9702256" y="851154"/>
                  <a:pt x="9702256" y="833755"/>
                </a:cubicBezTo>
                <a:cubicBezTo>
                  <a:pt x="9702256" y="832774"/>
                  <a:pt x="9701765" y="832284"/>
                  <a:pt x="9700782" y="832284"/>
                </a:cubicBezTo>
                <a:cubicBezTo>
                  <a:pt x="9700782" y="832284"/>
                  <a:pt x="9700782" y="832284"/>
                  <a:pt x="9690130" y="832284"/>
                </a:cubicBezTo>
                <a:close/>
                <a:moveTo>
                  <a:pt x="10032887" y="823839"/>
                </a:moveTo>
                <a:cubicBezTo>
                  <a:pt x="10031907" y="823839"/>
                  <a:pt x="10031418" y="824328"/>
                  <a:pt x="10031418" y="825306"/>
                </a:cubicBezTo>
                <a:cubicBezTo>
                  <a:pt x="10031418" y="825306"/>
                  <a:pt x="10031418" y="825306"/>
                  <a:pt x="10031418" y="925345"/>
                </a:cubicBezTo>
                <a:cubicBezTo>
                  <a:pt x="10031418" y="926323"/>
                  <a:pt x="10031907" y="926811"/>
                  <a:pt x="10032887" y="926811"/>
                </a:cubicBezTo>
                <a:cubicBezTo>
                  <a:pt x="10032887" y="926811"/>
                  <a:pt x="10032887" y="926811"/>
                  <a:pt x="10044068" y="926811"/>
                </a:cubicBezTo>
                <a:cubicBezTo>
                  <a:pt x="10045047" y="926811"/>
                  <a:pt x="10045537" y="926323"/>
                  <a:pt x="10045537" y="925345"/>
                </a:cubicBezTo>
                <a:cubicBezTo>
                  <a:pt x="10045537" y="925345"/>
                  <a:pt x="10045537" y="925345"/>
                  <a:pt x="10045537" y="879461"/>
                </a:cubicBezTo>
                <a:cubicBezTo>
                  <a:pt x="10045537" y="874653"/>
                  <a:pt x="10047046" y="870700"/>
                  <a:pt x="10049984" y="867685"/>
                </a:cubicBezTo>
                <a:cubicBezTo>
                  <a:pt x="10052923" y="864629"/>
                  <a:pt x="10056717" y="863121"/>
                  <a:pt x="10061329" y="863121"/>
                </a:cubicBezTo>
                <a:cubicBezTo>
                  <a:pt x="10066021" y="863121"/>
                  <a:pt x="10069816" y="864629"/>
                  <a:pt x="10072673" y="867685"/>
                </a:cubicBezTo>
                <a:cubicBezTo>
                  <a:pt x="10075488" y="870700"/>
                  <a:pt x="10076917" y="874694"/>
                  <a:pt x="10076917" y="879584"/>
                </a:cubicBezTo>
                <a:cubicBezTo>
                  <a:pt x="10076917" y="879584"/>
                  <a:pt x="10076917" y="879584"/>
                  <a:pt x="10076917" y="925345"/>
                </a:cubicBezTo>
                <a:cubicBezTo>
                  <a:pt x="10076917" y="926323"/>
                  <a:pt x="10077406" y="926811"/>
                  <a:pt x="10078386" y="926811"/>
                </a:cubicBezTo>
                <a:cubicBezTo>
                  <a:pt x="10078386" y="926811"/>
                  <a:pt x="10078386" y="926811"/>
                  <a:pt x="10089607" y="926811"/>
                </a:cubicBezTo>
                <a:cubicBezTo>
                  <a:pt x="10090587" y="926811"/>
                  <a:pt x="10091076" y="926323"/>
                  <a:pt x="10091076" y="925345"/>
                </a:cubicBezTo>
                <a:cubicBezTo>
                  <a:pt x="10091076" y="925345"/>
                  <a:pt x="10091076" y="925345"/>
                  <a:pt x="10091076" y="876813"/>
                </a:cubicBezTo>
                <a:cubicBezTo>
                  <a:pt x="10091076" y="868867"/>
                  <a:pt x="10088709" y="862551"/>
                  <a:pt x="10084017" y="857905"/>
                </a:cubicBezTo>
                <a:cubicBezTo>
                  <a:pt x="10079283" y="853219"/>
                  <a:pt x="10072917" y="850897"/>
                  <a:pt x="10064838" y="850897"/>
                </a:cubicBezTo>
                <a:cubicBezTo>
                  <a:pt x="10056595" y="850897"/>
                  <a:pt x="10050352" y="853586"/>
                  <a:pt x="10046149" y="859006"/>
                </a:cubicBezTo>
                <a:cubicBezTo>
                  <a:pt x="10046026" y="859209"/>
                  <a:pt x="10045904" y="859250"/>
                  <a:pt x="10045781" y="859128"/>
                </a:cubicBezTo>
                <a:cubicBezTo>
                  <a:pt x="10045618" y="859046"/>
                  <a:pt x="10045537" y="858883"/>
                  <a:pt x="10045537" y="858720"/>
                </a:cubicBezTo>
                <a:cubicBezTo>
                  <a:pt x="10045537" y="858720"/>
                  <a:pt x="10045537" y="858720"/>
                  <a:pt x="10045537" y="825306"/>
                </a:cubicBezTo>
                <a:cubicBezTo>
                  <a:pt x="10045537" y="824328"/>
                  <a:pt x="10045047" y="823839"/>
                  <a:pt x="10044068" y="823839"/>
                </a:cubicBezTo>
                <a:cubicBezTo>
                  <a:pt x="10044068" y="823839"/>
                  <a:pt x="10044068" y="823839"/>
                  <a:pt x="10032887" y="823839"/>
                </a:cubicBezTo>
                <a:close/>
                <a:moveTo>
                  <a:pt x="10864455" y="821115"/>
                </a:moveTo>
                <a:cubicBezTo>
                  <a:pt x="10861689" y="821115"/>
                  <a:pt x="10859419" y="821982"/>
                  <a:pt x="10857603" y="823798"/>
                </a:cubicBezTo>
                <a:cubicBezTo>
                  <a:pt x="10855829" y="825573"/>
                  <a:pt x="10854920" y="827843"/>
                  <a:pt x="10854920" y="830650"/>
                </a:cubicBezTo>
                <a:cubicBezTo>
                  <a:pt x="10854920" y="833415"/>
                  <a:pt x="10855829" y="835685"/>
                  <a:pt x="10857603" y="837501"/>
                </a:cubicBezTo>
                <a:cubicBezTo>
                  <a:pt x="10859419" y="839276"/>
                  <a:pt x="10861689" y="840184"/>
                  <a:pt x="10864455" y="840184"/>
                </a:cubicBezTo>
                <a:cubicBezTo>
                  <a:pt x="10867261" y="840184"/>
                  <a:pt x="10869532" y="839276"/>
                  <a:pt x="10871348" y="837501"/>
                </a:cubicBezTo>
                <a:cubicBezTo>
                  <a:pt x="10873123" y="835685"/>
                  <a:pt x="10873989" y="833415"/>
                  <a:pt x="10873989" y="830650"/>
                </a:cubicBezTo>
                <a:cubicBezTo>
                  <a:pt x="10873989" y="827843"/>
                  <a:pt x="10873123" y="825573"/>
                  <a:pt x="10871348" y="823798"/>
                </a:cubicBezTo>
                <a:cubicBezTo>
                  <a:pt x="10869532" y="821982"/>
                  <a:pt x="10867261" y="821115"/>
                  <a:pt x="10864455" y="821115"/>
                </a:cubicBezTo>
                <a:close/>
                <a:moveTo>
                  <a:pt x="9016299" y="615717"/>
                </a:moveTo>
                <a:cubicBezTo>
                  <a:pt x="9016299" y="615717"/>
                  <a:pt x="9016299" y="615717"/>
                  <a:pt x="9054063" y="615717"/>
                </a:cubicBezTo>
                <a:cubicBezTo>
                  <a:pt x="9057278" y="615717"/>
                  <a:pt x="9058905" y="617187"/>
                  <a:pt x="9058905" y="620168"/>
                </a:cubicBezTo>
                <a:cubicBezTo>
                  <a:pt x="9058905" y="620168"/>
                  <a:pt x="9058905" y="620168"/>
                  <a:pt x="9058905" y="716582"/>
                </a:cubicBezTo>
                <a:cubicBezTo>
                  <a:pt x="9058905" y="720298"/>
                  <a:pt x="9055853" y="723320"/>
                  <a:pt x="9052110" y="723238"/>
                </a:cubicBezTo>
                <a:cubicBezTo>
                  <a:pt x="9044418" y="723115"/>
                  <a:pt x="9046331" y="722993"/>
                  <a:pt x="9031152" y="722993"/>
                </a:cubicBezTo>
                <a:cubicBezTo>
                  <a:pt x="9031152" y="722993"/>
                  <a:pt x="9031152" y="722993"/>
                  <a:pt x="9016299" y="722993"/>
                </a:cubicBezTo>
                <a:cubicBezTo>
                  <a:pt x="9007713" y="722993"/>
                  <a:pt x="9001690" y="721237"/>
                  <a:pt x="8998231" y="717725"/>
                </a:cubicBezTo>
                <a:cubicBezTo>
                  <a:pt x="8994731" y="714254"/>
                  <a:pt x="8992982" y="708210"/>
                  <a:pt x="8992982" y="699594"/>
                </a:cubicBezTo>
                <a:cubicBezTo>
                  <a:pt x="8992982" y="699594"/>
                  <a:pt x="8992982" y="699594"/>
                  <a:pt x="8992982" y="639524"/>
                </a:cubicBezTo>
                <a:cubicBezTo>
                  <a:pt x="8992982" y="630908"/>
                  <a:pt x="8994731" y="624782"/>
                  <a:pt x="8998231" y="621148"/>
                </a:cubicBezTo>
                <a:cubicBezTo>
                  <a:pt x="9001690" y="617554"/>
                  <a:pt x="9007713" y="615717"/>
                  <a:pt x="9016299" y="615717"/>
                </a:cubicBezTo>
                <a:close/>
                <a:moveTo>
                  <a:pt x="9951829" y="598282"/>
                </a:moveTo>
                <a:cubicBezTo>
                  <a:pt x="9951829" y="598282"/>
                  <a:pt x="9951829" y="598282"/>
                  <a:pt x="9979976" y="598282"/>
                </a:cubicBezTo>
                <a:cubicBezTo>
                  <a:pt x="10002452" y="598282"/>
                  <a:pt x="10013711" y="609799"/>
                  <a:pt x="10013711" y="632833"/>
                </a:cubicBezTo>
                <a:cubicBezTo>
                  <a:pt x="10013711" y="632833"/>
                  <a:pt x="10013711" y="632833"/>
                  <a:pt x="10013711" y="717331"/>
                </a:cubicBezTo>
                <a:cubicBezTo>
                  <a:pt x="10013711" y="740406"/>
                  <a:pt x="10002452" y="751922"/>
                  <a:pt x="9979976" y="751922"/>
                </a:cubicBezTo>
                <a:cubicBezTo>
                  <a:pt x="9979976" y="751922"/>
                  <a:pt x="9979976" y="751922"/>
                  <a:pt x="9951829" y="751922"/>
                </a:cubicBezTo>
                <a:cubicBezTo>
                  <a:pt x="9929353" y="751922"/>
                  <a:pt x="9918094" y="740406"/>
                  <a:pt x="9918094" y="717331"/>
                </a:cubicBezTo>
                <a:cubicBezTo>
                  <a:pt x="9918094" y="717331"/>
                  <a:pt x="9918094" y="717331"/>
                  <a:pt x="9918094" y="632833"/>
                </a:cubicBezTo>
                <a:cubicBezTo>
                  <a:pt x="9918094" y="609799"/>
                  <a:pt x="9929353" y="598282"/>
                  <a:pt x="9951829" y="598282"/>
                </a:cubicBezTo>
                <a:close/>
                <a:moveTo>
                  <a:pt x="10549985" y="598010"/>
                </a:moveTo>
                <a:cubicBezTo>
                  <a:pt x="10549985" y="598010"/>
                  <a:pt x="10549985" y="598010"/>
                  <a:pt x="10606293" y="598010"/>
                </a:cubicBezTo>
                <a:cubicBezTo>
                  <a:pt x="10608988" y="598010"/>
                  <a:pt x="10610294" y="599237"/>
                  <a:pt x="10610294" y="601650"/>
                </a:cubicBezTo>
                <a:cubicBezTo>
                  <a:pt x="10610294" y="601650"/>
                  <a:pt x="10610294" y="601650"/>
                  <a:pt x="10610294" y="714866"/>
                </a:cubicBezTo>
                <a:cubicBezTo>
                  <a:pt x="10610294" y="726686"/>
                  <a:pt x="10607109" y="735807"/>
                  <a:pt x="10600658" y="742270"/>
                </a:cubicBezTo>
                <a:cubicBezTo>
                  <a:pt x="10594206" y="748691"/>
                  <a:pt x="10584978" y="751923"/>
                  <a:pt x="10572892" y="751923"/>
                </a:cubicBezTo>
                <a:cubicBezTo>
                  <a:pt x="10572892" y="751923"/>
                  <a:pt x="10572892" y="751923"/>
                  <a:pt x="10549985" y="751923"/>
                </a:cubicBezTo>
                <a:cubicBezTo>
                  <a:pt x="10527731" y="751923"/>
                  <a:pt x="10516584" y="740225"/>
                  <a:pt x="10516584" y="716870"/>
                </a:cubicBezTo>
                <a:cubicBezTo>
                  <a:pt x="10516584" y="716870"/>
                  <a:pt x="10516584" y="716870"/>
                  <a:pt x="10516584" y="633062"/>
                </a:cubicBezTo>
                <a:cubicBezTo>
                  <a:pt x="10516584" y="609708"/>
                  <a:pt x="10527731" y="598010"/>
                  <a:pt x="10549985" y="598010"/>
                </a:cubicBezTo>
                <a:close/>
                <a:moveTo>
                  <a:pt x="11003356" y="572403"/>
                </a:moveTo>
                <a:cubicBezTo>
                  <a:pt x="10998539" y="572403"/>
                  <a:pt x="10995313" y="574159"/>
                  <a:pt x="10993721" y="577630"/>
                </a:cubicBezTo>
                <a:cubicBezTo>
                  <a:pt x="10993721" y="577630"/>
                  <a:pt x="10993721" y="577630"/>
                  <a:pt x="10936602" y="667717"/>
                </a:cubicBezTo>
                <a:cubicBezTo>
                  <a:pt x="10935010" y="670699"/>
                  <a:pt x="10935010" y="673516"/>
                  <a:pt x="10936602" y="676171"/>
                </a:cubicBezTo>
                <a:cubicBezTo>
                  <a:pt x="10936602" y="676171"/>
                  <a:pt x="10936602" y="676171"/>
                  <a:pt x="10998539" y="771894"/>
                </a:cubicBezTo>
                <a:cubicBezTo>
                  <a:pt x="11000947" y="775692"/>
                  <a:pt x="11004703" y="777529"/>
                  <a:pt x="11009807" y="777529"/>
                </a:cubicBezTo>
                <a:cubicBezTo>
                  <a:pt x="11009807" y="777529"/>
                  <a:pt x="11009807" y="777529"/>
                  <a:pt x="11028670" y="777529"/>
                </a:cubicBezTo>
                <a:cubicBezTo>
                  <a:pt x="11030834" y="777529"/>
                  <a:pt x="11032303" y="776958"/>
                  <a:pt x="11033120" y="775733"/>
                </a:cubicBezTo>
                <a:cubicBezTo>
                  <a:pt x="11033896" y="774548"/>
                  <a:pt x="11033773" y="772996"/>
                  <a:pt x="11032712" y="771118"/>
                </a:cubicBezTo>
                <a:cubicBezTo>
                  <a:pt x="11032712" y="771118"/>
                  <a:pt x="11032712" y="771118"/>
                  <a:pt x="10967550" y="672169"/>
                </a:cubicBezTo>
                <a:cubicBezTo>
                  <a:pt x="10967550" y="672169"/>
                  <a:pt x="10967550" y="672169"/>
                  <a:pt x="10967550" y="670535"/>
                </a:cubicBezTo>
                <a:cubicBezTo>
                  <a:pt x="10967550" y="670535"/>
                  <a:pt x="10967550" y="670535"/>
                  <a:pt x="11026669" y="578855"/>
                </a:cubicBezTo>
                <a:cubicBezTo>
                  <a:pt x="11028017" y="576977"/>
                  <a:pt x="11028343" y="575425"/>
                  <a:pt x="11027690" y="574200"/>
                </a:cubicBezTo>
                <a:cubicBezTo>
                  <a:pt x="11027037" y="573015"/>
                  <a:pt x="11025608" y="572403"/>
                  <a:pt x="11023444" y="572403"/>
                </a:cubicBezTo>
                <a:cubicBezTo>
                  <a:pt x="11023444" y="572403"/>
                  <a:pt x="11023444" y="572403"/>
                  <a:pt x="11003356" y="572403"/>
                </a:cubicBezTo>
                <a:close/>
                <a:moveTo>
                  <a:pt x="10825017" y="572403"/>
                </a:moveTo>
                <a:cubicBezTo>
                  <a:pt x="10821539" y="572403"/>
                  <a:pt x="10819779" y="574281"/>
                  <a:pt x="10819779" y="578038"/>
                </a:cubicBezTo>
                <a:cubicBezTo>
                  <a:pt x="10819779" y="578038"/>
                  <a:pt x="10819779" y="578038"/>
                  <a:pt x="10819779" y="771935"/>
                </a:cubicBezTo>
                <a:cubicBezTo>
                  <a:pt x="10819779" y="775692"/>
                  <a:pt x="10821661" y="777529"/>
                  <a:pt x="10825426" y="777529"/>
                </a:cubicBezTo>
                <a:cubicBezTo>
                  <a:pt x="10825426" y="777529"/>
                  <a:pt x="10825426" y="777529"/>
                  <a:pt x="10843594" y="777529"/>
                </a:cubicBezTo>
                <a:cubicBezTo>
                  <a:pt x="10847317" y="777529"/>
                  <a:pt x="10849200" y="775692"/>
                  <a:pt x="10849200" y="771935"/>
                </a:cubicBezTo>
                <a:cubicBezTo>
                  <a:pt x="10849200" y="771935"/>
                  <a:pt x="10849200" y="771935"/>
                  <a:pt x="10849200" y="578038"/>
                </a:cubicBezTo>
                <a:cubicBezTo>
                  <a:pt x="10849200" y="574281"/>
                  <a:pt x="10847317" y="572403"/>
                  <a:pt x="10843594" y="572403"/>
                </a:cubicBezTo>
                <a:cubicBezTo>
                  <a:pt x="10843594" y="572403"/>
                  <a:pt x="10843594" y="572403"/>
                  <a:pt x="10825017" y="572403"/>
                </a:cubicBezTo>
                <a:close/>
                <a:moveTo>
                  <a:pt x="10546746" y="572403"/>
                </a:moveTo>
                <a:cubicBezTo>
                  <a:pt x="10528234" y="572403"/>
                  <a:pt x="10513685" y="577630"/>
                  <a:pt x="10503101" y="588085"/>
                </a:cubicBezTo>
                <a:cubicBezTo>
                  <a:pt x="10492476" y="598539"/>
                  <a:pt x="10487164" y="613159"/>
                  <a:pt x="10487164" y="631944"/>
                </a:cubicBezTo>
                <a:cubicBezTo>
                  <a:pt x="10487164" y="631944"/>
                  <a:pt x="10487164" y="631944"/>
                  <a:pt x="10487164" y="718029"/>
                </a:cubicBezTo>
                <a:cubicBezTo>
                  <a:pt x="10487164" y="736774"/>
                  <a:pt x="10492476" y="751393"/>
                  <a:pt x="10503101" y="761848"/>
                </a:cubicBezTo>
                <a:cubicBezTo>
                  <a:pt x="10513685" y="772302"/>
                  <a:pt x="10528234" y="777529"/>
                  <a:pt x="10546746" y="777529"/>
                </a:cubicBezTo>
                <a:cubicBezTo>
                  <a:pt x="10546746" y="777529"/>
                  <a:pt x="10546746" y="777529"/>
                  <a:pt x="10567669" y="777529"/>
                </a:cubicBezTo>
                <a:cubicBezTo>
                  <a:pt x="10588347" y="777529"/>
                  <a:pt x="10602037" y="770424"/>
                  <a:pt x="10608739" y="756212"/>
                </a:cubicBezTo>
                <a:cubicBezTo>
                  <a:pt x="10608739" y="756212"/>
                  <a:pt x="10608739" y="756212"/>
                  <a:pt x="10610332" y="756212"/>
                </a:cubicBezTo>
                <a:cubicBezTo>
                  <a:pt x="10610332" y="756212"/>
                  <a:pt x="10610332" y="756212"/>
                  <a:pt x="10610332" y="771935"/>
                </a:cubicBezTo>
                <a:cubicBezTo>
                  <a:pt x="10610332" y="775692"/>
                  <a:pt x="10612212" y="777529"/>
                  <a:pt x="10615972" y="777529"/>
                </a:cubicBezTo>
                <a:cubicBezTo>
                  <a:pt x="10615972" y="777529"/>
                  <a:pt x="10615972" y="777529"/>
                  <a:pt x="10634116" y="777529"/>
                </a:cubicBezTo>
                <a:cubicBezTo>
                  <a:pt x="10637835" y="777529"/>
                  <a:pt x="10639715" y="775692"/>
                  <a:pt x="10639715" y="771935"/>
                </a:cubicBezTo>
                <a:cubicBezTo>
                  <a:pt x="10639715" y="771935"/>
                  <a:pt x="10639715" y="771935"/>
                  <a:pt x="10639715" y="578038"/>
                </a:cubicBezTo>
                <a:cubicBezTo>
                  <a:pt x="10639715" y="574281"/>
                  <a:pt x="10637835" y="572403"/>
                  <a:pt x="10634116" y="572403"/>
                </a:cubicBezTo>
                <a:cubicBezTo>
                  <a:pt x="10634116" y="572403"/>
                  <a:pt x="10634116" y="572403"/>
                  <a:pt x="10546746" y="572403"/>
                </a:cubicBezTo>
                <a:close/>
                <a:moveTo>
                  <a:pt x="10201313" y="572403"/>
                </a:moveTo>
                <a:cubicBezTo>
                  <a:pt x="10197559" y="572403"/>
                  <a:pt x="10195682" y="574281"/>
                  <a:pt x="10195682" y="578038"/>
                </a:cubicBezTo>
                <a:cubicBezTo>
                  <a:pt x="10195682" y="578038"/>
                  <a:pt x="10195682" y="578038"/>
                  <a:pt x="10195682" y="771894"/>
                </a:cubicBezTo>
                <a:cubicBezTo>
                  <a:pt x="10195682" y="775692"/>
                  <a:pt x="10197559" y="777529"/>
                  <a:pt x="10201313" y="777529"/>
                </a:cubicBezTo>
                <a:cubicBezTo>
                  <a:pt x="10201313" y="777529"/>
                  <a:pt x="10201313" y="777529"/>
                  <a:pt x="10219387" y="777529"/>
                </a:cubicBezTo>
                <a:cubicBezTo>
                  <a:pt x="10223141" y="777529"/>
                  <a:pt x="10225017" y="775692"/>
                  <a:pt x="10225017" y="771894"/>
                </a:cubicBezTo>
                <a:cubicBezTo>
                  <a:pt x="10225017" y="771894"/>
                  <a:pt x="10225017" y="771894"/>
                  <a:pt x="10225017" y="635170"/>
                </a:cubicBezTo>
                <a:cubicBezTo>
                  <a:pt x="10225017" y="623368"/>
                  <a:pt x="10228240" y="614261"/>
                  <a:pt x="10234646" y="607809"/>
                </a:cubicBezTo>
                <a:cubicBezTo>
                  <a:pt x="10241092" y="601357"/>
                  <a:pt x="10250313" y="598171"/>
                  <a:pt x="10262390" y="598171"/>
                </a:cubicBezTo>
                <a:cubicBezTo>
                  <a:pt x="10262390" y="598171"/>
                  <a:pt x="10262390" y="598171"/>
                  <a:pt x="10277241" y="598171"/>
                </a:cubicBezTo>
                <a:cubicBezTo>
                  <a:pt x="10299762" y="598171"/>
                  <a:pt x="10311023" y="609810"/>
                  <a:pt x="10311023" y="633128"/>
                </a:cubicBezTo>
                <a:cubicBezTo>
                  <a:pt x="10311023" y="633128"/>
                  <a:pt x="10311023" y="633128"/>
                  <a:pt x="10311023" y="771894"/>
                </a:cubicBezTo>
                <a:cubicBezTo>
                  <a:pt x="10311023" y="775692"/>
                  <a:pt x="10312900" y="777529"/>
                  <a:pt x="10316653" y="777529"/>
                </a:cubicBezTo>
                <a:cubicBezTo>
                  <a:pt x="10316653" y="777529"/>
                  <a:pt x="10316653" y="777529"/>
                  <a:pt x="10334727" y="777529"/>
                </a:cubicBezTo>
                <a:cubicBezTo>
                  <a:pt x="10338481" y="777529"/>
                  <a:pt x="10340358" y="775692"/>
                  <a:pt x="10340358" y="771894"/>
                </a:cubicBezTo>
                <a:cubicBezTo>
                  <a:pt x="10340358" y="771894"/>
                  <a:pt x="10340358" y="771894"/>
                  <a:pt x="10340358" y="636354"/>
                </a:cubicBezTo>
                <a:cubicBezTo>
                  <a:pt x="10340358" y="624552"/>
                  <a:pt x="10343622" y="615241"/>
                  <a:pt x="10350190" y="608422"/>
                </a:cubicBezTo>
                <a:cubicBezTo>
                  <a:pt x="10356759" y="601561"/>
                  <a:pt x="10366062" y="598171"/>
                  <a:pt x="10378138" y="598171"/>
                </a:cubicBezTo>
                <a:cubicBezTo>
                  <a:pt x="10378138" y="598171"/>
                  <a:pt x="10378138" y="598171"/>
                  <a:pt x="10391398" y="598171"/>
                </a:cubicBezTo>
                <a:cubicBezTo>
                  <a:pt x="10413879" y="598171"/>
                  <a:pt x="10425139" y="609810"/>
                  <a:pt x="10425139" y="633128"/>
                </a:cubicBezTo>
                <a:cubicBezTo>
                  <a:pt x="10425139" y="633128"/>
                  <a:pt x="10425139" y="633128"/>
                  <a:pt x="10425139" y="771894"/>
                </a:cubicBezTo>
                <a:cubicBezTo>
                  <a:pt x="10425139" y="775692"/>
                  <a:pt x="10427016" y="777529"/>
                  <a:pt x="10430770" y="777529"/>
                </a:cubicBezTo>
                <a:cubicBezTo>
                  <a:pt x="10430770" y="777529"/>
                  <a:pt x="10430770" y="777529"/>
                  <a:pt x="10448844" y="777529"/>
                </a:cubicBezTo>
                <a:cubicBezTo>
                  <a:pt x="10452597" y="777529"/>
                  <a:pt x="10454474" y="775692"/>
                  <a:pt x="10454474" y="771894"/>
                </a:cubicBezTo>
                <a:cubicBezTo>
                  <a:pt x="10454474" y="771894"/>
                  <a:pt x="10454474" y="771894"/>
                  <a:pt x="10454474" y="631944"/>
                </a:cubicBezTo>
                <a:cubicBezTo>
                  <a:pt x="10454474" y="613159"/>
                  <a:pt x="10449374" y="598539"/>
                  <a:pt x="10439215" y="588085"/>
                </a:cubicBezTo>
                <a:cubicBezTo>
                  <a:pt x="10429015" y="577630"/>
                  <a:pt x="10414817" y="572403"/>
                  <a:pt x="10396620" y="572403"/>
                </a:cubicBezTo>
                <a:cubicBezTo>
                  <a:pt x="10396620" y="572403"/>
                  <a:pt x="10396620" y="572403"/>
                  <a:pt x="10382544" y="572403"/>
                </a:cubicBezTo>
                <a:cubicBezTo>
                  <a:pt x="10372345" y="572403"/>
                  <a:pt x="10362634" y="574772"/>
                  <a:pt x="10353413" y="579427"/>
                </a:cubicBezTo>
                <a:cubicBezTo>
                  <a:pt x="10344152" y="584123"/>
                  <a:pt x="10337379" y="590902"/>
                  <a:pt x="10333136" y="599764"/>
                </a:cubicBezTo>
                <a:cubicBezTo>
                  <a:pt x="10323997" y="581510"/>
                  <a:pt x="10307636" y="572403"/>
                  <a:pt x="10284095" y="572403"/>
                </a:cubicBezTo>
                <a:cubicBezTo>
                  <a:pt x="10284095" y="572403"/>
                  <a:pt x="10284095" y="572403"/>
                  <a:pt x="10269203" y="572403"/>
                </a:cubicBezTo>
                <a:cubicBezTo>
                  <a:pt x="10248314" y="572403"/>
                  <a:pt x="10234116" y="579509"/>
                  <a:pt x="10226609" y="593720"/>
                </a:cubicBezTo>
                <a:cubicBezTo>
                  <a:pt x="10226609" y="593720"/>
                  <a:pt x="10226609" y="593720"/>
                  <a:pt x="10225017" y="593720"/>
                </a:cubicBezTo>
                <a:cubicBezTo>
                  <a:pt x="10225017" y="593720"/>
                  <a:pt x="10225017" y="593720"/>
                  <a:pt x="10225017" y="578038"/>
                </a:cubicBezTo>
                <a:cubicBezTo>
                  <a:pt x="10225017" y="574281"/>
                  <a:pt x="10223141" y="572403"/>
                  <a:pt x="10219387" y="572403"/>
                </a:cubicBezTo>
                <a:cubicBezTo>
                  <a:pt x="10219387" y="572403"/>
                  <a:pt x="10219387" y="572403"/>
                  <a:pt x="10201313" y="572403"/>
                </a:cubicBezTo>
                <a:close/>
                <a:moveTo>
                  <a:pt x="10080309" y="572403"/>
                </a:moveTo>
                <a:cubicBezTo>
                  <a:pt x="10076563" y="572403"/>
                  <a:pt x="10074731" y="574281"/>
                  <a:pt x="10074731" y="578038"/>
                </a:cubicBezTo>
                <a:cubicBezTo>
                  <a:pt x="10074731" y="578038"/>
                  <a:pt x="10074731" y="578038"/>
                  <a:pt x="10074731" y="771894"/>
                </a:cubicBezTo>
                <a:cubicBezTo>
                  <a:pt x="10074731" y="775692"/>
                  <a:pt x="10076563" y="777529"/>
                  <a:pt x="10080309" y="777529"/>
                </a:cubicBezTo>
                <a:cubicBezTo>
                  <a:pt x="10080309" y="777529"/>
                  <a:pt x="10080309" y="777529"/>
                  <a:pt x="10098386" y="777529"/>
                </a:cubicBezTo>
                <a:cubicBezTo>
                  <a:pt x="10102091" y="777529"/>
                  <a:pt x="10103964" y="775692"/>
                  <a:pt x="10103964" y="771894"/>
                </a:cubicBezTo>
                <a:cubicBezTo>
                  <a:pt x="10103964" y="771894"/>
                  <a:pt x="10103964" y="771894"/>
                  <a:pt x="10103964" y="638764"/>
                </a:cubicBezTo>
                <a:cubicBezTo>
                  <a:pt x="10103964" y="626186"/>
                  <a:pt x="10107180" y="616262"/>
                  <a:pt x="10113613" y="609034"/>
                </a:cubicBezTo>
                <a:cubicBezTo>
                  <a:pt x="10120045" y="601765"/>
                  <a:pt x="10129247" y="598171"/>
                  <a:pt x="10141298" y="598171"/>
                </a:cubicBezTo>
                <a:cubicBezTo>
                  <a:pt x="10141298" y="598171"/>
                  <a:pt x="10141298" y="598171"/>
                  <a:pt x="10162957" y="598171"/>
                </a:cubicBezTo>
                <a:cubicBezTo>
                  <a:pt x="10164790" y="598416"/>
                  <a:pt x="10166133" y="598090"/>
                  <a:pt x="10166947" y="597150"/>
                </a:cubicBezTo>
                <a:cubicBezTo>
                  <a:pt x="10167762" y="596211"/>
                  <a:pt x="10168169" y="594782"/>
                  <a:pt x="10168169" y="592903"/>
                </a:cubicBezTo>
                <a:cubicBezTo>
                  <a:pt x="10168169" y="592903"/>
                  <a:pt x="10168169" y="592903"/>
                  <a:pt x="10168169" y="578038"/>
                </a:cubicBezTo>
                <a:cubicBezTo>
                  <a:pt x="10168169" y="574281"/>
                  <a:pt x="10166418" y="572403"/>
                  <a:pt x="10162957" y="572403"/>
                </a:cubicBezTo>
                <a:cubicBezTo>
                  <a:pt x="10162957" y="572403"/>
                  <a:pt x="10162957" y="572403"/>
                  <a:pt x="10147283" y="572403"/>
                </a:cubicBezTo>
                <a:cubicBezTo>
                  <a:pt x="10137145" y="572403"/>
                  <a:pt x="10128310" y="574567"/>
                  <a:pt x="10120819" y="578855"/>
                </a:cubicBezTo>
                <a:cubicBezTo>
                  <a:pt x="10113328" y="583143"/>
                  <a:pt x="10108279" y="588248"/>
                  <a:pt x="10105592" y="594128"/>
                </a:cubicBezTo>
                <a:cubicBezTo>
                  <a:pt x="10105592" y="594128"/>
                  <a:pt x="10105592" y="594128"/>
                  <a:pt x="10103964" y="594128"/>
                </a:cubicBezTo>
                <a:cubicBezTo>
                  <a:pt x="10103964" y="594128"/>
                  <a:pt x="10103964" y="594128"/>
                  <a:pt x="10103964" y="578038"/>
                </a:cubicBezTo>
                <a:cubicBezTo>
                  <a:pt x="10103964" y="574281"/>
                  <a:pt x="10102091" y="572403"/>
                  <a:pt x="10098386" y="572403"/>
                </a:cubicBezTo>
                <a:cubicBezTo>
                  <a:pt x="10098386" y="572403"/>
                  <a:pt x="10098386" y="572403"/>
                  <a:pt x="10080309" y="572403"/>
                </a:cubicBezTo>
                <a:close/>
                <a:moveTo>
                  <a:pt x="9948617" y="572403"/>
                </a:moveTo>
                <a:cubicBezTo>
                  <a:pt x="9930149" y="572403"/>
                  <a:pt x="9915636" y="577630"/>
                  <a:pt x="9905077" y="588085"/>
                </a:cubicBezTo>
                <a:cubicBezTo>
                  <a:pt x="9894477" y="598539"/>
                  <a:pt x="9889218" y="613159"/>
                  <a:pt x="9889218" y="631944"/>
                </a:cubicBezTo>
                <a:cubicBezTo>
                  <a:pt x="9889218" y="631944"/>
                  <a:pt x="9889218" y="631944"/>
                  <a:pt x="9889218" y="718029"/>
                </a:cubicBezTo>
                <a:cubicBezTo>
                  <a:pt x="9889218" y="736774"/>
                  <a:pt x="9894477" y="751393"/>
                  <a:pt x="9905077" y="761848"/>
                </a:cubicBezTo>
                <a:cubicBezTo>
                  <a:pt x="9915636" y="772302"/>
                  <a:pt x="9930149" y="777529"/>
                  <a:pt x="9948617" y="777529"/>
                </a:cubicBezTo>
                <a:cubicBezTo>
                  <a:pt x="9948617" y="777529"/>
                  <a:pt x="9948617" y="777529"/>
                  <a:pt x="9983147" y="777529"/>
                </a:cubicBezTo>
                <a:cubicBezTo>
                  <a:pt x="10001615" y="777529"/>
                  <a:pt x="10016169" y="772302"/>
                  <a:pt x="10026728" y="761848"/>
                </a:cubicBezTo>
                <a:cubicBezTo>
                  <a:pt x="10037287" y="751393"/>
                  <a:pt x="10042587" y="736774"/>
                  <a:pt x="10042587" y="718029"/>
                </a:cubicBezTo>
                <a:cubicBezTo>
                  <a:pt x="10042587" y="718029"/>
                  <a:pt x="10042587" y="718029"/>
                  <a:pt x="10042587" y="631944"/>
                </a:cubicBezTo>
                <a:cubicBezTo>
                  <a:pt x="10042587" y="613159"/>
                  <a:pt x="10037287" y="598539"/>
                  <a:pt x="10026728" y="588085"/>
                </a:cubicBezTo>
                <a:cubicBezTo>
                  <a:pt x="10016169" y="577630"/>
                  <a:pt x="10001615" y="572403"/>
                  <a:pt x="9983147" y="572403"/>
                </a:cubicBezTo>
                <a:cubicBezTo>
                  <a:pt x="9983147" y="572403"/>
                  <a:pt x="9983147" y="572403"/>
                  <a:pt x="9948617" y="572403"/>
                </a:cubicBezTo>
                <a:close/>
                <a:moveTo>
                  <a:pt x="9596011" y="572403"/>
                </a:moveTo>
                <a:cubicBezTo>
                  <a:pt x="9592258" y="572403"/>
                  <a:pt x="9590382" y="574281"/>
                  <a:pt x="9590382" y="578038"/>
                </a:cubicBezTo>
                <a:cubicBezTo>
                  <a:pt x="9590382" y="578038"/>
                  <a:pt x="9590382" y="578038"/>
                  <a:pt x="9590382" y="771894"/>
                </a:cubicBezTo>
                <a:cubicBezTo>
                  <a:pt x="9590382" y="775692"/>
                  <a:pt x="9592258" y="777529"/>
                  <a:pt x="9596011" y="777529"/>
                </a:cubicBezTo>
                <a:cubicBezTo>
                  <a:pt x="9596011" y="777529"/>
                  <a:pt x="9596011" y="777529"/>
                  <a:pt x="9614082" y="777529"/>
                </a:cubicBezTo>
                <a:cubicBezTo>
                  <a:pt x="9617835" y="777529"/>
                  <a:pt x="9619712" y="775692"/>
                  <a:pt x="9619712" y="771894"/>
                </a:cubicBezTo>
                <a:cubicBezTo>
                  <a:pt x="9619712" y="771894"/>
                  <a:pt x="9619712" y="771894"/>
                  <a:pt x="9619712" y="635170"/>
                </a:cubicBezTo>
                <a:cubicBezTo>
                  <a:pt x="9619712" y="623368"/>
                  <a:pt x="9622935" y="614261"/>
                  <a:pt x="9629339" y="607809"/>
                </a:cubicBezTo>
                <a:cubicBezTo>
                  <a:pt x="9635784" y="601357"/>
                  <a:pt x="9645003" y="598171"/>
                  <a:pt x="9657078" y="598171"/>
                </a:cubicBezTo>
                <a:cubicBezTo>
                  <a:pt x="9657078" y="598171"/>
                  <a:pt x="9657078" y="598171"/>
                  <a:pt x="9679595" y="598171"/>
                </a:cubicBezTo>
                <a:cubicBezTo>
                  <a:pt x="9702072" y="598171"/>
                  <a:pt x="9713331" y="609810"/>
                  <a:pt x="9713331" y="633128"/>
                </a:cubicBezTo>
                <a:cubicBezTo>
                  <a:pt x="9713331" y="633128"/>
                  <a:pt x="9713331" y="633128"/>
                  <a:pt x="9713331" y="771894"/>
                </a:cubicBezTo>
                <a:cubicBezTo>
                  <a:pt x="9713331" y="775692"/>
                  <a:pt x="9715207" y="777529"/>
                  <a:pt x="9718960" y="777529"/>
                </a:cubicBezTo>
                <a:cubicBezTo>
                  <a:pt x="9718960" y="777529"/>
                  <a:pt x="9718960" y="777529"/>
                  <a:pt x="9737031" y="777529"/>
                </a:cubicBezTo>
                <a:cubicBezTo>
                  <a:pt x="9740784" y="777529"/>
                  <a:pt x="9742660" y="775692"/>
                  <a:pt x="9742660" y="771894"/>
                </a:cubicBezTo>
                <a:cubicBezTo>
                  <a:pt x="9742660" y="771894"/>
                  <a:pt x="9742660" y="771894"/>
                  <a:pt x="9742660" y="631944"/>
                </a:cubicBezTo>
                <a:cubicBezTo>
                  <a:pt x="9742660" y="613159"/>
                  <a:pt x="9737562" y="598539"/>
                  <a:pt x="9727404" y="588085"/>
                </a:cubicBezTo>
                <a:cubicBezTo>
                  <a:pt x="9717206" y="577630"/>
                  <a:pt x="9703010" y="572403"/>
                  <a:pt x="9684817" y="572403"/>
                </a:cubicBezTo>
                <a:cubicBezTo>
                  <a:pt x="9684817" y="572403"/>
                  <a:pt x="9684817" y="572403"/>
                  <a:pt x="9662299" y="572403"/>
                </a:cubicBezTo>
                <a:cubicBezTo>
                  <a:pt x="9641658" y="572403"/>
                  <a:pt x="9627993" y="579509"/>
                  <a:pt x="9621303" y="593720"/>
                </a:cubicBezTo>
                <a:cubicBezTo>
                  <a:pt x="9621303" y="593720"/>
                  <a:pt x="9621303" y="593720"/>
                  <a:pt x="9619712" y="593720"/>
                </a:cubicBezTo>
                <a:cubicBezTo>
                  <a:pt x="9619712" y="593720"/>
                  <a:pt x="9619712" y="593720"/>
                  <a:pt x="9619712" y="578038"/>
                </a:cubicBezTo>
                <a:cubicBezTo>
                  <a:pt x="9619712" y="574281"/>
                  <a:pt x="9617835" y="572403"/>
                  <a:pt x="9614082" y="572403"/>
                </a:cubicBezTo>
                <a:cubicBezTo>
                  <a:pt x="9614082" y="572403"/>
                  <a:pt x="9614082" y="572403"/>
                  <a:pt x="9596011" y="572403"/>
                </a:cubicBezTo>
                <a:close/>
                <a:moveTo>
                  <a:pt x="9528334" y="572403"/>
                </a:moveTo>
                <a:cubicBezTo>
                  <a:pt x="9524815" y="572403"/>
                  <a:pt x="9523096" y="574281"/>
                  <a:pt x="9523096" y="578038"/>
                </a:cubicBezTo>
                <a:cubicBezTo>
                  <a:pt x="9523096" y="578038"/>
                  <a:pt x="9523096" y="578038"/>
                  <a:pt x="9523096" y="771935"/>
                </a:cubicBezTo>
                <a:cubicBezTo>
                  <a:pt x="9523096" y="775692"/>
                  <a:pt x="9524978" y="777529"/>
                  <a:pt x="9528743" y="777529"/>
                </a:cubicBezTo>
                <a:cubicBezTo>
                  <a:pt x="9528743" y="777529"/>
                  <a:pt x="9528743" y="777529"/>
                  <a:pt x="9546870" y="777529"/>
                </a:cubicBezTo>
                <a:cubicBezTo>
                  <a:pt x="9550634" y="777529"/>
                  <a:pt x="9552517" y="775692"/>
                  <a:pt x="9552517" y="771935"/>
                </a:cubicBezTo>
                <a:cubicBezTo>
                  <a:pt x="9552517" y="771935"/>
                  <a:pt x="9552517" y="771935"/>
                  <a:pt x="9552517" y="578038"/>
                </a:cubicBezTo>
                <a:cubicBezTo>
                  <a:pt x="9552517" y="574281"/>
                  <a:pt x="9550634" y="572403"/>
                  <a:pt x="9546870" y="572403"/>
                </a:cubicBezTo>
                <a:cubicBezTo>
                  <a:pt x="9546870" y="572403"/>
                  <a:pt x="9546870" y="572403"/>
                  <a:pt x="9528334" y="572403"/>
                </a:cubicBezTo>
                <a:close/>
                <a:moveTo>
                  <a:pt x="9251780" y="571313"/>
                </a:moveTo>
                <a:cubicBezTo>
                  <a:pt x="9246146" y="571313"/>
                  <a:pt x="9244146" y="574131"/>
                  <a:pt x="9245738" y="579767"/>
                </a:cubicBezTo>
                <a:cubicBezTo>
                  <a:pt x="9245738" y="579767"/>
                  <a:pt x="9245738" y="579767"/>
                  <a:pt x="9296156" y="768123"/>
                </a:cubicBezTo>
                <a:cubicBezTo>
                  <a:pt x="9297748" y="774044"/>
                  <a:pt x="9301381" y="776985"/>
                  <a:pt x="9307015" y="776985"/>
                </a:cubicBezTo>
                <a:cubicBezTo>
                  <a:pt x="9307015" y="776985"/>
                  <a:pt x="9307015" y="776985"/>
                  <a:pt x="9358209" y="776985"/>
                </a:cubicBezTo>
                <a:cubicBezTo>
                  <a:pt x="9364414" y="776985"/>
                  <a:pt x="9368007" y="774044"/>
                  <a:pt x="9369109" y="768123"/>
                </a:cubicBezTo>
                <a:cubicBezTo>
                  <a:pt x="9369109" y="768123"/>
                  <a:pt x="9369109" y="768123"/>
                  <a:pt x="9419894" y="579767"/>
                </a:cubicBezTo>
                <a:cubicBezTo>
                  <a:pt x="9421486" y="574131"/>
                  <a:pt x="9419486" y="571313"/>
                  <a:pt x="9413852" y="571313"/>
                </a:cubicBezTo>
                <a:cubicBezTo>
                  <a:pt x="9413852" y="571313"/>
                  <a:pt x="9413852" y="571313"/>
                  <a:pt x="9378376" y="571313"/>
                </a:cubicBezTo>
                <a:cubicBezTo>
                  <a:pt x="9372742" y="571313"/>
                  <a:pt x="9369354" y="574131"/>
                  <a:pt x="9368292" y="579767"/>
                </a:cubicBezTo>
                <a:cubicBezTo>
                  <a:pt x="9368292" y="579767"/>
                  <a:pt x="9368292" y="579767"/>
                  <a:pt x="9334449" y="731407"/>
                </a:cubicBezTo>
                <a:cubicBezTo>
                  <a:pt x="9334449" y="731407"/>
                  <a:pt x="9334449" y="731407"/>
                  <a:pt x="9331591" y="731407"/>
                </a:cubicBezTo>
                <a:cubicBezTo>
                  <a:pt x="9331591" y="731407"/>
                  <a:pt x="9331591" y="731407"/>
                  <a:pt x="9296932" y="579767"/>
                </a:cubicBezTo>
                <a:cubicBezTo>
                  <a:pt x="9295870" y="574131"/>
                  <a:pt x="9292645" y="571313"/>
                  <a:pt x="9287256" y="571313"/>
                </a:cubicBezTo>
                <a:cubicBezTo>
                  <a:pt x="9287256" y="571313"/>
                  <a:pt x="9287256" y="571313"/>
                  <a:pt x="9251780" y="571313"/>
                </a:cubicBezTo>
                <a:close/>
                <a:moveTo>
                  <a:pt x="9187975" y="571313"/>
                </a:moveTo>
                <a:cubicBezTo>
                  <a:pt x="9181810" y="571313"/>
                  <a:pt x="9177237" y="574009"/>
                  <a:pt x="9174297" y="579359"/>
                </a:cubicBezTo>
                <a:cubicBezTo>
                  <a:pt x="9174297" y="579359"/>
                  <a:pt x="9174297" y="579359"/>
                  <a:pt x="9125917" y="665287"/>
                </a:cubicBezTo>
                <a:cubicBezTo>
                  <a:pt x="9123467" y="669861"/>
                  <a:pt x="9123467" y="674272"/>
                  <a:pt x="9125917" y="678601"/>
                </a:cubicBezTo>
                <a:cubicBezTo>
                  <a:pt x="9125917" y="678601"/>
                  <a:pt x="9125917" y="678601"/>
                  <a:pt x="9177115" y="768490"/>
                </a:cubicBezTo>
                <a:cubicBezTo>
                  <a:pt x="9179238" y="772002"/>
                  <a:pt x="9181361" y="774289"/>
                  <a:pt x="9183361" y="775351"/>
                </a:cubicBezTo>
                <a:cubicBezTo>
                  <a:pt x="9185362" y="776454"/>
                  <a:pt x="9188669" y="776985"/>
                  <a:pt x="9193241" y="776985"/>
                </a:cubicBezTo>
                <a:cubicBezTo>
                  <a:pt x="9193241" y="776985"/>
                  <a:pt x="9193241" y="776985"/>
                  <a:pt x="9227904" y="776985"/>
                </a:cubicBezTo>
                <a:cubicBezTo>
                  <a:pt x="9231374" y="776985"/>
                  <a:pt x="9233824" y="775964"/>
                  <a:pt x="9235171" y="773963"/>
                </a:cubicBezTo>
                <a:cubicBezTo>
                  <a:pt x="9236518" y="771921"/>
                  <a:pt x="9236355" y="769593"/>
                  <a:pt x="9234763" y="766897"/>
                </a:cubicBezTo>
                <a:cubicBezTo>
                  <a:pt x="9234763" y="766897"/>
                  <a:pt x="9234763" y="766897"/>
                  <a:pt x="9178707" y="671331"/>
                </a:cubicBezTo>
                <a:cubicBezTo>
                  <a:pt x="9178707" y="671331"/>
                  <a:pt x="9178707" y="671331"/>
                  <a:pt x="9178707" y="669698"/>
                </a:cubicBezTo>
                <a:cubicBezTo>
                  <a:pt x="9178707" y="669698"/>
                  <a:pt x="9178707" y="669698"/>
                  <a:pt x="9232354" y="581401"/>
                </a:cubicBezTo>
                <a:cubicBezTo>
                  <a:pt x="9234191" y="578461"/>
                  <a:pt x="9234599" y="576010"/>
                  <a:pt x="9233538" y="574131"/>
                </a:cubicBezTo>
                <a:cubicBezTo>
                  <a:pt x="9232476" y="572253"/>
                  <a:pt x="9230313" y="571313"/>
                  <a:pt x="9227087" y="571313"/>
                </a:cubicBezTo>
                <a:cubicBezTo>
                  <a:pt x="9227087" y="571313"/>
                  <a:pt x="9227087" y="571313"/>
                  <a:pt x="9187975" y="571313"/>
                </a:cubicBezTo>
                <a:close/>
                <a:moveTo>
                  <a:pt x="9008219" y="571313"/>
                </a:moveTo>
                <a:cubicBezTo>
                  <a:pt x="8987007" y="571313"/>
                  <a:pt x="8970608" y="576951"/>
                  <a:pt x="8959064" y="588267"/>
                </a:cubicBezTo>
                <a:cubicBezTo>
                  <a:pt x="8947520" y="599542"/>
                  <a:pt x="8941768" y="615842"/>
                  <a:pt x="8941768" y="637044"/>
                </a:cubicBezTo>
                <a:cubicBezTo>
                  <a:pt x="8941768" y="637044"/>
                  <a:pt x="8941768" y="637044"/>
                  <a:pt x="8941768" y="701998"/>
                </a:cubicBezTo>
                <a:cubicBezTo>
                  <a:pt x="8941768" y="723241"/>
                  <a:pt x="8947030" y="739500"/>
                  <a:pt x="8957636" y="750816"/>
                </a:cubicBezTo>
                <a:cubicBezTo>
                  <a:pt x="8968242" y="762091"/>
                  <a:pt x="8983907" y="767769"/>
                  <a:pt x="9004588" y="767769"/>
                </a:cubicBezTo>
                <a:cubicBezTo>
                  <a:pt x="9004588" y="767769"/>
                  <a:pt x="9004588" y="767769"/>
                  <a:pt x="9017887" y="767933"/>
                </a:cubicBezTo>
                <a:cubicBezTo>
                  <a:pt x="9026290" y="767810"/>
                  <a:pt x="9033225" y="767973"/>
                  <a:pt x="9041628" y="767933"/>
                </a:cubicBezTo>
                <a:cubicBezTo>
                  <a:pt x="9047747" y="767892"/>
                  <a:pt x="9050439" y="767933"/>
                  <a:pt x="9057333" y="767892"/>
                </a:cubicBezTo>
                <a:cubicBezTo>
                  <a:pt x="9057333" y="767892"/>
                  <a:pt x="9057333" y="767892"/>
                  <a:pt x="9058965" y="767892"/>
                </a:cubicBezTo>
                <a:cubicBezTo>
                  <a:pt x="9058965" y="767892"/>
                  <a:pt x="9058965" y="767892"/>
                  <a:pt x="9058965" y="776225"/>
                </a:cubicBezTo>
                <a:cubicBezTo>
                  <a:pt x="9058965" y="784559"/>
                  <a:pt x="9057129" y="790564"/>
                  <a:pt x="9053540" y="794200"/>
                </a:cubicBezTo>
                <a:cubicBezTo>
                  <a:pt x="9049868" y="797795"/>
                  <a:pt x="9043790" y="799634"/>
                  <a:pt x="9035183" y="799634"/>
                </a:cubicBezTo>
                <a:cubicBezTo>
                  <a:pt x="9035183" y="799634"/>
                  <a:pt x="9035183" y="799634"/>
                  <a:pt x="8966325" y="799634"/>
                </a:cubicBezTo>
                <a:cubicBezTo>
                  <a:pt x="8960655" y="799634"/>
                  <a:pt x="8957840" y="802452"/>
                  <a:pt x="8957840" y="808090"/>
                </a:cubicBezTo>
                <a:cubicBezTo>
                  <a:pt x="8957840" y="808090"/>
                  <a:pt x="8957840" y="808090"/>
                  <a:pt x="8957840" y="835910"/>
                </a:cubicBezTo>
                <a:cubicBezTo>
                  <a:pt x="8957840" y="838892"/>
                  <a:pt x="8958452" y="840975"/>
                  <a:pt x="8959676" y="842160"/>
                </a:cubicBezTo>
                <a:cubicBezTo>
                  <a:pt x="8960859" y="843386"/>
                  <a:pt x="8963102" y="843998"/>
                  <a:pt x="8966325" y="843998"/>
                </a:cubicBezTo>
                <a:cubicBezTo>
                  <a:pt x="8966325" y="843998"/>
                  <a:pt x="8966325" y="843998"/>
                  <a:pt x="9043668" y="843998"/>
                </a:cubicBezTo>
                <a:cubicBezTo>
                  <a:pt x="9064594" y="843998"/>
                  <a:pt x="9080911" y="838361"/>
                  <a:pt x="9092578" y="827045"/>
                </a:cubicBezTo>
                <a:cubicBezTo>
                  <a:pt x="9104245" y="815770"/>
                  <a:pt x="9110119" y="799634"/>
                  <a:pt x="9110119" y="778636"/>
                </a:cubicBezTo>
                <a:cubicBezTo>
                  <a:pt x="9110119" y="778636"/>
                  <a:pt x="9110119" y="778636"/>
                  <a:pt x="9110119" y="579770"/>
                </a:cubicBezTo>
                <a:cubicBezTo>
                  <a:pt x="9110119" y="574132"/>
                  <a:pt x="9107141" y="571313"/>
                  <a:pt x="9101226" y="571313"/>
                </a:cubicBezTo>
                <a:cubicBezTo>
                  <a:pt x="9101226" y="571313"/>
                  <a:pt x="9101226" y="571313"/>
                  <a:pt x="9008219" y="571313"/>
                </a:cubicBezTo>
                <a:close/>
                <a:moveTo>
                  <a:pt x="10706288" y="528544"/>
                </a:moveTo>
                <a:cubicBezTo>
                  <a:pt x="10702529" y="528544"/>
                  <a:pt x="10700691" y="530464"/>
                  <a:pt x="10700691" y="534180"/>
                </a:cubicBezTo>
                <a:cubicBezTo>
                  <a:pt x="10700691" y="534180"/>
                  <a:pt x="10700691" y="534180"/>
                  <a:pt x="10700691" y="568769"/>
                </a:cubicBezTo>
                <a:cubicBezTo>
                  <a:pt x="10700691" y="571219"/>
                  <a:pt x="10699342" y="572404"/>
                  <a:pt x="10696646" y="572404"/>
                </a:cubicBezTo>
                <a:cubicBezTo>
                  <a:pt x="10696646" y="572404"/>
                  <a:pt x="10696646" y="572404"/>
                  <a:pt x="10674501" y="572404"/>
                </a:cubicBezTo>
                <a:cubicBezTo>
                  <a:pt x="10670742" y="572404"/>
                  <a:pt x="10668863" y="574282"/>
                  <a:pt x="10668863" y="578039"/>
                </a:cubicBezTo>
                <a:cubicBezTo>
                  <a:pt x="10668863" y="578039"/>
                  <a:pt x="10668863" y="578039"/>
                  <a:pt x="10668863" y="592904"/>
                </a:cubicBezTo>
                <a:cubicBezTo>
                  <a:pt x="10668863" y="596416"/>
                  <a:pt x="10670742" y="598131"/>
                  <a:pt x="10674501" y="598131"/>
                </a:cubicBezTo>
                <a:cubicBezTo>
                  <a:pt x="10674501" y="598131"/>
                  <a:pt x="10674501" y="598131"/>
                  <a:pt x="10696646" y="598131"/>
                </a:cubicBezTo>
                <a:cubicBezTo>
                  <a:pt x="10699342" y="598131"/>
                  <a:pt x="10700691" y="599356"/>
                  <a:pt x="10700691" y="601766"/>
                </a:cubicBezTo>
                <a:cubicBezTo>
                  <a:pt x="10700691" y="601766"/>
                  <a:pt x="10700691" y="601766"/>
                  <a:pt x="10700691" y="718805"/>
                </a:cubicBezTo>
                <a:cubicBezTo>
                  <a:pt x="10700691" y="737345"/>
                  <a:pt x="10706165" y="751720"/>
                  <a:pt x="10717197" y="762052"/>
                </a:cubicBezTo>
                <a:cubicBezTo>
                  <a:pt x="10728147" y="772384"/>
                  <a:pt x="10742937" y="777529"/>
                  <a:pt x="10761445" y="777529"/>
                </a:cubicBezTo>
                <a:cubicBezTo>
                  <a:pt x="10761445" y="777529"/>
                  <a:pt x="10761445" y="777529"/>
                  <a:pt x="10780771" y="777529"/>
                </a:cubicBezTo>
                <a:cubicBezTo>
                  <a:pt x="10784775" y="777529"/>
                  <a:pt x="10786817" y="775814"/>
                  <a:pt x="10786817" y="772302"/>
                </a:cubicBezTo>
                <a:cubicBezTo>
                  <a:pt x="10786817" y="772302"/>
                  <a:pt x="10786817" y="772302"/>
                  <a:pt x="10786817" y="757437"/>
                </a:cubicBezTo>
                <a:cubicBezTo>
                  <a:pt x="10786817" y="753680"/>
                  <a:pt x="10784775" y="751802"/>
                  <a:pt x="10780771" y="751802"/>
                </a:cubicBezTo>
                <a:cubicBezTo>
                  <a:pt x="10780771" y="751802"/>
                  <a:pt x="10780771" y="751802"/>
                  <a:pt x="10765081" y="751802"/>
                </a:cubicBezTo>
                <a:cubicBezTo>
                  <a:pt x="10741466" y="751802"/>
                  <a:pt x="10729658" y="740408"/>
                  <a:pt x="10729658" y="717621"/>
                </a:cubicBezTo>
                <a:cubicBezTo>
                  <a:pt x="10729658" y="717621"/>
                  <a:pt x="10729658" y="717621"/>
                  <a:pt x="10729658" y="601766"/>
                </a:cubicBezTo>
                <a:cubicBezTo>
                  <a:pt x="10729658" y="599356"/>
                  <a:pt x="10731129" y="598131"/>
                  <a:pt x="10734071" y="598131"/>
                </a:cubicBezTo>
                <a:cubicBezTo>
                  <a:pt x="10734071" y="598131"/>
                  <a:pt x="10734071" y="598131"/>
                  <a:pt x="10776726" y="598131"/>
                </a:cubicBezTo>
                <a:cubicBezTo>
                  <a:pt x="10780771" y="598131"/>
                  <a:pt x="10782773" y="596416"/>
                  <a:pt x="10782773" y="592904"/>
                </a:cubicBezTo>
                <a:cubicBezTo>
                  <a:pt x="10782773" y="592904"/>
                  <a:pt x="10782773" y="592904"/>
                  <a:pt x="10782773" y="578039"/>
                </a:cubicBezTo>
                <a:cubicBezTo>
                  <a:pt x="10782773" y="574282"/>
                  <a:pt x="10780771" y="572404"/>
                  <a:pt x="10776726" y="572404"/>
                </a:cubicBezTo>
                <a:cubicBezTo>
                  <a:pt x="10776726" y="572404"/>
                  <a:pt x="10776726" y="572404"/>
                  <a:pt x="10734071" y="572404"/>
                </a:cubicBezTo>
                <a:cubicBezTo>
                  <a:pt x="10731129" y="572404"/>
                  <a:pt x="10729658" y="571219"/>
                  <a:pt x="10729658" y="568769"/>
                </a:cubicBezTo>
                <a:cubicBezTo>
                  <a:pt x="10729658" y="568769"/>
                  <a:pt x="10729658" y="568769"/>
                  <a:pt x="10729658" y="534180"/>
                </a:cubicBezTo>
                <a:cubicBezTo>
                  <a:pt x="10729658" y="530464"/>
                  <a:pt x="10727901" y="528544"/>
                  <a:pt x="10724429" y="528544"/>
                </a:cubicBezTo>
                <a:cubicBezTo>
                  <a:pt x="10724429" y="528544"/>
                  <a:pt x="10724429" y="528544"/>
                  <a:pt x="10706288" y="528544"/>
                </a:cubicBezTo>
                <a:close/>
                <a:moveTo>
                  <a:pt x="10825017" y="495038"/>
                </a:moveTo>
                <a:cubicBezTo>
                  <a:pt x="10821539" y="495038"/>
                  <a:pt x="10819779" y="496925"/>
                  <a:pt x="10819779" y="500699"/>
                </a:cubicBezTo>
                <a:cubicBezTo>
                  <a:pt x="10819779" y="500699"/>
                  <a:pt x="10819779" y="500699"/>
                  <a:pt x="10819779" y="538684"/>
                </a:cubicBezTo>
                <a:cubicBezTo>
                  <a:pt x="10819779" y="542458"/>
                  <a:pt x="10821539" y="544345"/>
                  <a:pt x="10825017" y="544345"/>
                </a:cubicBezTo>
                <a:cubicBezTo>
                  <a:pt x="10825017" y="544345"/>
                  <a:pt x="10825017" y="544345"/>
                  <a:pt x="10843594" y="544345"/>
                </a:cubicBezTo>
                <a:cubicBezTo>
                  <a:pt x="10847317" y="544345"/>
                  <a:pt x="10849200" y="542458"/>
                  <a:pt x="10849200" y="538684"/>
                </a:cubicBezTo>
                <a:cubicBezTo>
                  <a:pt x="10849200" y="538684"/>
                  <a:pt x="10849200" y="538684"/>
                  <a:pt x="10849200" y="500699"/>
                </a:cubicBezTo>
                <a:cubicBezTo>
                  <a:pt x="10849200" y="496925"/>
                  <a:pt x="10847317" y="495038"/>
                  <a:pt x="10843594" y="495038"/>
                </a:cubicBezTo>
                <a:cubicBezTo>
                  <a:pt x="10843594" y="495038"/>
                  <a:pt x="10843594" y="495038"/>
                  <a:pt x="10825017" y="495038"/>
                </a:cubicBezTo>
                <a:close/>
                <a:moveTo>
                  <a:pt x="9528334" y="495038"/>
                </a:moveTo>
                <a:cubicBezTo>
                  <a:pt x="9524815" y="495038"/>
                  <a:pt x="9523096" y="496925"/>
                  <a:pt x="9523096" y="500699"/>
                </a:cubicBezTo>
                <a:cubicBezTo>
                  <a:pt x="9523096" y="500699"/>
                  <a:pt x="9523096" y="500699"/>
                  <a:pt x="9523096" y="538684"/>
                </a:cubicBezTo>
                <a:cubicBezTo>
                  <a:pt x="9523096" y="542458"/>
                  <a:pt x="9524815" y="544345"/>
                  <a:pt x="9528334" y="544345"/>
                </a:cubicBezTo>
                <a:cubicBezTo>
                  <a:pt x="9528334" y="544345"/>
                  <a:pt x="9528334" y="544345"/>
                  <a:pt x="9546870" y="544345"/>
                </a:cubicBezTo>
                <a:cubicBezTo>
                  <a:pt x="9550634" y="544345"/>
                  <a:pt x="9552517" y="542458"/>
                  <a:pt x="9552517" y="538684"/>
                </a:cubicBezTo>
                <a:cubicBezTo>
                  <a:pt x="9552517" y="538684"/>
                  <a:pt x="9552517" y="538684"/>
                  <a:pt x="9552517" y="500699"/>
                </a:cubicBezTo>
                <a:cubicBezTo>
                  <a:pt x="9552517" y="496925"/>
                  <a:pt x="9550634" y="495038"/>
                  <a:pt x="9546870" y="495038"/>
                </a:cubicBezTo>
                <a:cubicBezTo>
                  <a:pt x="9546870" y="495038"/>
                  <a:pt x="9546870" y="495038"/>
                  <a:pt x="9528334" y="495038"/>
                </a:cubicBezTo>
                <a:close/>
                <a:moveTo>
                  <a:pt x="10892712" y="494765"/>
                </a:moveTo>
                <a:cubicBezTo>
                  <a:pt x="10888947" y="494765"/>
                  <a:pt x="10887065" y="496644"/>
                  <a:pt x="10887065" y="500401"/>
                </a:cubicBezTo>
                <a:cubicBezTo>
                  <a:pt x="10887065" y="500401"/>
                  <a:pt x="10887065" y="500401"/>
                  <a:pt x="10887065" y="771894"/>
                </a:cubicBezTo>
                <a:cubicBezTo>
                  <a:pt x="10887065" y="775692"/>
                  <a:pt x="10888947" y="777529"/>
                  <a:pt x="10892712" y="777529"/>
                </a:cubicBezTo>
                <a:cubicBezTo>
                  <a:pt x="10892712" y="777529"/>
                  <a:pt x="10892712" y="777529"/>
                  <a:pt x="10910880" y="777529"/>
                </a:cubicBezTo>
                <a:cubicBezTo>
                  <a:pt x="10914603" y="777529"/>
                  <a:pt x="10916486" y="775692"/>
                  <a:pt x="10916486" y="771894"/>
                </a:cubicBezTo>
                <a:cubicBezTo>
                  <a:pt x="10916486" y="771894"/>
                  <a:pt x="10916486" y="771894"/>
                  <a:pt x="10916486" y="500401"/>
                </a:cubicBezTo>
                <a:cubicBezTo>
                  <a:pt x="10916486" y="496644"/>
                  <a:pt x="10914603" y="494765"/>
                  <a:pt x="10910880" y="494765"/>
                </a:cubicBezTo>
                <a:cubicBezTo>
                  <a:pt x="10910880" y="494765"/>
                  <a:pt x="10910880" y="494765"/>
                  <a:pt x="10892712" y="494765"/>
                </a:cubicBezTo>
                <a:close/>
                <a:moveTo>
                  <a:pt x="9853001" y="494765"/>
                </a:moveTo>
                <a:cubicBezTo>
                  <a:pt x="9835022" y="494765"/>
                  <a:pt x="9821374" y="499870"/>
                  <a:pt x="9811935" y="510039"/>
                </a:cubicBezTo>
                <a:cubicBezTo>
                  <a:pt x="9802577" y="520248"/>
                  <a:pt x="9797878" y="534869"/>
                  <a:pt x="9797878" y="553899"/>
                </a:cubicBezTo>
                <a:cubicBezTo>
                  <a:pt x="9797878" y="553899"/>
                  <a:pt x="9797878" y="553899"/>
                  <a:pt x="9797878" y="568764"/>
                </a:cubicBezTo>
                <a:cubicBezTo>
                  <a:pt x="9797878" y="571174"/>
                  <a:pt x="9796530" y="572399"/>
                  <a:pt x="9793833" y="572399"/>
                </a:cubicBezTo>
                <a:cubicBezTo>
                  <a:pt x="9793833" y="572399"/>
                  <a:pt x="9793833" y="572399"/>
                  <a:pt x="9770092" y="572399"/>
                </a:cubicBezTo>
                <a:cubicBezTo>
                  <a:pt x="9766333" y="572399"/>
                  <a:pt x="9764453" y="574155"/>
                  <a:pt x="9764453" y="577626"/>
                </a:cubicBezTo>
                <a:cubicBezTo>
                  <a:pt x="9764453" y="577626"/>
                  <a:pt x="9764453" y="577626"/>
                  <a:pt x="9764453" y="592532"/>
                </a:cubicBezTo>
                <a:cubicBezTo>
                  <a:pt x="9764453" y="596289"/>
                  <a:pt x="9766333" y="598127"/>
                  <a:pt x="9770092" y="598127"/>
                </a:cubicBezTo>
                <a:cubicBezTo>
                  <a:pt x="9770092" y="598127"/>
                  <a:pt x="9770092" y="598127"/>
                  <a:pt x="9793833" y="598127"/>
                </a:cubicBezTo>
                <a:cubicBezTo>
                  <a:pt x="9796530" y="598127"/>
                  <a:pt x="9797878" y="599352"/>
                  <a:pt x="9797878" y="601761"/>
                </a:cubicBezTo>
                <a:cubicBezTo>
                  <a:pt x="9797878" y="601761"/>
                  <a:pt x="9797878" y="601761"/>
                  <a:pt x="9797878" y="771894"/>
                </a:cubicBezTo>
                <a:cubicBezTo>
                  <a:pt x="9797878" y="775692"/>
                  <a:pt x="9799758" y="777529"/>
                  <a:pt x="9803517" y="777529"/>
                </a:cubicBezTo>
                <a:cubicBezTo>
                  <a:pt x="9803517" y="777529"/>
                  <a:pt x="9803517" y="777529"/>
                  <a:pt x="9821211" y="777529"/>
                </a:cubicBezTo>
                <a:cubicBezTo>
                  <a:pt x="9825256" y="777529"/>
                  <a:pt x="9827258" y="775692"/>
                  <a:pt x="9827258" y="771894"/>
                </a:cubicBezTo>
                <a:cubicBezTo>
                  <a:pt x="9827258" y="771894"/>
                  <a:pt x="9827258" y="771894"/>
                  <a:pt x="9827258" y="601761"/>
                </a:cubicBezTo>
                <a:cubicBezTo>
                  <a:pt x="9827258" y="599352"/>
                  <a:pt x="9828443" y="598127"/>
                  <a:pt x="9830854" y="598127"/>
                </a:cubicBezTo>
                <a:cubicBezTo>
                  <a:pt x="9830854" y="598127"/>
                  <a:pt x="9830854" y="598127"/>
                  <a:pt x="9866281" y="598127"/>
                </a:cubicBezTo>
                <a:cubicBezTo>
                  <a:pt x="9870327" y="598127"/>
                  <a:pt x="9872329" y="596289"/>
                  <a:pt x="9872329" y="592532"/>
                </a:cubicBezTo>
                <a:cubicBezTo>
                  <a:pt x="9872329" y="592532"/>
                  <a:pt x="9872329" y="592532"/>
                  <a:pt x="9872329" y="577626"/>
                </a:cubicBezTo>
                <a:cubicBezTo>
                  <a:pt x="9872329" y="574155"/>
                  <a:pt x="9870327" y="572399"/>
                  <a:pt x="9866281" y="572399"/>
                </a:cubicBezTo>
                <a:cubicBezTo>
                  <a:pt x="9866281" y="572399"/>
                  <a:pt x="9866281" y="572399"/>
                  <a:pt x="9830854" y="572399"/>
                </a:cubicBezTo>
                <a:cubicBezTo>
                  <a:pt x="9828443" y="572399"/>
                  <a:pt x="9827258" y="571174"/>
                  <a:pt x="9827258" y="568764"/>
                </a:cubicBezTo>
                <a:cubicBezTo>
                  <a:pt x="9827258" y="568764"/>
                  <a:pt x="9827258" y="568764"/>
                  <a:pt x="9827258" y="555124"/>
                </a:cubicBezTo>
                <a:cubicBezTo>
                  <a:pt x="9827258" y="543036"/>
                  <a:pt x="9829383" y="534256"/>
                  <a:pt x="9833673" y="528743"/>
                </a:cubicBezTo>
                <a:cubicBezTo>
                  <a:pt x="9838005" y="523270"/>
                  <a:pt x="9845646" y="520493"/>
                  <a:pt x="9856638" y="520493"/>
                </a:cubicBezTo>
                <a:cubicBezTo>
                  <a:pt x="9856638" y="520493"/>
                  <a:pt x="9856638" y="520493"/>
                  <a:pt x="9866690" y="520493"/>
                </a:cubicBezTo>
                <a:cubicBezTo>
                  <a:pt x="9870449" y="520493"/>
                  <a:pt x="9872329" y="518656"/>
                  <a:pt x="9872329" y="514899"/>
                </a:cubicBezTo>
                <a:cubicBezTo>
                  <a:pt x="9872329" y="514899"/>
                  <a:pt x="9872329" y="514899"/>
                  <a:pt x="9872329" y="499993"/>
                </a:cubicBezTo>
                <a:cubicBezTo>
                  <a:pt x="9872329" y="496521"/>
                  <a:pt x="9870449" y="494765"/>
                  <a:pt x="9866690" y="494765"/>
                </a:cubicBezTo>
                <a:cubicBezTo>
                  <a:pt x="9866690" y="494765"/>
                  <a:pt x="9866690" y="494765"/>
                  <a:pt x="9853001" y="494765"/>
                </a:cubicBezTo>
                <a:close/>
                <a:moveTo>
                  <a:pt x="0" y="0"/>
                </a:moveTo>
                <a:lnTo>
                  <a:pt x="11576549" y="0"/>
                </a:lnTo>
                <a:lnTo>
                  <a:pt x="11576549" y="6857997"/>
                </a:lnTo>
                <a:lnTo>
                  <a:pt x="10740256" y="6857997"/>
                </a:lnTo>
                <a:lnTo>
                  <a:pt x="10761062" y="6823699"/>
                </a:lnTo>
                <a:cubicBezTo>
                  <a:pt x="10817889" y="6730025"/>
                  <a:pt x="10900545" y="6593771"/>
                  <a:pt x="11020773" y="6395584"/>
                </a:cubicBezTo>
                <a:cubicBezTo>
                  <a:pt x="11034185" y="6374359"/>
                  <a:pt x="11037122" y="6356970"/>
                  <a:pt x="11029459" y="6343544"/>
                </a:cubicBezTo>
                <a:cubicBezTo>
                  <a:pt x="11021667" y="6329991"/>
                  <a:pt x="11006339" y="6323214"/>
                  <a:pt x="10983220" y="6323214"/>
                </a:cubicBezTo>
                <a:cubicBezTo>
                  <a:pt x="10983220" y="6323214"/>
                  <a:pt x="10983220" y="6323214"/>
                  <a:pt x="10702593" y="6323214"/>
                </a:cubicBezTo>
                <a:cubicBezTo>
                  <a:pt x="10658142" y="6323214"/>
                  <a:pt x="10625442" y="6342522"/>
                  <a:pt x="10604239" y="6381136"/>
                </a:cubicBezTo>
                <a:cubicBezTo>
                  <a:pt x="10604239" y="6381136"/>
                  <a:pt x="10604239" y="6381136"/>
                  <a:pt x="10371659" y="6794350"/>
                </a:cubicBezTo>
                <a:lnTo>
                  <a:pt x="10335834" y="6857997"/>
                </a:lnTo>
                <a:lnTo>
                  <a:pt x="647565" y="6857997"/>
                </a:lnTo>
                <a:lnTo>
                  <a:pt x="831502" y="6739195"/>
                </a:lnTo>
                <a:cubicBezTo>
                  <a:pt x="1078907" y="6569250"/>
                  <a:pt x="1309528" y="6379696"/>
                  <a:pt x="1523381" y="6170533"/>
                </a:cubicBezTo>
                <a:cubicBezTo>
                  <a:pt x="2663932" y="5057301"/>
                  <a:pt x="3233054" y="3450830"/>
                  <a:pt x="3233054" y="1355745"/>
                </a:cubicBezTo>
                <a:cubicBezTo>
                  <a:pt x="3233054" y="1355745"/>
                  <a:pt x="3233054" y="1355745"/>
                  <a:pt x="3233054" y="14060"/>
                </a:cubicBezTo>
                <a:lnTo>
                  <a:pt x="3233054" y="4"/>
                </a:lnTo>
                <a:lnTo>
                  <a:pt x="0" y="4"/>
                </a:ln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01AD3671-AB84-445C-8E38-EE1DE1FCF4E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261588" y="-1"/>
            <a:ext cx="7441952" cy="6858001"/>
          </a:xfrm>
          <a:custGeom>
            <a:avLst/>
            <a:gdLst>
              <a:gd name="connsiteX0" fmla="*/ 3368128 w 7440983"/>
              <a:gd name="connsiteY0" fmla="*/ 0 h 6858001"/>
              <a:gd name="connsiteX1" fmla="*/ 5286449 w 7440983"/>
              <a:gd name="connsiteY1" fmla="*/ 0 h 6858001"/>
              <a:gd name="connsiteX2" fmla="*/ 5286449 w 7440983"/>
              <a:gd name="connsiteY2" fmla="*/ 4 h 6858001"/>
              <a:gd name="connsiteX3" fmla="*/ 7440983 w 7440983"/>
              <a:gd name="connsiteY3" fmla="*/ 4 h 6858001"/>
              <a:gd name="connsiteX4" fmla="*/ 7440983 w 7440983"/>
              <a:gd name="connsiteY4" fmla="*/ 217974 h 6858001"/>
              <a:gd name="connsiteX5" fmla="*/ 7440983 w 7440983"/>
              <a:gd name="connsiteY5" fmla="*/ 2029513 h 6858001"/>
              <a:gd name="connsiteX6" fmla="*/ 5731310 w 7440983"/>
              <a:gd name="connsiteY6" fmla="*/ 6844301 h 6858001"/>
              <a:gd name="connsiteX7" fmla="*/ 5716472 w 7440983"/>
              <a:gd name="connsiteY7" fmla="*/ 6858001 h 6858001"/>
              <a:gd name="connsiteX8" fmla="*/ 5286449 w 7440983"/>
              <a:gd name="connsiteY8" fmla="*/ 6858001 h 6858001"/>
              <a:gd name="connsiteX9" fmla="*/ 3368128 w 7440983"/>
              <a:gd name="connsiteY9" fmla="*/ 6858001 h 6858001"/>
              <a:gd name="connsiteX10" fmla="*/ 0 w 7440983"/>
              <a:gd name="connsiteY10" fmla="*/ 6858001 h 6858001"/>
              <a:gd name="connsiteX11" fmla="*/ 183943 w 7440983"/>
              <a:gd name="connsiteY11" fmla="*/ 6739195 h 6858001"/>
              <a:gd name="connsiteX12" fmla="*/ 875822 w 7440983"/>
              <a:gd name="connsiteY12" fmla="*/ 6170533 h 6858001"/>
              <a:gd name="connsiteX13" fmla="*/ 2585495 w 7440983"/>
              <a:gd name="connsiteY13" fmla="*/ 1355745 h 6858001"/>
              <a:gd name="connsiteX14" fmla="*/ 2585495 w 7440983"/>
              <a:gd name="connsiteY14" fmla="*/ 14060 h 6858001"/>
              <a:gd name="connsiteX15" fmla="*/ 2585495 w 7440983"/>
              <a:gd name="connsiteY15" fmla="*/ 4 h 6858001"/>
              <a:gd name="connsiteX16" fmla="*/ 3368128 w 7440983"/>
              <a:gd name="connsiteY16" fmla="*/ 4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440983" h="6858001">
                <a:moveTo>
                  <a:pt x="3368128" y="0"/>
                </a:moveTo>
                <a:lnTo>
                  <a:pt x="5286449" y="0"/>
                </a:lnTo>
                <a:lnTo>
                  <a:pt x="5286449" y="4"/>
                </a:lnTo>
                <a:lnTo>
                  <a:pt x="7440983" y="4"/>
                </a:lnTo>
                <a:lnTo>
                  <a:pt x="7440983" y="217974"/>
                </a:lnTo>
                <a:cubicBezTo>
                  <a:pt x="7440983" y="2029513"/>
                  <a:pt x="7440983" y="2029513"/>
                  <a:pt x="7440983" y="2029513"/>
                </a:cubicBezTo>
                <a:cubicBezTo>
                  <a:pt x="7440983" y="4124598"/>
                  <a:pt x="6871861" y="5731069"/>
                  <a:pt x="5731310" y="6844301"/>
                </a:cubicBezTo>
                <a:lnTo>
                  <a:pt x="5716472" y="6858001"/>
                </a:lnTo>
                <a:lnTo>
                  <a:pt x="5286449" y="6858001"/>
                </a:lnTo>
                <a:lnTo>
                  <a:pt x="3368128" y="6858001"/>
                </a:lnTo>
                <a:lnTo>
                  <a:pt x="0" y="6858001"/>
                </a:lnTo>
                <a:lnTo>
                  <a:pt x="183943" y="6739195"/>
                </a:lnTo>
                <a:cubicBezTo>
                  <a:pt x="431348" y="6569250"/>
                  <a:pt x="661969" y="6379696"/>
                  <a:pt x="875822" y="6170533"/>
                </a:cubicBezTo>
                <a:cubicBezTo>
                  <a:pt x="2016373" y="5057301"/>
                  <a:pt x="2585495" y="3450830"/>
                  <a:pt x="2585495" y="1355745"/>
                </a:cubicBezTo>
                <a:cubicBezTo>
                  <a:pt x="2585495" y="1355745"/>
                  <a:pt x="2585495" y="1355745"/>
                  <a:pt x="2585495" y="14060"/>
                </a:cubicBezTo>
                <a:lnTo>
                  <a:pt x="2585495" y="4"/>
                </a:lnTo>
                <a:lnTo>
                  <a:pt x="3368128" y="4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8946A64-FC2C-4499-8493-EA44EAD2A2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61587" y="-1"/>
            <a:ext cx="5596870" cy="6858001"/>
          </a:xfrm>
          <a:custGeom>
            <a:avLst/>
            <a:gdLst>
              <a:gd name="connsiteX0" fmla="*/ 2842744 w 5596141"/>
              <a:gd name="connsiteY0" fmla="*/ 0 h 6858001"/>
              <a:gd name="connsiteX1" fmla="*/ 3240933 w 5596141"/>
              <a:gd name="connsiteY1" fmla="*/ 0 h 6858001"/>
              <a:gd name="connsiteX2" fmla="*/ 3240933 w 5596141"/>
              <a:gd name="connsiteY2" fmla="*/ 4 h 6858001"/>
              <a:gd name="connsiteX3" fmla="*/ 5596141 w 5596141"/>
              <a:gd name="connsiteY3" fmla="*/ 4 h 6858001"/>
              <a:gd name="connsiteX4" fmla="*/ 5596141 w 5596141"/>
              <a:gd name="connsiteY4" fmla="*/ 47542 h 6858001"/>
              <a:gd name="connsiteX5" fmla="*/ 5596141 w 5596141"/>
              <a:gd name="connsiteY5" fmla="*/ 1612418 h 6858001"/>
              <a:gd name="connsiteX6" fmla="*/ 3886468 w 5596141"/>
              <a:gd name="connsiteY6" fmla="*/ 6427206 h 6858001"/>
              <a:gd name="connsiteX7" fmla="*/ 3436399 w 5596141"/>
              <a:gd name="connsiteY7" fmla="*/ 6819387 h 6858001"/>
              <a:gd name="connsiteX8" fmla="*/ 3383491 w 5596141"/>
              <a:gd name="connsiteY8" fmla="*/ 6858001 h 6858001"/>
              <a:gd name="connsiteX9" fmla="*/ 3240933 w 5596141"/>
              <a:gd name="connsiteY9" fmla="*/ 6858001 h 6858001"/>
              <a:gd name="connsiteX10" fmla="*/ 2842744 w 5596141"/>
              <a:gd name="connsiteY10" fmla="*/ 6858001 h 6858001"/>
              <a:gd name="connsiteX11" fmla="*/ 0 w 5596141"/>
              <a:gd name="connsiteY11" fmla="*/ 6858001 h 6858001"/>
              <a:gd name="connsiteX12" fmla="*/ 183943 w 5596141"/>
              <a:gd name="connsiteY12" fmla="*/ 6739195 h 6858001"/>
              <a:gd name="connsiteX13" fmla="*/ 875823 w 5596141"/>
              <a:gd name="connsiteY13" fmla="*/ 6170533 h 6858001"/>
              <a:gd name="connsiteX14" fmla="*/ 2585495 w 5596141"/>
              <a:gd name="connsiteY14" fmla="*/ 1355745 h 6858001"/>
              <a:gd name="connsiteX15" fmla="*/ 2585495 w 5596141"/>
              <a:gd name="connsiteY15" fmla="*/ 14060 h 6858001"/>
              <a:gd name="connsiteX16" fmla="*/ 2585495 w 5596141"/>
              <a:gd name="connsiteY16" fmla="*/ 4 h 6858001"/>
              <a:gd name="connsiteX17" fmla="*/ 2842744 w 5596141"/>
              <a:gd name="connsiteY17" fmla="*/ 4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96141" h="6858001">
                <a:moveTo>
                  <a:pt x="2842744" y="0"/>
                </a:moveTo>
                <a:lnTo>
                  <a:pt x="3240933" y="0"/>
                </a:lnTo>
                <a:lnTo>
                  <a:pt x="3240933" y="4"/>
                </a:lnTo>
                <a:lnTo>
                  <a:pt x="5596141" y="4"/>
                </a:lnTo>
                <a:lnTo>
                  <a:pt x="5596141" y="47542"/>
                </a:lnTo>
                <a:cubicBezTo>
                  <a:pt x="5596141" y="1612418"/>
                  <a:pt x="5596141" y="1612418"/>
                  <a:pt x="5596141" y="1612418"/>
                </a:cubicBezTo>
                <a:cubicBezTo>
                  <a:pt x="5596141" y="3707504"/>
                  <a:pt x="5027019" y="5313975"/>
                  <a:pt x="3886468" y="6427206"/>
                </a:cubicBezTo>
                <a:cubicBezTo>
                  <a:pt x="3743899" y="6566648"/>
                  <a:pt x="3593878" y="6697375"/>
                  <a:pt x="3436399" y="6819387"/>
                </a:cubicBezTo>
                <a:lnTo>
                  <a:pt x="3383491" y="6858001"/>
                </a:lnTo>
                <a:lnTo>
                  <a:pt x="3240933" y="6858001"/>
                </a:lnTo>
                <a:lnTo>
                  <a:pt x="2842744" y="6858001"/>
                </a:lnTo>
                <a:lnTo>
                  <a:pt x="0" y="6858001"/>
                </a:lnTo>
                <a:lnTo>
                  <a:pt x="183943" y="6739195"/>
                </a:lnTo>
                <a:cubicBezTo>
                  <a:pt x="431348" y="6569250"/>
                  <a:pt x="661969" y="6379696"/>
                  <a:pt x="875823" y="6170533"/>
                </a:cubicBezTo>
                <a:cubicBezTo>
                  <a:pt x="2016373" y="5057301"/>
                  <a:pt x="2585495" y="3450830"/>
                  <a:pt x="2585495" y="1355745"/>
                </a:cubicBezTo>
                <a:cubicBezTo>
                  <a:pt x="2585495" y="1355745"/>
                  <a:pt x="2585495" y="1355745"/>
                  <a:pt x="2585495" y="14060"/>
                </a:cubicBezTo>
                <a:lnTo>
                  <a:pt x="2585495" y="4"/>
                </a:lnTo>
                <a:lnTo>
                  <a:pt x="2842744" y="4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AD8BFCBE-8D89-4005-ACFB-542A847CAC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261588" y="0"/>
            <a:ext cx="4317755" cy="6858000"/>
          </a:xfrm>
          <a:custGeom>
            <a:avLst/>
            <a:gdLst>
              <a:gd name="connsiteX0" fmla="*/ 2683255 w 4317193"/>
              <a:gd name="connsiteY0" fmla="*/ 0 h 6858000"/>
              <a:gd name="connsiteX1" fmla="*/ 2759705 w 4317193"/>
              <a:gd name="connsiteY1" fmla="*/ 0 h 6858000"/>
              <a:gd name="connsiteX2" fmla="*/ 2759705 w 4317193"/>
              <a:gd name="connsiteY2" fmla="*/ 3 h 6858000"/>
              <a:gd name="connsiteX3" fmla="*/ 4317193 w 4317193"/>
              <a:gd name="connsiteY3" fmla="*/ 3 h 6858000"/>
              <a:gd name="connsiteX4" fmla="*/ 4317193 w 4317193"/>
              <a:gd name="connsiteY4" fmla="*/ 187295 h 6858000"/>
              <a:gd name="connsiteX5" fmla="*/ 4317193 w 4317193"/>
              <a:gd name="connsiteY5" fmla="*/ 2270144 h 6858000"/>
              <a:gd name="connsiteX6" fmla="*/ 3008445 w 4317193"/>
              <a:gd name="connsiteY6" fmla="*/ 6644358 h 6858000"/>
              <a:gd name="connsiteX7" fmla="*/ 2825325 w 4317193"/>
              <a:gd name="connsiteY7" fmla="*/ 6858000 h 6858000"/>
              <a:gd name="connsiteX8" fmla="*/ 2759705 w 4317193"/>
              <a:gd name="connsiteY8" fmla="*/ 6858000 h 6858000"/>
              <a:gd name="connsiteX9" fmla="*/ 2683255 w 4317193"/>
              <a:gd name="connsiteY9" fmla="*/ 6858000 h 6858000"/>
              <a:gd name="connsiteX10" fmla="*/ 0 w 4317193"/>
              <a:gd name="connsiteY10" fmla="*/ 6858000 h 6858000"/>
              <a:gd name="connsiteX11" fmla="*/ 183943 w 4317193"/>
              <a:gd name="connsiteY11" fmla="*/ 6739194 h 6858000"/>
              <a:gd name="connsiteX12" fmla="*/ 875822 w 4317193"/>
              <a:gd name="connsiteY12" fmla="*/ 6170532 h 6858000"/>
              <a:gd name="connsiteX13" fmla="*/ 2585495 w 4317193"/>
              <a:gd name="connsiteY13" fmla="*/ 1355744 h 6858000"/>
              <a:gd name="connsiteX14" fmla="*/ 2585495 w 4317193"/>
              <a:gd name="connsiteY14" fmla="*/ 14059 h 6858000"/>
              <a:gd name="connsiteX15" fmla="*/ 2585495 w 4317193"/>
              <a:gd name="connsiteY15" fmla="*/ 3 h 6858000"/>
              <a:gd name="connsiteX16" fmla="*/ 2683255 w 4317193"/>
              <a:gd name="connsiteY16" fmla="*/ 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317193" h="6858000">
                <a:moveTo>
                  <a:pt x="2683255" y="0"/>
                </a:moveTo>
                <a:lnTo>
                  <a:pt x="2759705" y="0"/>
                </a:lnTo>
                <a:lnTo>
                  <a:pt x="2759705" y="3"/>
                </a:lnTo>
                <a:lnTo>
                  <a:pt x="4317193" y="3"/>
                </a:lnTo>
                <a:lnTo>
                  <a:pt x="4317193" y="187295"/>
                </a:lnTo>
                <a:cubicBezTo>
                  <a:pt x="4317193" y="2270144"/>
                  <a:pt x="4317193" y="2270144"/>
                  <a:pt x="4317193" y="2270144"/>
                </a:cubicBezTo>
                <a:cubicBezTo>
                  <a:pt x="4317193" y="4103343"/>
                  <a:pt x="3881460" y="5562448"/>
                  <a:pt x="3008445" y="6644358"/>
                </a:cubicBezTo>
                <a:lnTo>
                  <a:pt x="2825325" y="6858000"/>
                </a:lnTo>
                <a:lnTo>
                  <a:pt x="2759705" y="6858000"/>
                </a:lnTo>
                <a:lnTo>
                  <a:pt x="2683255" y="6858000"/>
                </a:lnTo>
                <a:lnTo>
                  <a:pt x="0" y="6858000"/>
                </a:lnTo>
                <a:lnTo>
                  <a:pt x="183943" y="6739194"/>
                </a:lnTo>
                <a:cubicBezTo>
                  <a:pt x="431348" y="6569249"/>
                  <a:pt x="661969" y="6379695"/>
                  <a:pt x="875822" y="6170532"/>
                </a:cubicBezTo>
                <a:cubicBezTo>
                  <a:pt x="2016373" y="5057300"/>
                  <a:pt x="2585495" y="3450829"/>
                  <a:pt x="2585495" y="1355744"/>
                </a:cubicBezTo>
                <a:cubicBezTo>
                  <a:pt x="2585495" y="1355744"/>
                  <a:pt x="2585495" y="1355744"/>
                  <a:pt x="2585495" y="14059"/>
                </a:cubicBezTo>
                <a:lnTo>
                  <a:pt x="2585495" y="3"/>
                </a:lnTo>
                <a:lnTo>
                  <a:pt x="2683255" y="3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9C71F7-3486-4F68-8CAF-A0A767300B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9536EFB5-8A33-4BDE-B541-568355BA46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995" y="433389"/>
            <a:ext cx="4763343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3342EFD5-0CF1-4735-A46F-7CB8AE508F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4763343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9DE96E2-8BDB-421B-9F1F-9834D09761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2995" y="1511301"/>
            <a:ext cx="3896676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8618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AC24873E-C88A-403F-8F19-5AB62429E53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-1" y="0"/>
            <a:ext cx="8477590" cy="6858000"/>
          </a:xfrm>
          <a:custGeom>
            <a:avLst/>
            <a:gdLst>
              <a:gd name="connsiteX0" fmla="*/ 0 w 8476486"/>
              <a:gd name="connsiteY0" fmla="*/ 0 h 6858000"/>
              <a:gd name="connsiteX1" fmla="*/ 8285799 w 8476486"/>
              <a:gd name="connsiteY1" fmla="*/ 0 h 6858000"/>
              <a:gd name="connsiteX2" fmla="*/ 8476486 w 8476486"/>
              <a:gd name="connsiteY2" fmla="*/ 0 h 6858000"/>
              <a:gd name="connsiteX3" fmla="*/ 8424058 w 8476486"/>
              <a:gd name="connsiteY3" fmla="*/ 83826 h 6858000"/>
              <a:gd name="connsiteX4" fmla="*/ 5434866 w 8476486"/>
              <a:gd name="connsiteY4" fmla="*/ 5394575 h 6858000"/>
              <a:gd name="connsiteX5" fmla="*/ 5434866 w 8476486"/>
              <a:gd name="connsiteY5" fmla="*/ 6216948 h 6858000"/>
              <a:gd name="connsiteX6" fmla="*/ 5760641 w 8476486"/>
              <a:gd name="connsiteY6" fmla="*/ 6789564 h 6858000"/>
              <a:gd name="connsiteX7" fmla="*/ 5799576 w 8476486"/>
              <a:gd name="connsiteY7" fmla="*/ 6858000 h 6858000"/>
              <a:gd name="connsiteX8" fmla="*/ 5489634 w 8476486"/>
              <a:gd name="connsiteY8" fmla="*/ 6858000 h 6858000"/>
              <a:gd name="connsiteX9" fmla="*/ 0 w 8476486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76486" h="6858000">
                <a:moveTo>
                  <a:pt x="0" y="0"/>
                </a:moveTo>
                <a:lnTo>
                  <a:pt x="8285799" y="0"/>
                </a:lnTo>
                <a:lnTo>
                  <a:pt x="8476486" y="0"/>
                </a:lnTo>
                <a:lnTo>
                  <a:pt x="8424058" y="83826"/>
                </a:lnTo>
                <a:cubicBezTo>
                  <a:pt x="8424058" y="83826"/>
                  <a:pt x="8424058" y="83826"/>
                  <a:pt x="5434866" y="5394575"/>
                </a:cubicBezTo>
                <a:cubicBezTo>
                  <a:pt x="5285295" y="5677507"/>
                  <a:pt x="5285295" y="5951630"/>
                  <a:pt x="5434866" y="6216948"/>
                </a:cubicBezTo>
                <a:cubicBezTo>
                  <a:pt x="5434866" y="6216948"/>
                  <a:pt x="5434866" y="6216948"/>
                  <a:pt x="5760641" y="6789564"/>
                </a:cubicBezTo>
                <a:lnTo>
                  <a:pt x="5799576" y="6858000"/>
                </a:lnTo>
                <a:lnTo>
                  <a:pt x="548963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1A1FC92D-A191-4550-8981-E0BD16BF9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1556589" y="-1338"/>
            <a:ext cx="6921836" cy="6859338"/>
          </a:xfrm>
          <a:custGeom>
            <a:avLst/>
            <a:gdLst>
              <a:gd name="connsiteX0" fmla="*/ 3156400 w 6920935"/>
              <a:gd name="connsiteY0" fmla="*/ 0 h 6859338"/>
              <a:gd name="connsiteX1" fmla="*/ 6920935 w 6920935"/>
              <a:gd name="connsiteY1" fmla="*/ 0 h 6859338"/>
              <a:gd name="connsiteX2" fmla="*/ 6867670 w 6920935"/>
              <a:gd name="connsiteY2" fmla="*/ 85164 h 6859338"/>
              <a:gd name="connsiteX3" fmla="*/ 3878477 w 6920935"/>
              <a:gd name="connsiteY3" fmla="*/ 5395913 h 6859338"/>
              <a:gd name="connsiteX4" fmla="*/ 3878477 w 6920935"/>
              <a:gd name="connsiteY4" fmla="*/ 6218286 h 6859338"/>
              <a:gd name="connsiteX5" fmla="*/ 4204252 w 6920935"/>
              <a:gd name="connsiteY5" fmla="*/ 6790902 h 6859338"/>
              <a:gd name="connsiteX6" fmla="*/ 4243187 w 6920935"/>
              <a:gd name="connsiteY6" fmla="*/ 6859338 h 6859338"/>
              <a:gd name="connsiteX7" fmla="*/ 476887 w 6920935"/>
              <a:gd name="connsiteY7" fmla="*/ 6859338 h 6859338"/>
              <a:gd name="connsiteX8" fmla="*/ 427877 w 6920935"/>
              <a:gd name="connsiteY8" fmla="*/ 6773194 h 6859338"/>
              <a:gd name="connsiteX9" fmla="*/ 112178 w 6920935"/>
              <a:gd name="connsiteY9" fmla="*/ 6218286 h 6859338"/>
              <a:gd name="connsiteX10" fmla="*/ 112178 w 6920935"/>
              <a:gd name="connsiteY10" fmla="*/ 5395913 h 6859338"/>
              <a:gd name="connsiteX11" fmla="*/ 3101370 w 6920935"/>
              <a:gd name="connsiteY11" fmla="*/ 85164 h 6859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20935" h="6859338">
                <a:moveTo>
                  <a:pt x="3156400" y="0"/>
                </a:moveTo>
                <a:lnTo>
                  <a:pt x="6920935" y="0"/>
                </a:lnTo>
                <a:lnTo>
                  <a:pt x="6867670" y="85164"/>
                </a:lnTo>
                <a:cubicBezTo>
                  <a:pt x="6867670" y="85164"/>
                  <a:pt x="6867670" y="85164"/>
                  <a:pt x="3878477" y="5395913"/>
                </a:cubicBezTo>
                <a:cubicBezTo>
                  <a:pt x="3728907" y="5678845"/>
                  <a:pt x="3728907" y="5952968"/>
                  <a:pt x="3878477" y="6218286"/>
                </a:cubicBezTo>
                <a:cubicBezTo>
                  <a:pt x="3878477" y="6218286"/>
                  <a:pt x="3878477" y="6218286"/>
                  <a:pt x="4204252" y="6790902"/>
                </a:cubicBezTo>
                <a:lnTo>
                  <a:pt x="4243187" y="6859338"/>
                </a:lnTo>
                <a:lnTo>
                  <a:pt x="476887" y="6859338"/>
                </a:lnTo>
                <a:lnTo>
                  <a:pt x="427877" y="6773194"/>
                </a:lnTo>
                <a:cubicBezTo>
                  <a:pt x="112178" y="6218286"/>
                  <a:pt x="112178" y="6218286"/>
                  <a:pt x="112178" y="6218286"/>
                </a:cubicBezTo>
                <a:cubicBezTo>
                  <a:pt x="-37392" y="5952968"/>
                  <a:pt x="-37392" y="5678845"/>
                  <a:pt x="112178" y="5395913"/>
                </a:cubicBezTo>
                <a:cubicBezTo>
                  <a:pt x="3101370" y="85164"/>
                  <a:pt x="3101370" y="85164"/>
                  <a:pt x="3101370" y="85164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Formatvorlagen des Textmasters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30072D-F2F0-4AD7-B1C3-4E7BED74C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54D2FED5-A07A-4BDC-AC09-F739906852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3232424" y="-1338"/>
            <a:ext cx="5246002" cy="6859337"/>
          </a:xfrm>
          <a:custGeom>
            <a:avLst/>
            <a:gdLst>
              <a:gd name="connsiteX0" fmla="*/ 3154636 w 5245319"/>
              <a:gd name="connsiteY0" fmla="*/ 0 h 6859337"/>
              <a:gd name="connsiteX1" fmla="*/ 5245319 w 5245319"/>
              <a:gd name="connsiteY1" fmla="*/ 0 h 6859337"/>
              <a:gd name="connsiteX2" fmla="*/ 5192054 w 5245319"/>
              <a:gd name="connsiteY2" fmla="*/ 85164 h 6859337"/>
              <a:gd name="connsiteX3" fmla="*/ 2202862 w 5245319"/>
              <a:gd name="connsiteY3" fmla="*/ 5395913 h 6859337"/>
              <a:gd name="connsiteX4" fmla="*/ 2202862 w 5245319"/>
              <a:gd name="connsiteY4" fmla="*/ 6218286 h 6859337"/>
              <a:gd name="connsiteX5" fmla="*/ 2528636 w 5245319"/>
              <a:gd name="connsiteY5" fmla="*/ 6790902 h 6859337"/>
              <a:gd name="connsiteX6" fmla="*/ 2567570 w 5245319"/>
              <a:gd name="connsiteY6" fmla="*/ 6859337 h 6859337"/>
              <a:gd name="connsiteX7" fmla="*/ 476887 w 5245319"/>
              <a:gd name="connsiteY7" fmla="*/ 6859337 h 6859337"/>
              <a:gd name="connsiteX8" fmla="*/ 414125 w 5245319"/>
              <a:gd name="connsiteY8" fmla="*/ 6749021 h 6859337"/>
              <a:gd name="connsiteX9" fmla="*/ 112178 w 5245319"/>
              <a:gd name="connsiteY9" fmla="*/ 6218286 h 6859337"/>
              <a:gd name="connsiteX10" fmla="*/ 112178 w 5245319"/>
              <a:gd name="connsiteY10" fmla="*/ 5395913 h 6859337"/>
              <a:gd name="connsiteX11" fmla="*/ 3101371 w 5245319"/>
              <a:gd name="connsiteY11" fmla="*/ 85164 h 6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45319" h="6859337">
                <a:moveTo>
                  <a:pt x="3154636" y="0"/>
                </a:moveTo>
                <a:lnTo>
                  <a:pt x="5245319" y="0"/>
                </a:lnTo>
                <a:lnTo>
                  <a:pt x="5192054" y="85164"/>
                </a:lnTo>
                <a:cubicBezTo>
                  <a:pt x="5192054" y="85164"/>
                  <a:pt x="5192054" y="85164"/>
                  <a:pt x="2202862" y="5395913"/>
                </a:cubicBezTo>
                <a:cubicBezTo>
                  <a:pt x="2053291" y="5678845"/>
                  <a:pt x="2053291" y="5952968"/>
                  <a:pt x="2202862" y="6218286"/>
                </a:cubicBezTo>
                <a:cubicBezTo>
                  <a:pt x="2202862" y="6218286"/>
                  <a:pt x="2202862" y="6218286"/>
                  <a:pt x="2528636" y="6790902"/>
                </a:cubicBezTo>
                <a:lnTo>
                  <a:pt x="2567570" y="6859337"/>
                </a:lnTo>
                <a:lnTo>
                  <a:pt x="476887" y="6859337"/>
                </a:lnTo>
                <a:lnTo>
                  <a:pt x="414125" y="6749021"/>
                </a:lnTo>
                <a:cubicBezTo>
                  <a:pt x="112178" y="6218286"/>
                  <a:pt x="112178" y="6218286"/>
                  <a:pt x="112178" y="6218286"/>
                </a:cubicBezTo>
                <a:cubicBezTo>
                  <a:pt x="-37392" y="5952968"/>
                  <a:pt x="-37392" y="5678845"/>
                  <a:pt x="112178" y="5395913"/>
                </a:cubicBezTo>
                <a:cubicBezTo>
                  <a:pt x="3101371" y="85164"/>
                  <a:pt x="3101371" y="85164"/>
                  <a:pt x="3101371" y="85164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Formatvorlagen des Textmasters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42E357C-5FCD-4742-ADD4-04B0B075F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3722970" y="-1337"/>
            <a:ext cx="4755456" cy="6859337"/>
          </a:xfrm>
          <a:custGeom>
            <a:avLst/>
            <a:gdLst>
              <a:gd name="connsiteX0" fmla="*/ 3154636 w 4754837"/>
              <a:gd name="connsiteY0" fmla="*/ 0 h 6859337"/>
              <a:gd name="connsiteX1" fmla="*/ 4754837 w 4754837"/>
              <a:gd name="connsiteY1" fmla="*/ 0 h 6859337"/>
              <a:gd name="connsiteX2" fmla="*/ 4701572 w 4754837"/>
              <a:gd name="connsiteY2" fmla="*/ 85163 h 6859337"/>
              <a:gd name="connsiteX3" fmla="*/ 1712379 w 4754837"/>
              <a:gd name="connsiteY3" fmla="*/ 5395912 h 6859337"/>
              <a:gd name="connsiteX4" fmla="*/ 1712379 w 4754837"/>
              <a:gd name="connsiteY4" fmla="*/ 6218285 h 6859337"/>
              <a:gd name="connsiteX5" fmla="*/ 2038154 w 4754837"/>
              <a:gd name="connsiteY5" fmla="*/ 6790901 h 6859337"/>
              <a:gd name="connsiteX6" fmla="*/ 2077089 w 4754837"/>
              <a:gd name="connsiteY6" fmla="*/ 6859337 h 6859337"/>
              <a:gd name="connsiteX7" fmla="*/ 476888 w 4754837"/>
              <a:gd name="connsiteY7" fmla="*/ 6859337 h 6859337"/>
              <a:gd name="connsiteX8" fmla="*/ 467298 w 4754837"/>
              <a:gd name="connsiteY8" fmla="*/ 6842481 h 6859337"/>
              <a:gd name="connsiteX9" fmla="*/ 112178 w 4754837"/>
              <a:gd name="connsiteY9" fmla="*/ 6218285 h 6859337"/>
              <a:gd name="connsiteX10" fmla="*/ 112178 w 4754837"/>
              <a:gd name="connsiteY10" fmla="*/ 5395912 h 6859337"/>
              <a:gd name="connsiteX11" fmla="*/ 3101371 w 4754837"/>
              <a:gd name="connsiteY11" fmla="*/ 85163 h 6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754837" h="6859337">
                <a:moveTo>
                  <a:pt x="3154636" y="0"/>
                </a:moveTo>
                <a:lnTo>
                  <a:pt x="4754837" y="0"/>
                </a:lnTo>
                <a:lnTo>
                  <a:pt x="4701572" y="85163"/>
                </a:lnTo>
                <a:cubicBezTo>
                  <a:pt x="4701572" y="85163"/>
                  <a:pt x="4701572" y="85163"/>
                  <a:pt x="1712379" y="5395912"/>
                </a:cubicBezTo>
                <a:cubicBezTo>
                  <a:pt x="1562809" y="5678844"/>
                  <a:pt x="1562809" y="5952967"/>
                  <a:pt x="1712379" y="6218285"/>
                </a:cubicBezTo>
                <a:cubicBezTo>
                  <a:pt x="1712379" y="6218285"/>
                  <a:pt x="1712379" y="6218285"/>
                  <a:pt x="2038154" y="6790901"/>
                </a:cubicBezTo>
                <a:lnTo>
                  <a:pt x="2077089" y="6859337"/>
                </a:lnTo>
                <a:lnTo>
                  <a:pt x="476888" y="6859337"/>
                </a:lnTo>
                <a:lnTo>
                  <a:pt x="467298" y="6842481"/>
                </a:lnTo>
                <a:cubicBezTo>
                  <a:pt x="112178" y="6218285"/>
                  <a:pt x="112178" y="6218285"/>
                  <a:pt x="112178" y="6218285"/>
                </a:cubicBezTo>
                <a:cubicBezTo>
                  <a:pt x="-37392" y="5952967"/>
                  <a:pt x="-37392" y="5678844"/>
                  <a:pt x="112178" y="5395912"/>
                </a:cubicBezTo>
                <a:cubicBezTo>
                  <a:pt x="3101371" y="85163"/>
                  <a:pt x="3101371" y="85163"/>
                  <a:pt x="3101371" y="85163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Formatvorlagen des Textmasters bearbeiten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EAFB8902-B074-4B54-AE86-210024BA9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758761" y="0"/>
            <a:ext cx="3718826" cy="6858000"/>
          </a:xfrm>
          <a:custGeom>
            <a:avLst/>
            <a:gdLst>
              <a:gd name="connsiteX0" fmla="*/ 3153800 w 3718342"/>
              <a:gd name="connsiteY0" fmla="*/ 0 h 6858000"/>
              <a:gd name="connsiteX1" fmla="*/ 3718342 w 3718342"/>
              <a:gd name="connsiteY1" fmla="*/ 0 h 6858000"/>
              <a:gd name="connsiteX2" fmla="*/ 3665914 w 3718342"/>
              <a:gd name="connsiteY2" fmla="*/ 83826 h 6858000"/>
              <a:gd name="connsiteX3" fmla="*/ 676721 w 3718342"/>
              <a:gd name="connsiteY3" fmla="*/ 5394575 h 6858000"/>
              <a:gd name="connsiteX4" fmla="*/ 676721 w 3718342"/>
              <a:gd name="connsiteY4" fmla="*/ 6216948 h 6858000"/>
              <a:gd name="connsiteX5" fmla="*/ 1002496 w 3718342"/>
              <a:gd name="connsiteY5" fmla="*/ 6789564 h 6858000"/>
              <a:gd name="connsiteX6" fmla="*/ 1041431 w 3718342"/>
              <a:gd name="connsiteY6" fmla="*/ 6858000 h 6858000"/>
              <a:gd name="connsiteX7" fmla="*/ 476888 w 3718342"/>
              <a:gd name="connsiteY7" fmla="*/ 6858000 h 6858000"/>
              <a:gd name="connsiteX8" fmla="*/ 446165 w 3718342"/>
              <a:gd name="connsiteY8" fmla="*/ 6803999 h 6858000"/>
              <a:gd name="connsiteX9" fmla="*/ 112178 w 3718342"/>
              <a:gd name="connsiteY9" fmla="*/ 6216948 h 6858000"/>
              <a:gd name="connsiteX10" fmla="*/ 112178 w 3718342"/>
              <a:gd name="connsiteY10" fmla="*/ 5394575 h 6858000"/>
              <a:gd name="connsiteX11" fmla="*/ 3101371 w 3718342"/>
              <a:gd name="connsiteY11" fmla="*/ 838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18342" h="6858000">
                <a:moveTo>
                  <a:pt x="3153800" y="0"/>
                </a:moveTo>
                <a:lnTo>
                  <a:pt x="3718342" y="0"/>
                </a:lnTo>
                <a:lnTo>
                  <a:pt x="3665914" y="83826"/>
                </a:lnTo>
                <a:cubicBezTo>
                  <a:pt x="3665914" y="83826"/>
                  <a:pt x="3665914" y="83826"/>
                  <a:pt x="676721" y="5394575"/>
                </a:cubicBezTo>
                <a:cubicBezTo>
                  <a:pt x="527151" y="5677507"/>
                  <a:pt x="527151" y="5951630"/>
                  <a:pt x="676721" y="6216948"/>
                </a:cubicBezTo>
                <a:cubicBezTo>
                  <a:pt x="676721" y="6216948"/>
                  <a:pt x="676721" y="6216948"/>
                  <a:pt x="1002496" y="6789564"/>
                </a:cubicBezTo>
                <a:lnTo>
                  <a:pt x="1041431" y="6858000"/>
                </a:lnTo>
                <a:lnTo>
                  <a:pt x="476888" y="6858000"/>
                </a:lnTo>
                <a:lnTo>
                  <a:pt x="446165" y="6803999"/>
                </a:lnTo>
                <a:cubicBezTo>
                  <a:pt x="112178" y="6216948"/>
                  <a:pt x="112178" y="6216948"/>
                  <a:pt x="112178" y="6216948"/>
                </a:cubicBezTo>
                <a:cubicBezTo>
                  <a:pt x="-37392" y="5951630"/>
                  <a:pt x="-37392" y="5677507"/>
                  <a:pt x="112178" y="5394575"/>
                </a:cubicBezTo>
                <a:cubicBezTo>
                  <a:pt x="3101371" y="83826"/>
                  <a:pt x="3101371" y="83826"/>
                  <a:pt x="3101371" y="83826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Formatvorlagen des Textmasters bearbeiten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C493C823-9435-42B6-9CC5-604FD49BBD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63179" y="2252420"/>
            <a:ext cx="4285827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B2F1079-112A-43D4-B79A-11904E7C7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3179" y="1300162"/>
            <a:ext cx="4285826" cy="89196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E9B37CD0-7FF3-404F-B616-B5CE660B985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63180" y="2910643"/>
            <a:ext cx="4285826" cy="28996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3894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5DC31BD-E60C-4AE5-93FD-C986DECEF7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6497270" cy="6858000"/>
          </a:xfrm>
          <a:custGeom>
            <a:avLst/>
            <a:gdLst>
              <a:gd name="connsiteX0" fmla="*/ 0 w 6496424"/>
              <a:gd name="connsiteY0" fmla="*/ 0 h 6858000"/>
              <a:gd name="connsiteX1" fmla="*/ 6398650 w 6496424"/>
              <a:gd name="connsiteY1" fmla="*/ 0 h 6858000"/>
              <a:gd name="connsiteX2" fmla="*/ 6370238 w 6496424"/>
              <a:gd name="connsiteY2" fmla="*/ 50478 h 6858000"/>
              <a:gd name="connsiteX3" fmla="*/ 4648386 w 6496424"/>
              <a:gd name="connsiteY3" fmla="*/ 3109608 h 6858000"/>
              <a:gd name="connsiteX4" fmla="*/ 4648386 w 6496424"/>
              <a:gd name="connsiteY4" fmla="*/ 3609688 h 6858000"/>
              <a:gd name="connsiteX5" fmla="*/ 6397019 w 6496424"/>
              <a:gd name="connsiteY5" fmla="*/ 6683275 h 6858000"/>
              <a:gd name="connsiteX6" fmla="*/ 6496424 w 6496424"/>
              <a:gd name="connsiteY6" fmla="*/ 6858000 h 6858000"/>
              <a:gd name="connsiteX7" fmla="*/ 0 w 6496424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96424" h="6858000">
                <a:moveTo>
                  <a:pt x="0" y="0"/>
                </a:moveTo>
                <a:lnTo>
                  <a:pt x="6398650" y="0"/>
                </a:lnTo>
                <a:lnTo>
                  <a:pt x="6370238" y="50478"/>
                </a:lnTo>
                <a:cubicBezTo>
                  <a:pt x="6210478" y="334315"/>
                  <a:pt x="5784453" y="1091213"/>
                  <a:pt x="4648386" y="3109608"/>
                </a:cubicBezTo>
                <a:cubicBezTo>
                  <a:pt x="4557432" y="3281658"/>
                  <a:pt x="4557432" y="3448351"/>
                  <a:pt x="4648386" y="3609688"/>
                </a:cubicBezTo>
                <a:cubicBezTo>
                  <a:pt x="4648386" y="3609688"/>
                  <a:pt x="4648386" y="3609688"/>
                  <a:pt x="6397019" y="6683275"/>
                </a:cubicBezTo>
                <a:lnTo>
                  <a:pt x="649642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5611E341-96F3-44C7-91E4-7279352B51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170861" y="0"/>
            <a:ext cx="3326409" cy="6858000"/>
          </a:xfrm>
          <a:custGeom>
            <a:avLst/>
            <a:gdLst>
              <a:gd name="connsiteX0" fmla="*/ 1818480 w 3325976"/>
              <a:gd name="connsiteY0" fmla="*/ 0 h 6858000"/>
              <a:gd name="connsiteX1" fmla="*/ 3228202 w 3325976"/>
              <a:gd name="connsiteY1" fmla="*/ 0 h 6858000"/>
              <a:gd name="connsiteX2" fmla="*/ 3214001 w 3325976"/>
              <a:gd name="connsiteY2" fmla="*/ 25231 h 6858000"/>
              <a:gd name="connsiteX3" fmla="*/ 1477938 w 3325976"/>
              <a:gd name="connsiteY3" fmla="*/ 3109608 h 6858000"/>
              <a:gd name="connsiteX4" fmla="*/ 1477938 w 3325976"/>
              <a:gd name="connsiteY4" fmla="*/ 3609688 h 6858000"/>
              <a:gd name="connsiteX5" fmla="*/ 3226571 w 3325976"/>
              <a:gd name="connsiteY5" fmla="*/ 6683275 h 6858000"/>
              <a:gd name="connsiteX6" fmla="*/ 3325976 w 3325976"/>
              <a:gd name="connsiteY6" fmla="*/ 6858000 h 6858000"/>
              <a:gd name="connsiteX7" fmla="*/ 1916254 w 3325976"/>
              <a:gd name="connsiteY7" fmla="*/ 6858000 h 6858000"/>
              <a:gd name="connsiteX8" fmla="*/ 1816849 w 3325976"/>
              <a:gd name="connsiteY8" fmla="*/ 6683275 h 6858000"/>
              <a:gd name="connsiteX9" fmla="*/ 68215 w 3325976"/>
              <a:gd name="connsiteY9" fmla="*/ 3609688 h 6858000"/>
              <a:gd name="connsiteX10" fmla="*/ 68215 w 3325976"/>
              <a:gd name="connsiteY10" fmla="*/ 3109608 h 6858000"/>
              <a:gd name="connsiteX11" fmla="*/ 1804279 w 3325976"/>
              <a:gd name="connsiteY11" fmla="*/ 2523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325976" h="6858000">
                <a:moveTo>
                  <a:pt x="1818480" y="0"/>
                </a:moveTo>
                <a:lnTo>
                  <a:pt x="3228202" y="0"/>
                </a:lnTo>
                <a:lnTo>
                  <a:pt x="3214001" y="25231"/>
                </a:lnTo>
                <a:cubicBezTo>
                  <a:pt x="3065964" y="288241"/>
                  <a:pt x="2649508" y="1028139"/>
                  <a:pt x="1477938" y="3109608"/>
                </a:cubicBezTo>
                <a:cubicBezTo>
                  <a:pt x="1386984" y="3281658"/>
                  <a:pt x="1386984" y="3448351"/>
                  <a:pt x="1477938" y="3609688"/>
                </a:cubicBezTo>
                <a:cubicBezTo>
                  <a:pt x="1477938" y="3609688"/>
                  <a:pt x="1477938" y="3609688"/>
                  <a:pt x="3226571" y="6683275"/>
                </a:cubicBezTo>
                <a:lnTo>
                  <a:pt x="3325976" y="6858000"/>
                </a:lnTo>
                <a:lnTo>
                  <a:pt x="1916254" y="6858000"/>
                </a:lnTo>
                <a:lnTo>
                  <a:pt x="1816849" y="6683275"/>
                </a:lnTo>
                <a:cubicBezTo>
                  <a:pt x="68215" y="3609688"/>
                  <a:pt x="68215" y="3609688"/>
                  <a:pt x="68215" y="3609688"/>
                </a:cubicBezTo>
                <a:cubicBezTo>
                  <a:pt x="-22738" y="3448351"/>
                  <a:pt x="-22738" y="3281658"/>
                  <a:pt x="68215" y="3109608"/>
                </a:cubicBezTo>
                <a:cubicBezTo>
                  <a:pt x="1239786" y="1028139"/>
                  <a:pt x="1656242" y="288241"/>
                  <a:pt x="1804279" y="25231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84BE9421-29F0-4369-8658-C23AB74D65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32206" y="-2"/>
            <a:ext cx="2565062" cy="6857998"/>
          </a:xfrm>
          <a:custGeom>
            <a:avLst/>
            <a:gdLst>
              <a:gd name="connsiteX0" fmla="*/ 1818480 w 2564728"/>
              <a:gd name="connsiteY0" fmla="*/ 0 h 6857998"/>
              <a:gd name="connsiteX1" fmla="*/ 2466957 w 2564728"/>
              <a:gd name="connsiteY1" fmla="*/ 0 h 6857998"/>
              <a:gd name="connsiteX2" fmla="*/ 2438544 w 2564728"/>
              <a:gd name="connsiteY2" fmla="*/ 50480 h 6857998"/>
              <a:gd name="connsiteX3" fmla="*/ 716691 w 2564728"/>
              <a:gd name="connsiteY3" fmla="*/ 3109610 h 6857998"/>
              <a:gd name="connsiteX4" fmla="*/ 716691 w 2564728"/>
              <a:gd name="connsiteY4" fmla="*/ 3609690 h 6857998"/>
              <a:gd name="connsiteX5" fmla="*/ 2465325 w 2564728"/>
              <a:gd name="connsiteY5" fmla="*/ 6683277 h 6857998"/>
              <a:gd name="connsiteX6" fmla="*/ 2564728 w 2564728"/>
              <a:gd name="connsiteY6" fmla="*/ 6857998 h 6857998"/>
              <a:gd name="connsiteX7" fmla="*/ 1916252 w 2564728"/>
              <a:gd name="connsiteY7" fmla="*/ 6857998 h 6857998"/>
              <a:gd name="connsiteX8" fmla="*/ 1816849 w 2564728"/>
              <a:gd name="connsiteY8" fmla="*/ 6683277 h 6857998"/>
              <a:gd name="connsiteX9" fmla="*/ 68215 w 2564728"/>
              <a:gd name="connsiteY9" fmla="*/ 3609690 h 6857998"/>
              <a:gd name="connsiteX10" fmla="*/ 68215 w 2564728"/>
              <a:gd name="connsiteY10" fmla="*/ 3109610 h 6857998"/>
              <a:gd name="connsiteX11" fmla="*/ 1790067 w 2564728"/>
              <a:gd name="connsiteY11" fmla="*/ 5048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64728" h="6857998">
                <a:moveTo>
                  <a:pt x="1818480" y="0"/>
                </a:moveTo>
                <a:lnTo>
                  <a:pt x="2466957" y="0"/>
                </a:lnTo>
                <a:lnTo>
                  <a:pt x="2438544" y="50480"/>
                </a:lnTo>
                <a:cubicBezTo>
                  <a:pt x="2278784" y="334317"/>
                  <a:pt x="1852759" y="1091215"/>
                  <a:pt x="716691" y="3109610"/>
                </a:cubicBezTo>
                <a:cubicBezTo>
                  <a:pt x="625738" y="3281660"/>
                  <a:pt x="625738" y="3448353"/>
                  <a:pt x="716691" y="3609690"/>
                </a:cubicBezTo>
                <a:cubicBezTo>
                  <a:pt x="716691" y="3609690"/>
                  <a:pt x="716691" y="3609690"/>
                  <a:pt x="2465325" y="6683277"/>
                </a:cubicBezTo>
                <a:lnTo>
                  <a:pt x="2564728" y="6857998"/>
                </a:lnTo>
                <a:lnTo>
                  <a:pt x="1916252" y="6857998"/>
                </a:lnTo>
                <a:lnTo>
                  <a:pt x="1816849" y="6683277"/>
                </a:lnTo>
                <a:cubicBezTo>
                  <a:pt x="68215" y="3609690"/>
                  <a:pt x="68215" y="3609690"/>
                  <a:pt x="68215" y="3609690"/>
                </a:cubicBezTo>
                <a:cubicBezTo>
                  <a:pt x="-22738" y="3448353"/>
                  <a:pt x="-22738" y="3281660"/>
                  <a:pt x="68215" y="3109610"/>
                </a:cubicBezTo>
                <a:cubicBezTo>
                  <a:pt x="1204282" y="1091215"/>
                  <a:pt x="1630307" y="334317"/>
                  <a:pt x="1790067" y="50480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F8F2B652-1FC4-4AF2-9A77-F15EF2409D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64229" y="-1"/>
            <a:ext cx="2133040" cy="6857999"/>
          </a:xfrm>
          <a:custGeom>
            <a:avLst/>
            <a:gdLst>
              <a:gd name="connsiteX0" fmla="*/ 1818479 w 2132762"/>
              <a:gd name="connsiteY0" fmla="*/ 0 h 6857999"/>
              <a:gd name="connsiteX1" fmla="*/ 2034989 w 2132762"/>
              <a:gd name="connsiteY1" fmla="*/ 0 h 6857999"/>
              <a:gd name="connsiteX2" fmla="*/ 2006577 w 2132762"/>
              <a:gd name="connsiteY2" fmla="*/ 50479 h 6857999"/>
              <a:gd name="connsiteX3" fmla="*/ 284724 w 2132762"/>
              <a:gd name="connsiteY3" fmla="*/ 3109609 h 6857999"/>
              <a:gd name="connsiteX4" fmla="*/ 284724 w 2132762"/>
              <a:gd name="connsiteY4" fmla="*/ 3609689 h 6857999"/>
              <a:gd name="connsiteX5" fmla="*/ 2033358 w 2132762"/>
              <a:gd name="connsiteY5" fmla="*/ 6683276 h 6857999"/>
              <a:gd name="connsiteX6" fmla="*/ 2132762 w 2132762"/>
              <a:gd name="connsiteY6" fmla="*/ 6857999 h 6857999"/>
              <a:gd name="connsiteX7" fmla="*/ 1916252 w 2132762"/>
              <a:gd name="connsiteY7" fmla="*/ 6857999 h 6857999"/>
              <a:gd name="connsiteX8" fmla="*/ 1816848 w 2132762"/>
              <a:gd name="connsiteY8" fmla="*/ 6683276 h 6857999"/>
              <a:gd name="connsiteX9" fmla="*/ 68215 w 2132762"/>
              <a:gd name="connsiteY9" fmla="*/ 3609689 h 6857999"/>
              <a:gd name="connsiteX10" fmla="*/ 68215 w 2132762"/>
              <a:gd name="connsiteY10" fmla="*/ 3109609 h 6857999"/>
              <a:gd name="connsiteX11" fmla="*/ 1790067 w 2132762"/>
              <a:gd name="connsiteY11" fmla="*/ 5047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32762" h="6857999">
                <a:moveTo>
                  <a:pt x="1818479" y="0"/>
                </a:moveTo>
                <a:lnTo>
                  <a:pt x="2034989" y="0"/>
                </a:lnTo>
                <a:lnTo>
                  <a:pt x="2006577" y="50479"/>
                </a:lnTo>
                <a:cubicBezTo>
                  <a:pt x="1846817" y="334316"/>
                  <a:pt x="1420792" y="1091214"/>
                  <a:pt x="284724" y="3109609"/>
                </a:cubicBezTo>
                <a:cubicBezTo>
                  <a:pt x="193771" y="3281659"/>
                  <a:pt x="193771" y="3448352"/>
                  <a:pt x="284724" y="3609689"/>
                </a:cubicBezTo>
                <a:cubicBezTo>
                  <a:pt x="284724" y="3609689"/>
                  <a:pt x="284724" y="3609689"/>
                  <a:pt x="2033358" y="6683276"/>
                </a:cubicBezTo>
                <a:lnTo>
                  <a:pt x="2132762" y="6857999"/>
                </a:lnTo>
                <a:lnTo>
                  <a:pt x="1916252" y="6857999"/>
                </a:lnTo>
                <a:lnTo>
                  <a:pt x="1816848" y="6683276"/>
                </a:lnTo>
                <a:cubicBezTo>
                  <a:pt x="68215" y="3609689"/>
                  <a:pt x="68215" y="3609689"/>
                  <a:pt x="68215" y="3609689"/>
                </a:cubicBezTo>
                <a:cubicBezTo>
                  <a:pt x="-22738" y="3448352"/>
                  <a:pt x="-22738" y="3281659"/>
                  <a:pt x="68215" y="3109609"/>
                </a:cubicBezTo>
                <a:cubicBezTo>
                  <a:pt x="1204282" y="1091214"/>
                  <a:pt x="1630307" y="334316"/>
                  <a:pt x="1790067" y="50479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00" dirty="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964956-4D1D-4EDB-B0CA-A79AA2AFFF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28DAE1-ADE1-447A-ABCD-A0B4C67F5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6802" y="1300163"/>
            <a:ext cx="5395127" cy="859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1E13E23-C0A1-4ABD-9281-223DF3EADC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56803" y="2252420"/>
            <a:ext cx="5395126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D560991-ABF8-4318-8D24-0437F93B168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6802" y="2910643"/>
            <a:ext cx="5392204" cy="28996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830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CB0F620E-A4B1-4E72-89FF-4A214C8F9B6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5186124" y="2523385"/>
            <a:ext cx="5996566" cy="4334614"/>
          </a:xfrm>
          <a:custGeom>
            <a:avLst/>
            <a:gdLst>
              <a:gd name="connsiteX0" fmla="*/ 4369863 w 5995785"/>
              <a:gd name="connsiteY0" fmla="*/ 4334614 h 4334614"/>
              <a:gd name="connsiteX1" fmla="*/ 1617252 w 5995785"/>
              <a:gd name="connsiteY1" fmla="*/ 4334614 h 4334614"/>
              <a:gd name="connsiteX2" fmla="*/ 1032635 w 5995785"/>
              <a:gd name="connsiteY2" fmla="*/ 3857748 h 4334614"/>
              <a:gd name="connsiteX3" fmla="*/ 42506 w 5995785"/>
              <a:gd name="connsiteY3" fmla="*/ 158796 h 4334614"/>
              <a:gd name="connsiteX4" fmla="*/ 0 w 5995785"/>
              <a:gd name="connsiteY4" fmla="*/ 0 h 4334614"/>
              <a:gd name="connsiteX5" fmla="*/ 2508740 w 5995785"/>
              <a:gd name="connsiteY5" fmla="*/ 0 h 4334614"/>
              <a:gd name="connsiteX6" fmla="*/ 2549524 w 5995785"/>
              <a:gd name="connsiteY6" fmla="*/ 178400 h 4334614"/>
              <a:gd name="connsiteX7" fmla="*/ 2939623 w 5995785"/>
              <a:gd name="connsiteY7" fmla="*/ 1884776 h 4334614"/>
              <a:gd name="connsiteX8" fmla="*/ 3090834 w 5995785"/>
              <a:gd name="connsiteY8" fmla="*/ 1884776 h 4334614"/>
              <a:gd name="connsiteX9" fmla="*/ 3485214 w 5995785"/>
              <a:gd name="connsiteY9" fmla="*/ 119532 h 4334614"/>
              <a:gd name="connsiteX10" fmla="*/ 3511919 w 5995785"/>
              <a:gd name="connsiteY10" fmla="*/ 0 h 4334614"/>
              <a:gd name="connsiteX11" fmla="*/ 5995785 w 5995785"/>
              <a:gd name="connsiteY11" fmla="*/ 0 h 4334614"/>
              <a:gd name="connsiteX12" fmla="*/ 5969283 w 5995785"/>
              <a:gd name="connsiteY12" fmla="*/ 98273 h 4334614"/>
              <a:gd name="connsiteX13" fmla="*/ 4955443 w 5995785"/>
              <a:gd name="connsiteY13" fmla="*/ 3857748 h 4334614"/>
              <a:gd name="connsiteX14" fmla="*/ 4369863 w 5995785"/>
              <a:gd name="connsiteY14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995785" h="4334614">
                <a:moveTo>
                  <a:pt x="4369863" y="4334614"/>
                </a:moveTo>
                <a:cubicBezTo>
                  <a:pt x="1617252" y="4334614"/>
                  <a:pt x="1617252" y="4334614"/>
                  <a:pt x="1617252" y="4334614"/>
                </a:cubicBezTo>
                <a:cubicBezTo>
                  <a:pt x="1313868" y="4334614"/>
                  <a:pt x="1119317" y="4175659"/>
                  <a:pt x="1032635" y="3857748"/>
                </a:cubicBezTo>
                <a:cubicBezTo>
                  <a:pt x="651508" y="2433924"/>
                  <a:pt x="323978" y="1210326"/>
                  <a:pt x="42506" y="158796"/>
                </a:cubicBezTo>
                <a:lnTo>
                  <a:pt x="0" y="0"/>
                </a:lnTo>
                <a:lnTo>
                  <a:pt x="2508740" y="0"/>
                </a:lnTo>
                <a:lnTo>
                  <a:pt x="2549524" y="178400"/>
                </a:lnTo>
                <a:cubicBezTo>
                  <a:pt x="2939623" y="1884776"/>
                  <a:pt x="2939623" y="1884776"/>
                  <a:pt x="2939623" y="1884776"/>
                </a:cubicBezTo>
                <a:cubicBezTo>
                  <a:pt x="3090834" y="1884776"/>
                  <a:pt x="3090834" y="1884776"/>
                  <a:pt x="3090834" y="1884776"/>
                </a:cubicBezTo>
                <a:cubicBezTo>
                  <a:pt x="3233120" y="1247901"/>
                  <a:pt x="3364291" y="660782"/>
                  <a:pt x="3485214" y="119532"/>
                </a:cubicBezTo>
                <a:lnTo>
                  <a:pt x="3511919" y="0"/>
                </a:lnTo>
                <a:lnTo>
                  <a:pt x="5995785" y="0"/>
                </a:lnTo>
                <a:lnTo>
                  <a:pt x="5969283" y="98273"/>
                </a:lnTo>
                <a:cubicBezTo>
                  <a:pt x="4955443" y="3857748"/>
                  <a:pt x="4955443" y="3857748"/>
                  <a:pt x="4955443" y="3857748"/>
                </a:cubicBezTo>
                <a:cubicBezTo>
                  <a:pt x="4897656" y="4175659"/>
                  <a:pt x="4702141" y="4334614"/>
                  <a:pt x="4369863" y="4334614"/>
                </a:cubicBezTo>
                <a:close/>
              </a:path>
            </a:pathLst>
          </a:custGeom>
          <a:solidFill>
            <a:schemeClr val="accent6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D78BE470-119E-45BC-9D42-A4812DE6D64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645723" y="2523385"/>
            <a:ext cx="5546277" cy="4334614"/>
          </a:xfrm>
          <a:custGeom>
            <a:avLst/>
            <a:gdLst>
              <a:gd name="connsiteX0" fmla="*/ 3919634 w 5545555"/>
              <a:gd name="connsiteY0" fmla="*/ 4334614 h 4334614"/>
              <a:gd name="connsiteX1" fmla="*/ 1167022 w 5545555"/>
              <a:gd name="connsiteY1" fmla="*/ 4334614 h 4334614"/>
              <a:gd name="connsiteX2" fmla="*/ 582405 w 5545555"/>
              <a:gd name="connsiteY2" fmla="*/ 3857748 h 4334614"/>
              <a:gd name="connsiteX3" fmla="*/ 105335 w 5545555"/>
              <a:gd name="connsiteY3" fmla="*/ 2075496 h 4334614"/>
              <a:gd name="connsiteX4" fmla="*/ 0 w 5545555"/>
              <a:gd name="connsiteY4" fmla="*/ 1681983 h 4334614"/>
              <a:gd name="connsiteX5" fmla="*/ 0 w 5545555"/>
              <a:gd name="connsiteY5" fmla="*/ 0 h 4334614"/>
              <a:gd name="connsiteX6" fmla="*/ 2058510 w 5545555"/>
              <a:gd name="connsiteY6" fmla="*/ 0 h 4334614"/>
              <a:gd name="connsiteX7" fmla="*/ 2099295 w 5545555"/>
              <a:gd name="connsiteY7" fmla="*/ 178400 h 4334614"/>
              <a:gd name="connsiteX8" fmla="*/ 2489393 w 5545555"/>
              <a:gd name="connsiteY8" fmla="*/ 1884776 h 4334614"/>
              <a:gd name="connsiteX9" fmla="*/ 2640604 w 5545555"/>
              <a:gd name="connsiteY9" fmla="*/ 1884776 h 4334614"/>
              <a:gd name="connsiteX10" fmla="*/ 3034984 w 5545555"/>
              <a:gd name="connsiteY10" fmla="*/ 119532 h 4334614"/>
              <a:gd name="connsiteX11" fmla="*/ 3061689 w 5545555"/>
              <a:gd name="connsiteY11" fmla="*/ 0 h 4334614"/>
              <a:gd name="connsiteX12" fmla="*/ 5545555 w 5545555"/>
              <a:gd name="connsiteY12" fmla="*/ 0 h 4334614"/>
              <a:gd name="connsiteX13" fmla="*/ 5519054 w 5545555"/>
              <a:gd name="connsiteY13" fmla="*/ 98273 h 4334614"/>
              <a:gd name="connsiteX14" fmla="*/ 4505214 w 5545555"/>
              <a:gd name="connsiteY14" fmla="*/ 3857748 h 4334614"/>
              <a:gd name="connsiteX15" fmla="*/ 3919634 w 5545555"/>
              <a:gd name="connsiteY15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45555" h="4334614">
                <a:moveTo>
                  <a:pt x="3919634" y="4334614"/>
                </a:moveTo>
                <a:cubicBezTo>
                  <a:pt x="1167022" y="4334614"/>
                  <a:pt x="1167022" y="4334614"/>
                  <a:pt x="1167022" y="4334614"/>
                </a:cubicBezTo>
                <a:cubicBezTo>
                  <a:pt x="863638" y="4334614"/>
                  <a:pt x="669087" y="4175659"/>
                  <a:pt x="582405" y="3857748"/>
                </a:cubicBezTo>
                <a:cubicBezTo>
                  <a:pt x="413015" y="3224937"/>
                  <a:pt x="254213" y="2631678"/>
                  <a:pt x="105335" y="2075496"/>
                </a:cubicBezTo>
                <a:lnTo>
                  <a:pt x="0" y="1681983"/>
                </a:lnTo>
                <a:lnTo>
                  <a:pt x="0" y="0"/>
                </a:lnTo>
                <a:lnTo>
                  <a:pt x="2058510" y="0"/>
                </a:lnTo>
                <a:lnTo>
                  <a:pt x="2099295" y="178400"/>
                </a:lnTo>
                <a:cubicBezTo>
                  <a:pt x="2489393" y="1884776"/>
                  <a:pt x="2489393" y="1884776"/>
                  <a:pt x="2489393" y="1884776"/>
                </a:cubicBezTo>
                <a:cubicBezTo>
                  <a:pt x="2640604" y="1884776"/>
                  <a:pt x="2640604" y="1884776"/>
                  <a:pt x="2640604" y="1884776"/>
                </a:cubicBezTo>
                <a:cubicBezTo>
                  <a:pt x="2782891" y="1247901"/>
                  <a:pt x="2914061" y="660782"/>
                  <a:pt x="3034984" y="119532"/>
                </a:cubicBezTo>
                <a:lnTo>
                  <a:pt x="3061689" y="0"/>
                </a:lnTo>
                <a:lnTo>
                  <a:pt x="5545555" y="0"/>
                </a:lnTo>
                <a:lnTo>
                  <a:pt x="5519054" y="98273"/>
                </a:lnTo>
                <a:cubicBezTo>
                  <a:pt x="4505214" y="3857748"/>
                  <a:pt x="4505214" y="3857748"/>
                  <a:pt x="4505214" y="3857748"/>
                </a:cubicBezTo>
                <a:cubicBezTo>
                  <a:pt x="4447426" y="4175659"/>
                  <a:pt x="4251912" y="4334614"/>
                  <a:pt x="3919634" y="4334614"/>
                </a:cubicBezTo>
                <a:close/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6DE93943-E5FF-4350-A61B-E698486620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328561" y="2523385"/>
            <a:ext cx="4863437" cy="4334614"/>
          </a:xfrm>
          <a:custGeom>
            <a:avLst/>
            <a:gdLst>
              <a:gd name="connsiteX0" fmla="*/ 3236883 w 4862804"/>
              <a:gd name="connsiteY0" fmla="*/ 4334614 h 4334614"/>
              <a:gd name="connsiteX1" fmla="*/ 484271 w 4862804"/>
              <a:gd name="connsiteY1" fmla="*/ 4334614 h 4334614"/>
              <a:gd name="connsiteX2" fmla="*/ 42729 w 4862804"/>
              <a:gd name="connsiteY2" fmla="*/ 4148338 h 4334614"/>
              <a:gd name="connsiteX3" fmla="*/ 0 w 4862804"/>
              <a:gd name="connsiteY3" fmla="*/ 4087772 h 4334614"/>
              <a:gd name="connsiteX4" fmla="*/ 0 w 4862804"/>
              <a:gd name="connsiteY4" fmla="*/ 0 h 4334614"/>
              <a:gd name="connsiteX5" fmla="*/ 1375759 w 4862804"/>
              <a:gd name="connsiteY5" fmla="*/ 0 h 4334614"/>
              <a:gd name="connsiteX6" fmla="*/ 1416543 w 4862804"/>
              <a:gd name="connsiteY6" fmla="*/ 178400 h 4334614"/>
              <a:gd name="connsiteX7" fmla="*/ 1806642 w 4862804"/>
              <a:gd name="connsiteY7" fmla="*/ 1884776 h 4334614"/>
              <a:gd name="connsiteX8" fmla="*/ 1957853 w 4862804"/>
              <a:gd name="connsiteY8" fmla="*/ 1884776 h 4334614"/>
              <a:gd name="connsiteX9" fmla="*/ 2352233 w 4862804"/>
              <a:gd name="connsiteY9" fmla="*/ 119532 h 4334614"/>
              <a:gd name="connsiteX10" fmla="*/ 2378938 w 4862804"/>
              <a:gd name="connsiteY10" fmla="*/ 0 h 4334614"/>
              <a:gd name="connsiteX11" fmla="*/ 4862804 w 4862804"/>
              <a:gd name="connsiteY11" fmla="*/ 0 h 4334614"/>
              <a:gd name="connsiteX12" fmla="*/ 4836303 w 4862804"/>
              <a:gd name="connsiteY12" fmla="*/ 98273 h 4334614"/>
              <a:gd name="connsiteX13" fmla="*/ 3822463 w 4862804"/>
              <a:gd name="connsiteY13" fmla="*/ 3857748 h 4334614"/>
              <a:gd name="connsiteX14" fmla="*/ 3236883 w 4862804"/>
              <a:gd name="connsiteY14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62804" h="4334614">
                <a:moveTo>
                  <a:pt x="3236883" y="4334614"/>
                </a:moveTo>
                <a:cubicBezTo>
                  <a:pt x="484271" y="4334614"/>
                  <a:pt x="484271" y="4334614"/>
                  <a:pt x="484271" y="4334614"/>
                </a:cubicBezTo>
                <a:cubicBezTo>
                  <a:pt x="294656" y="4334614"/>
                  <a:pt x="147554" y="4272522"/>
                  <a:pt x="42729" y="4148338"/>
                </a:cubicBezTo>
                <a:lnTo>
                  <a:pt x="0" y="4087772"/>
                </a:lnTo>
                <a:lnTo>
                  <a:pt x="0" y="0"/>
                </a:lnTo>
                <a:lnTo>
                  <a:pt x="1375759" y="0"/>
                </a:lnTo>
                <a:lnTo>
                  <a:pt x="1416543" y="178400"/>
                </a:lnTo>
                <a:cubicBezTo>
                  <a:pt x="1806642" y="1884776"/>
                  <a:pt x="1806642" y="1884776"/>
                  <a:pt x="1806642" y="1884776"/>
                </a:cubicBezTo>
                <a:cubicBezTo>
                  <a:pt x="1957853" y="1884776"/>
                  <a:pt x="1957853" y="1884776"/>
                  <a:pt x="1957853" y="1884776"/>
                </a:cubicBezTo>
                <a:cubicBezTo>
                  <a:pt x="2100140" y="1247901"/>
                  <a:pt x="2231310" y="660782"/>
                  <a:pt x="2352233" y="119532"/>
                </a:cubicBezTo>
                <a:lnTo>
                  <a:pt x="2378938" y="0"/>
                </a:lnTo>
                <a:lnTo>
                  <a:pt x="4862804" y="0"/>
                </a:lnTo>
                <a:lnTo>
                  <a:pt x="4836303" y="98273"/>
                </a:lnTo>
                <a:cubicBezTo>
                  <a:pt x="3822463" y="3857748"/>
                  <a:pt x="3822463" y="3857748"/>
                  <a:pt x="3822463" y="3857748"/>
                </a:cubicBezTo>
                <a:cubicBezTo>
                  <a:pt x="3764676" y="4175659"/>
                  <a:pt x="3569161" y="4334614"/>
                  <a:pt x="3236883" y="4334614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C1CDD2E5-AD6A-40CE-BB62-52D8245B894F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61113" y="2523385"/>
            <a:ext cx="4530887" cy="4334614"/>
          </a:xfrm>
          <a:custGeom>
            <a:avLst/>
            <a:gdLst>
              <a:gd name="connsiteX0" fmla="*/ 2904375 w 4530297"/>
              <a:gd name="connsiteY0" fmla="*/ 4334614 h 4334614"/>
              <a:gd name="connsiteX1" fmla="*/ 151763 w 4530297"/>
              <a:gd name="connsiteY1" fmla="*/ 4334614 h 4334614"/>
              <a:gd name="connsiteX2" fmla="*/ 43094 w 4530297"/>
              <a:gd name="connsiteY2" fmla="*/ 4327163 h 4334614"/>
              <a:gd name="connsiteX3" fmla="*/ 0 w 4530297"/>
              <a:gd name="connsiteY3" fmla="*/ 4317381 h 4334614"/>
              <a:gd name="connsiteX4" fmla="*/ 0 w 4530297"/>
              <a:gd name="connsiteY4" fmla="*/ 0 h 4334614"/>
              <a:gd name="connsiteX5" fmla="*/ 1043251 w 4530297"/>
              <a:gd name="connsiteY5" fmla="*/ 0 h 4334614"/>
              <a:gd name="connsiteX6" fmla="*/ 1084035 w 4530297"/>
              <a:gd name="connsiteY6" fmla="*/ 178400 h 4334614"/>
              <a:gd name="connsiteX7" fmla="*/ 1474134 w 4530297"/>
              <a:gd name="connsiteY7" fmla="*/ 1884776 h 4334614"/>
              <a:gd name="connsiteX8" fmla="*/ 1625345 w 4530297"/>
              <a:gd name="connsiteY8" fmla="*/ 1884776 h 4334614"/>
              <a:gd name="connsiteX9" fmla="*/ 2019725 w 4530297"/>
              <a:gd name="connsiteY9" fmla="*/ 119532 h 4334614"/>
              <a:gd name="connsiteX10" fmla="*/ 2046430 w 4530297"/>
              <a:gd name="connsiteY10" fmla="*/ 0 h 4334614"/>
              <a:gd name="connsiteX11" fmla="*/ 4530297 w 4530297"/>
              <a:gd name="connsiteY11" fmla="*/ 0 h 4334614"/>
              <a:gd name="connsiteX12" fmla="*/ 4503795 w 4530297"/>
              <a:gd name="connsiteY12" fmla="*/ 98273 h 4334614"/>
              <a:gd name="connsiteX13" fmla="*/ 3489955 w 4530297"/>
              <a:gd name="connsiteY13" fmla="*/ 3857748 h 4334614"/>
              <a:gd name="connsiteX14" fmla="*/ 2904375 w 4530297"/>
              <a:gd name="connsiteY14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30297" h="4334614">
                <a:moveTo>
                  <a:pt x="2904375" y="4334614"/>
                </a:moveTo>
                <a:cubicBezTo>
                  <a:pt x="151763" y="4334614"/>
                  <a:pt x="151763" y="4334614"/>
                  <a:pt x="151763" y="4334614"/>
                </a:cubicBezTo>
                <a:cubicBezTo>
                  <a:pt x="113840" y="4334614"/>
                  <a:pt x="77618" y="4332130"/>
                  <a:pt x="43094" y="4327163"/>
                </a:cubicBezTo>
                <a:lnTo>
                  <a:pt x="0" y="4317381"/>
                </a:lnTo>
                <a:lnTo>
                  <a:pt x="0" y="0"/>
                </a:lnTo>
                <a:lnTo>
                  <a:pt x="1043251" y="0"/>
                </a:lnTo>
                <a:lnTo>
                  <a:pt x="1084035" y="178400"/>
                </a:lnTo>
                <a:cubicBezTo>
                  <a:pt x="1474134" y="1884776"/>
                  <a:pt x="1474134" y="1884776"/>
                  <a:pt x="1474134" y="1884776"/>
                </a:cubicBezTo>
                <a:cubicBezTo>
                  <a:pt x="1625345" y="1884776"/>
                  <a:pt x="1625345" y="1884776"/>
                  <a:pt x="1625345" y="1884776"/>
                </a:cubicBezTo>
                <a:cubicBezTo>
                  <a:pt x="1767632" y="1247901"/>
                  <a:pt x="1898802" y="660782"/>
                  <a:pt x="2019725" y="119532"/>
                </a:cubicBezTo>
                <a:lnTo>
                  <a:pt x="2046430" y="0"/>
                </a:lnTo>
                <a:lnTo>
                  <a:pt x="4530297" y="0"/>
                </a:lnTo>
                <a:lnTo>
                  <a:pt x="4503795" y="98273"/>
                </a:lnTo>
                <a:cubicBezTo>
                  <a:pt x="3489955" y="3857748"/>
                  <a:pt x="3489955" y="3857748"/>
                  <a:pt x="3489955" y="3857748"/>
                </a:cubicBezTo>
                <a:cubicBezTo>
                  <a:pt x="3432168" y="4175659"/>
                  <a:pt x="3236653" y="4334614"/>
                  <a:pt x="2904375" y="433461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C05787-B6A8-4B57-9765-5C78FC6830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776E156-9C4D-4139-A6B8-D79D8CC19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D32804-F2C0-42C1-9984-28A13B4DA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F2457AC2-910A-418E-B0BE-EF844122655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2995" y="1511301"/>
            <a:ext cx="5699130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5850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CB0F620E-A4B1-4E72-89FF-4A214C8F9B6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5186124" y="2523385"/>
            <a:ext cx="5996566" cy="4334614"/>
          </a:xfrm>
          <a:custGeom>
            <a:avLst/>
            <a:gdLst>
              <a:gd name="connsiteX0" fmla="*/ 4369863 w 5995785"/>
              <a:gd name="connsiteY0" fmla="*/ 4334614 h 4334614"/>
              <a:gd name="connsiteX1" fmla="*/ 1617252 w 5995785"/>
              <a:gd name="connsiteY1" fmla="*/ 4334614 h 4334614"/>
              <a:gd name="connsiteX2" fmla="*/ 1032635 w 5995785"/>
              <a:gd name="connsiteY2" fmla="*/ 3857748 h 4334614"/>
              <a:gd name="connsiteX3" fmla="*/ 42506 w 5995785"/>
              <a:gd name="connsiteY3" fmla="*/ 158796 h 4334614"/>
              <a:gd name="connsiteX4" fmla="*/ 0 w 5995785"/>
              <a:gd name="connsiteY4" fmla="*/ 0 h 4334614"/>
              <a:gd name="connsiteX5" fmla="*/ 2508740 w 5995785"/>
              <a:gd name="connsiteY5" fmla="*/ 0 h 4334614"/>
              <a:gd name="connsiteX6" fmla="*/ 2549524 w 5995785"/>
              <a:gd name="connsiteY6" fmla="*/ 178400 h 4334614"/>
              <a:gd name="connsiteX7" fmla="*/ 2939623 w 5995785"/>
              <a:gd name="connsiteY7" fmla="*/ 1884776 h 4334614"/>
              <a:gd name="connsiteX8" fmla="*/ 3090834 w 5995785"/>
              <a:gd name="connsiteY8" fmla="*/ 1884776 h 4334614"/>
              <a:gd name="connsiteX9" fmla="*/ 3485214 w 5995785"/>
              <a:gd name="connsiteY9" fmla="*/ 119532 h 4334614"/>
              <a:gd name="connsiteX10" fmla="*/ 3511919 w 5995785"/>
              <a:gd name="connsiteY10" fmla="*/ 0 h 4334614"/>
              <a:gd name="connsiteX11" fmla="*/ 5995785 w 5995785"/>
              <a:gd name="connsiteY11" fmla="*/ 0 h 4334614"/>
              <a:gd name="connsiteX12" fmla="*/ 5969283 w 5995785"/>
              <a:gd name="connsiteY12" fmla="*/ 98273 h 4334614"/>
              <a:gd name="connsiteX13" fmla="*/ 4955443 w 5995785"/>
              <a:gd name="connsiteY13" fmla="*/ 3857748 h 4334614"/>
              <a:gd name="connsiteX14" fmla="*/ 4369863 w 5995785"/>
              <a:gd name="connsiteY14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995785" h="4334614">
                <a:moveTo>
                  <a:pt x="4369863" y="4334614"/>
                </a:moveTo>
                <a:cubicBezTo>
                  <a:pt x="1617252" y="4334614"/>
                  <a:pt x="1617252" y="4334614"/>
                  <a:pt x="1617252" y="4334614"/>
                </a:cubicBezTo>
                <a:cubicBezTo>
                  <a:pt x="1313868" y="4334614"/>
                  <a:pt x="1119317" y="4175659"/>
                  <a:pt x="1032635" y="3857748"/>
                </a:cubicBezTo>
                <a:cubicBezTo>
                  <a:pt x="651508" y="2433924"/>
                  <a:pt x="323978" y="1210326"/>
                  <a:pt x="42506" y="158796"/>
                </a:cubicBezTo>
                <a:lnTo>
                  <a:pt x="0" y="0"/>
                </a:lnTo>
                <a:lnTo>
                  <a:pt x="2508740" y="0"/>
                </a:lnTo>
                <a:lnTo>
                  <a:pt x="2549524" y="178400"/>
                </a:lnTo>
                <a:cubicBezTo>
                  <a:pt x="2939623" y="1884776"/>
                  <a:pt x="2939623" y="1884776"/>
                  <a:pt x="2939623" y="1884776"/>
                </a:cubicBezTo>
                <a:cubicBezTo>
                  <a:pt x="3090834" y="1884776"/>
                  <a:pt x="3090834" y="1884776"/>
                  <a:pt x="3090834" y="1884776"/>
                </a:cubicBezTo>
                <a:cubicBezTo>
                  <a:pt x="3233120" y="1247901"/>
                  <a:pt x="3364291" y="660782"/>
                  <a:pt x="3485214" y="119532"/>
                </a:cubicBezTo>
                <a:lnTo>
                  <a:pt x="3511919" y="0"/>
                </a:lnTo>
                <a:lnTo>
                  <a:pt x="5995785" y="0"/>
                </a:lnTo>
                <a:lnTo>
                  <a:pt x="5969283" y="98273"/>
                </a:lnTo>
                <a:cubicBezTo>
                  <a:pt x="4955443" y="3857748"/>
                  <a:pt x="4955443" y="3857748"/>
                  <a:pt x="4955443" y="3857748"/>
                </a:cubicBezTo>
                <a:cubicBezTo>
                  <a:pt x="4897656" y="4175659"/>
                  <a:pt x="4702141" y="4334614"/>
                  <a:pt x="4369863" y="4334614"/>
                </a:cubicBezTo>
                <a:close/>
              </a:path>
            </a:pathLst>
          </a:custGeom>
          <a:solidFill>
            <a:schemeClr val="accent6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D78BE470-119E-45BC-9D42-A4812DE6D64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645723" y="2523385"/>
            <a:ext cx="5546277" cy="4334614"/>
          </a:xfrm>
          <a:custGeom>
            <a:avLst/>
            <a:gdLst>
              <a:gd name="connsiteX0" fmla="*/ 3919634 w 5545555"/>
              <a:gd name="connsiteY0" fmla="*/ 4334614 h 4334614"/>
              <a:gd name="connsiteX1" fmla="*/ 1167022 w 5545555"/>
              <a:gd name="connsiteY1" fmla="*/ 4334614 h 4334614"/>
              <a:gd name="connsiteX2" fmla="*/ 582405 w 5545555"/>
              <a:gd name="connsiteY2" fmla="*/ 3857748 h 4334614"/>
              <a:gd name="connsiteX3" fmla="*/ 105335 w 5545555"/>
              <a:gd name="connsiteY3" fmla="*/ 2075496 h 4334614"/>
              <a:gd name="connsiteX4" fmla="*/ 0 w 5545555"/>
              <a:gd name="connsiteY4" fmla="*/ 1681983 h 4334614"/>
              <a:gd name="connsiteX5" fmla="*/ 0 w 5545555"/>
              <a:gd name="connsiteY5" fmla="*/ 0 h 4334614"/>
              <a:gd name="connsiteX6" fmla="*/ 2058510 w 5545555"/>
              <a:gd name="connsiteY6" fmla="*/ 0 h 4334614"/>
              <a:gd name="connsiteX7" fmla="*/ 2099295 w 5545555"/>
              <a:gd name="connsiteY7" fmla="*/ 178400 h 4334614"/>
              <a:gd name="connsiteX8" fmla="*/ 2489393 w 5545555"/>
              <a:gd name="connsiteY8" fmla="*/ 1884776 h 4334614"/>
              <a:gd name="connsiteX9" fmla="*/ 2640604 w 5545555"/>
              <a:gd name="connsiteY9" fmla="*/ 1884776 h 4334614"/>
              <a:gd name="connsiteX10" fmla="*/ 3034984 w 5545555"/>
              <a:gd name="connsiteY10" fmla="*/ 119532 h 4334614"/>
              <a:gd name="connsiteX11" fmla="*/ 3061689 w 5545555"/>
              <a:gd name="connsiteY11" fmla="*/ 0 h 4334614"/>
              <a:gd name="connsiteX12" fmla="*/ 5545555 w 5545555"/>
              <a:gd name="connsiteY12" fmla="*/ 0 h 4334614"/>
              <a:gd name="connsiteX13" fmla="*/ 5519054 w 5545555"/>
              <a:gd name="connsiteY13" fmla="*/ 98273 h 4334614"/>
              <a:gd name="connsiteX14" fmla="*/ 4505214 w 5545555"/>
              <a:gd name="connsiteY14" fmla="*/ 3857748 h 4334614"/>
              <a:gd name="connsiteX15" fmla="*/ 3919634 w 5545555"/>
              <a:gd name="connsiteY15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45555" h="4334614">
                <a:moveTo>
                  <a:pt x="3919634" y="4334614"/>
                </a:moveTo>
                <a:cubicBezTo>
                  <a:pt x="1167022" y="4334614"/>
                  <a:pt x="1167022" y="4334614"/>
                  <a:pt x="1167022" y="4334614"/>
                </a:cubicBezTo>
                <a:cubicBezTo>
                  <a:pt x="863638" y="4334614"/>
                  <a:pt x="669087" y="4175659"/>
                  <a:pt x="582405" y="3857748"/>
                </a:cubicBezTo>
                <a:cubicBezTo>
                  <a:pt x="413015" y="3224937"/>
                  <a:pt x="254213" y="2631678"/>
                  <a:pt x="105335" y="2075496"/>
                </a:cubicBezTo>
                <a:lnTo>
                  <a:pt x="0" y="1681983"/>
                </a:lnTo>
                <a:lnTo>
                  <a:pt x="0" y="0"/>
                </a:lnTo>
                <a:lnTo>
                  <a:pt x="2058510" y="0"/>
                </a:lnTo>
                <a:lnTo>
                  <a:pt x="2099295" y="178400"/>
                </a:lnTo>
                <a:cubicBezTo>
                  <a:pt x="2489393" y="1884776"/>
                  <a:pt x="2489393" y="1884776"/>
                  <a:pt x="2489393" y="1884776"/>
                </a:cubicBezTo>
                <a:cubicBezTo>
                  <a:pt x="2640604" y="1884776"/>
                  <a:pt x="2640604" y="1884776"/>
                  <a:pt x="2640604" y="1884776"/>
                </a:cubicBezTo>
                <a:cubicBezTo>
                  <a:pt x="2782891" y="1247901"/>
                  <a:pt x="2914061" y="660782"/>
                  <a:pt x="3034984" y="119532"/>
                </a:cubicBezTo>
                <a:lnTo>
                  <a:pt x="3061689" y="0"/>
                </a:lnTo>
                <a:lnTo>
                  <a:pt x="5545555" y="0"/>
                </a:lnTo>
                <a:lnTo>
                  <a:pt x="5519054" y="98273"/>
                </a:lnTo>
                <a:cubicBezTo>
                  <a:pt x="4505214" y="3857748"/>
                  <a:pt x="4505214" y="3857748"/>
                  <a:pt x="4505214" y="3857748"/>
                </a:cubicBezTo>
                <a:cubicBezTo>
                  <a:pt x="4447426" y="4175659"/>
                  <a:pt x="4251912" y="4334614"/>
                  <a:pt x="3919634" y="4334614"/>
                </a:cubicBezTo>
                <a:close/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6DE93943-E5FF-4350-A61B-E698486620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328561" y="2523385"/>
            <a:ext cx="4863437" cy="4334614"/>
          </a:xfrm>
          <a:custGeom>
            <a:avLst/>
            <a:gdLst>
              <a:gd name="connsiteX0" fmla="*/ 3236883 w 4862804"/>
              <a:gd name="connsiteY0" fmla="*/ 4334614 h 4334614"/>
              <a:gd name="connsiteX1" fmla="*/ 484271 w 4862804"/>
              <a:gd name="connsiteY1" fmla="*/ 4334614 h 4334614"/>
              <a:gd name="connsiteX2" fmla="*/ 42729 w 4862804"/>
              <a:gd name="connsiteY2" fmla="*/ 4148338 h 4334614"/>
              <a:gd name="connsiteX3" fmla="*/ 0 w 4862804"/>
              <a:gd name="connsiteY3" fmla="*/ 4087772 h 4334614"/>
              <a:gd name="connsiteX4" fmla="*/ 0 w 4862804"/>
              <a:gd name="connsiteY4" fmla="*/ 0 h 4334614"/>
              <a:gd name="connsiteX5" fmla="*/ 1375759 w 4862804"/>
              <a:gd name="connsiteY5" fmla="*/ 0 h 4334614"/>
              <a:gd name="connsiteX6" fmla="*/ 1416543 w 4862804"/>
              <a:gd name="connsiteY6" fmla="*/ 178400 h 4334614"/>
              <a:gd name="connsiteX7" fmla="*/ 1806642 w 4862804"/>
              <a:gd name="connsiteY7" fmla="*/ 1884776 h 4334614"/>
              <a:gd name="connsiteX8" fmla="*/ 1957853 w 4862804"/>
              <a:gd name="connsiteY8" fmla="*/ 1884776 h 4334614"/>
              <a:gd name="connsiteX9" fmla="*/ 2352233 w 4862804"/>
              <a:gd name="connsiteY9" fmla="*/ 119532 h 4334614"/>
              <a:gd name="connsiteX10" fmla="*/ 2378938 w 4862804"/>
              <a:gd name="connsiteY10" fmla="*/ 0 h 4334614"/>
              <a:gd name="connsiteX11" fmla="*/ 4862804 w 4862804"/>
              <a:gd name="connsiteY11" fmla="*/ 0 h 4334614"/>
              <a:gd name="connsiteX12" fmla="*/ 4836303 w 4862804"/>
              <a:gd name="connsiteY12" fmla="*/ 98273 h 4334614"/>
              <a:gd name="connsiteX13" fmla="*/ 3822463 w 4862804"/>
              <a:gd name="connsiteY13" fmla="*/ 3857748 h 4334614"/>
              <a:gd name="connsiteX14" fmla="*/ 3236883 w 4862804"/>
              <a:gd name="connsiteY14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62804" h="4334614">
                <a:moveTo>
                  <a:pt x="3236883" y="4334614"/>
                </a:moveTo>
                <a:cubicBezTo>
                  <a:pt x="484271" y="4334614"/>
                  <a:pt x="484271" y="4334614"/>
                  <a:pt x="484271" y="4334614"/>
                </a:cubicBezTo>
                <a:cubicBezTo>
                  <a:pt x="294656" y="4334614"/>
                  <a:pt x="147554" y="4272522"/>
                  <a:pt x="42729" y="4148338"/>
                </a:cubicBezTo>
                <a:lnTo>
                  <a:pt x="0" y="4087772"/>
                </a:lnTo>
                <a:lnTo>
                  <a:pt x="0" y="0"/>
                </a:lnTo>
                <a:lnTo>
                  <a:pt x="1375759" y="0"/>
                </a:lnTo>
                <a:lnTo>
                  <a:pt x="1416543" y="178400"/>
                </a:lnTo>
                <a:cubicBezTo>
                  <a:pt x="1806642" y="1884776"/>
                  <a:pt x="1806642" y="1884776"/>
                  <a:pt x="1806642" y="1884776"/>
                </a:cubicBezTo>
                <a:cubicBezTo>
                  <a:pt x="1957853" y="1884776"/>
                  <a:pt x="1957853" y="1884776"/>
                  <a:pt x="1957853" y="1884776"/>
                </a:cubicBezTo>
                <a:cubicBezTo>
                  <a:pt x="2100140" y="1247901"/>
                  <a:pt x="2231310" y="660782"/>
                  <a:pt x="2352233" y="119532"/>
                </a:cubicBezTo>
                <a:lnTo>
                  <a:pt x="2378938" y="0"/>
                </a:lnTo>
                <a:lnTo>
                  <a:pt x="4862804" y="0"/>
                </a:lnTo>
                <a:lnTo>
                  <a:pt x="4836303" y="98273"/>
                </a:lnTo>
                <a:cubicBezTo>
                  <a:pt x="3822463" y="3857748"/>
                  <a:pt x="3822463" y="3857748"/>
                  <a:pt x="3822463" y="3857748"/>
                </a:cubicBezTo>
                <a:cubicBezTo>
                  <a:pt x="3764676" y="4175659"/>
                  <a:pt x="3569161" y="4334614"/>
                  <a:pt x="3236883" y="4334614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C1CDD2E5-AD6A-40CE-BB62-52D8245B894F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61113" y="2523385"/>
            <a:ext cx="4530887" cy="4334614"/>
          </a:xfrm>
          <a:custGeom>
            <a:avLst/>
            <a:gdLst>
              <a:gd name="connsiteX0" fmla="*/ 2904375 w 4530297"/>
              <a:gd name="connsiteY0" fmla="*/ 4334614 h 4334614"/>
              <a:gd name="connsiteX1" fmla="*/ 151763 w 4530297"/>
              <a:gd name="connsiteY1" fmla="*/ 4334614 h 4334614"/>
              <a:gd name="connsiteX2" fmla="*/ 43094 w 4530297"/>
              <a:gd name="connsiteY2" fmla="*/ 4327163 h 4334614"/>
              <a:gd name="connsiteX3" fmla="*/ 0 w 4530297"/>
              <a:gd name="connsiteY3" fmla="*/ 4317381 h 4334614"/>
              <a:gd name="connsiteX4" fmla="*/ 0 w 4530297"/>
              <a:gd name="connsiteY4" fmla="*/ 0 h 4334614"/>
              <a:gd name="connsiteX5" fmla="*/ 1043251 w 4530297"/>
              <a:gd name="connsiteY5" fmla="*/ 0 h 4334614"/>
              <a:gd name="connsiteX6" fmla="*/ 1084035 w 4530297"/>
              <a:gd name="connsiteY6" fmla="*/ 178400 h 4334614"/>
              <a:gd name="connsiteX7" fmla="*/ 1474134 w 4530297"/>
              <a:gd name="connsiteY7" fmla="*/ 1884776 h 4334614"/>
              <a:gd name="connsiteX8" fmla="*/ 1625345 w 4530297"/>
              <a:gd name="connsiteY8" fmla="*/ 1884776 h 4334614"/>
              <a:gd name="connsiteX9" fmla="*/ 2019725 w 4530297"/>
              <a:gd name="connsiteY9" fmla="*/ 119532 h 4334614"/>
              <a:gd name="connsiteX10" fmla="*/ 2046430 w 4530297"/>
              <a:gd name="connsiteY10" fmla="*/ 0 h 4334614"/>
              <a:gd name="connsiteX11" fmla="*/ 4530297 w 4530297"/>
              <a:gd name="connsiteY11" fmla="*/ 0 h 4334614"/>
              <a:gd name="connsiteX12" fmla="*/ 4503795 w 4530297"/>
              <a:gd name="connsiteY12" fmla="*/ 98273 h 4334614"/>
              <a:gd name="connsiteX13" fmla="*/ 3489955 w 4530297"/>
              <a:gd name="connsiteY13" fmla="*/ 3857748 h 4334614"/>
              <a:gd name="connsiteX14" fmla="*/ 2904375 w 4530297"/>
              <a:gd name="connsiteY14" fmla="*/ 4334614 h 4334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30297" h="4334614">
                <a:moveTo>
                  <a:pt x="2904375" y="4334614"/>
                </a:moveTo>
                <a:cubicBezTo>
                  <a:pt x="151763" y="4334614"/>
                  <a:pt x="151763" y="4334614"/>
                  <a:pt x="151763" y="4334614"/>
                </a:cubicBezTo>
                <a:cubicBezTo>
                  <a:pt x="113840" y="4334614"/>
                  <a:pt x="77618" y="4332130"/>
                  <a:pt x="43094" y="4327163"/>
                </a:cubicBezTo>
                <a:lnTo>
                  <a:pt x="0" y="4317381"/>
                </a:lnTo>
                <a:lnTo>
                  <a:pt x="0" y="0"/>
                </a:lnTo>
                <a:lnTo>
                  <a:pt x="1043251" y="0"/>
                </a:lnTo>
                <a:lnTo>
                  <a:pt x="1084035" y="178400"/>
                </a:lnTo>
                <a:cubicBezTo>
                  <a:pt x="1474134" y="1884776"/>
                  <a:pt x="1474134" y="1884776"/>
                  <a:pt x="1474134" y="1884776"/>
                </a:cubicBezTo>
                <a:cubicBezTo>
                  <a:pt x="1625345" y="1884776"/>
                  <a:pt x="1625345" y="1884776"/>
                  <a:pt x="1625345" y="1884776"/>
                </a:cubicBezTo>
                <a:cubicBezTo>
                  <a:pt x="1767632" y="1247901"/>
                  <a:pt x="1898802" y="660782"/>
                  <a:pt x="2019725" y="119532"/>
                </a:cubicBezTo>
                <a:lnTo>
                  <a:pt x="2046430" y="0"/>
                </a:lnTo>
                <a:lnTo>
                  <a:pt x="4530297" y="0"/>
                </a:lnTo>
                <a:lnTo>
                  <a:pt x="4503795" y="98273"/>
                </a:lnTo>
                <a:cubicBezTo>
                  <a:pt x="3489955" y="3857748"/>
                  <a:pt x="3489955" y="3857748"/>
                  <a:pt x="3489955" y="3857748"/>
                </a:cubicBezTo>
                <a:cubicBezTo>
                  <a:pt x="3432168" y="4175659"/>
                  <a:pt x="3236653" y="4334614"/>
                  <a:pt x="2904375" y="433461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C05787-B6A8-4B57-9765-5C78FC6830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776E156-9C4D-4139-A6B8-D79D8CC19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D32804-F2C0-42C1-9984-28A13B4DA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F2457AC2-910A-418E-B0BE-EF844122655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2995" y="1511301"/>
            <a:ext cx="5003283" cy="42989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1EB48450-7758-4468-9040-ECFADE10955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813038" y="1511300"/>
            <a:ext cx="4447597" cy="4027342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</p:spTree>
    <p:extLst>
      <p:ext uri="{BB962C8B-B14F-4D97-AF65-F5344CB8AC3E}">
        <p14:creationId xmlns:p14="http://schemas.microsoft.com/office/powerpoint/2010/main" val="11197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C3769E3-5255-44BC-940F-722301BB9731}"/>
              </a:ext>
            </a:extLst>
          </p:cNvPr>
          <p:cNvSpPr/>
          <p:nvPr userDrawn="1"/>
        </p:nvSpPr>
        <p:spPr>
          <a:xfrm>
            <a:off x="2785307" y="3011466"/>
            <a:ext cx="777341" cy="13159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B30AB2B-49EA-44E9-A3F9-8BAEDF0B70FB}"/>
              </a:ext>
            </a:extLst>
          </p:cNvPr>
          <p:cNvSpPr/>
          <p:nvPr userDrawn="1"/>
        </p:nvSpPr>
        <p:spPr>
          <a:xfrm>
            <a:off x="2224667" y="2450990"/>
            <a:ext cx="777341" cy="13159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675203C-500B-405F-A764-EE9A8D84FF25}"/>
              </a:ext>
            </a:extLst>
          </p:cNvPr>
          <p:cNvSpPr/>
          <p:nvPr userDrawn="1"/>
        </p:nvSpPr>
        <p:spPr>
          <a:xfrm>
            <a:off x="9501058" y="540689"/>
            <a:ext cx="569469" cy="3339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4901638-5138-44E9-B175-31D5C96E4E48}"/>
              </a:ext>
            </a:extLst>
          </p:cNvPr>
          <p:cNvSpPr/>
          <p:nvPr userDrawn="1"/>
        </p:nvSpPr>
        <p:spPr>
          <a:xfrm>
            <a:off x="10123188" y="803083"/>
            <a:ext cx="1548857" cy="163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7A37F640-86AB-4869-A167-8B17840DDAA2}"/>
              </a:ext>
            </a:extLst>
          </p:cNvPr>
          <p:cNvSpPr/>
          <p:nvPr userDrawn="1"/>
        </p:nvSpPr>
        <p:spPr>
          <a:xfrm>
            <a:off x="10119212" y="453268"/>
            <a:ext cx="1564763" cy="3339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737E23B-2612-4E19-83B0-89FB11ECEBB2}"/>
              </a:ext>
            </a:extLst>
          </p:cNvPr>
          <p:cNvSpPr/>
          <p:nvPr userDrawn="1"/>
        </p:nvSpPr>
        <p:spPr>
          <a:xfrm>
            <a:off x="10924527" y="6305384"/>
            <a:ext cx="763424" cy="5526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2F3038A4-62FB-4A5D-B66C-C11867487F4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" y="3"/>
            <a:ext cx="8299791" cy="6857999"/>
          </a:xfrm>
          <a:custGeom>
            <a:avLst/>
            <a:gdLst>
              <a:gd name="connsiteX0" fmla="*/ 2899854 w 8298711"/>
              <a:gd name="connsiteY0" fmla="*/ 3037217 h 6857999"/>
              <a:gd name="connsiteX1" fmla="*/ 2860213 w 8298711"/>
              <a:gd name="connsiteY1" fmla="*/ 3054548 h 6857999"/>
              <a:gd name="connsiteX2" fmla="*/ 2867687 w 8298711"/>
              <a:gd name="connsiteY2" fmla="*/ 3099176 h 6857999"/>
              <a:gd name="connsiteX3" fmla="*/ 3197379 w 8298711"/>
              <a:gd name="connsiteY3" fmla="*/ 3642192 h 6857999"/>
              <a:gd name="connsiteX4" fmla="*/ 3197379 w 8298711"/>
              <a:gd name="connsiteY4" fmla="*/ 3652050 h 6857999"/>
              <a:gd name="connsiteX5" fmla="*/ 2852740 w 8298711"/>
              <a:gd name="connsiteY5" fmla="*/ 4239694 h 6857999"/>
              <a:gd name="connsiteX6" fmla="*/ 2850249 w 8298711"/>
              <a:gd name="connsiteY6" fmla="*/ 4283023 h 6857999"/>
              <a:gd name="connsiteX7" fmla="*/ 2894872 w 8298711"/>
              <a:gd name="connsiteY7" fmla="*/ 4301654 h 6857999"/>
              <a:gd name="connsiteX8" fmla="*/ 3108132 w 8298711"/>
              <a:gd name="connsiteY8" fmla="*/ 4301654 h 6857999"/>
              <a:gd name="connsiteX9" fmla="*/ 3168893 w 8298711"/>
              <a:gd name="connsiteY9" fmla="*/ 4291689 h 6857999"/>
              <a:gd name="connsiteX10" fmla="*/ 3207235 w 8298711"/>
              <a:gd name="connsiteY10" fmla="*/ 4249551 h 6857999"/>
              <a:gd name="connsiteX11" fmla="*/ 3522090 w 8298711"/>
              <a:gd name="connsiteY11" fmla="*/ 3696678 h 6857999"/>
              <a:gd name="connsiteX12" fmla="*/ 3522090 w 8298711"/>
              <a:gd name="connsiteY12" fmla="*/ 3614895 h 6857999"/>
              <a:gd name="connsiteX13" fmla="*/ 3224673 w 8298711"/>
              <a:gd name="connsiteY13" fmla="*/ 3086720 h 6857999"/>
              <a:gd name="connsiteX14" fmla="*/ 3140300 w 8298711"/>
              <a:gd name="connsiteY14" fmla="*/ 3037217 h 6857999"/>
              <a:gd name="connsiteX15" fmla="*/ 2899854 w 8298711"/>
              <a:gd name="connsiteY15" fmla="*/ 3037217 h 6857999"/>
              <a:gd name="connsiteX16" fmla="*/ 2656319 w 8298711"/>
              <a:gd name="connsiteY16" fmla="*/ 2476650 h 6857999"/>
              <a:gd name="connsiteX17" fmla="*/ 2571947 w 8298711"/>
              <a:gd name="connsiteY17" fmla="*/ 2526153 h 6857999"/>
              <a:gd name="connsiteX18" fmla="*/ 2274530 w 8298711"/>
              <a:gd name="connsiteY18" fmla="*/ 3054328 h 6857999"/>
              <a:gd name="connsiteX19" fmla="*/ 2274530 w 8298711"/>
              <a:gd name="connsiteY19" fmla="*/ 3136111 h 6857999"/>
              <a:gd name="connsiteX20" fmla="*/ 2589385 w 8298711"/>
              <a:gd name="connsiteY20" fmla="*/ 3688984 h 6857999"/>
              <a:gd name="connsiteX21" fmla="*/ 2627726 w 8298711"/>
              <a:gd name="connsiteY21" fmla="*/ 3731122 h 6857999"/>
              <a:gd name="connsiteX22" fmla="*/ 2688487 w 8298711"/>
              <a:gd name="connsiteY22" fmla="*/ 3741087 h 6857999"/>
              <a:gd name="connsiteX23" fmla="*/ 2901748 w 8298711"/>
              <a:gd name="connsiteY23" fmla="*/ 3741087 h 6857999"/>
              <a:gd name="connsiteX24" fmla="*/ 2946371 w 8298711"/>
              <a:gd name="connsiteY24" fmla="*/ 3722456 h 6857999"/>
              <a:gd name="connsiteX25" fmla="*/ 2943880 w 8298711"/>
              <a:gd name="connsiteY25" fmla="*/ 3679127 h 6857999"/>
              <a:gd name="connsiteX26" fmla="*/ 2599240 w 8298711"/>
              <a:gd name="connsiteY26" fmla="*/ 3091483 h 6857999"/>
              <a:gd name="connsiteX27" fmla="*/ 2599240 w 8298711"/>
              <a:gd name="connsiteY27" fmla="*/ 3081625 h 6857999"/>
              <a:gd name="connsiteX28" fmla="*/ 2928933 w 8298711"/>
              <a:gd name="connsiteY28" fmla="*/ 2538610 h 6857999"/>
              <a:gd name="connsiteX29" fmla="*/ 2936406 w 8298711"/>
              <a:gd name="connsiteY29" fmla="*/ 2493981 h 6857999"/>
              <a:gd name="connsiteX30" fmla="*/ 2896765 w 8298711"/>
              <a:gd name="connsiteY30" fmla="*/ 2476650 h 6857999"/>
              <a:gd name="connsiteX31" fmla="*/ 2656319 w 8298711"/>
              <a:gd name="connsiteY31" fmla="*/ 2476650 h 6857999"/>
              <a:gd name="connsiteX32" fmla="*/ 0 w 8298711"/>
              <a:gd name="connsiteY32" fmla="*/ 0 h 6857999"/>
              <a:gd name="connsiteX33" fmla="*/ 8298711 w 8298711"/>
              <a:gd name="connsiteY33" fmla="*/ 0 h 6857999"/>
              <a:gd name="connsiteX34" fmla="*/ 8298711 w 8298711"/>
              <a:gd name="connsiteY34" fmla="*/ 6857999 h 6857999"/>
              <a:gd name="connsiteX35" fmla="*/ 0 w 8298711"/>
              <a:gd name="connsiteY3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8298711" h="6857999">
                <a:moveTo>
                  <a:pt x="2899854" y="3037217"/>
                </a:moveTo>
                <a:cubicBezTo>
                  <a:pt x="2880034" y="3037217"/>
                  <a:pt x="2866820" y="3042958"/>
                  <a:pt x="2860213" y="3054548"/>
                </a:cubicBezTo>
                <a:cubicBezTo>
                  <a:pt x="2853606" y="3066138"/>
                  <a:pt x="2856097" y="3080979"/>
                  <a:pt x="2867687" y="3099176"/>
                </a:cubicBezTo>
                <a:cubicBezTo>
                  <a:pt x="2867687" y="3099176"/>
                  <a:pt x="2867687" y="3099176"/>
                  <a:pt x="3197379" y="3642192"/>
                </a:cubicBezTo>
                <a:cubicBezTo>
                  <a:pt x="3197379" y="3642192"/>
                  <a:pt x="3197379" y="3642192"/>
                  <a:pt x="3197379" y="3652050"/>
                </a:cubicBezTo>
                <a:cubicBezTo>
                  <a:pt x="3197379" y="3652050"/>
                  <a:pt x="3197379" y="3652050"/>
                  <a:pt x="2852740" y="4239694"/>
                </a:cubicBezTo>
                <a:cubicBezTo>
                  <a:pt x="2842883" y="4256267"/>
                  <a:pt x="2842017" y="4270674"/>
                  <a:pt x="2850249" y="4283023"/>
                </a:cubicBezTo>
                <a:cubicBezTo>
                  <a:pt x="2858588" y="4295480"/>
                  <a:pt x="2873427" y="4301654"/>
                  <a:pt x="2894872" y="4301654"/>
                </a:cubicBezTo>
                <a:cubicBezTo>
                  <a:pt x="2894872" y="4301654"/>
                  <a:pt x="2894872" y="4301654"/>
                  <a:pt x="3108132" y="4301654"/>
                </a:cubicBezTo>
                <a:cubicBezTo>
                  <a:pt x="3136184" y="4301654"/>
                  <a:pt x="3156438" y="4298296"/>
                  <a:pt x="3168893" y="4291689"/>
                </a:cubicBezTo>
                <a:cubicBezTo>
                  <a:pt x="3181241" y="4285189"/>
                  <a:pt x="3194021" y="4271107"/>
                  <a:pt x="3207235" y="4249551"/>
                </a:cubicBezTo>
                <a:cubicBezTo>
                  <a:pt x="3207235" y="4249551"/>
                  <a:pt x="3207235" y="4249551"/>
                  <a:pt x="3522090" y="3696678"/>
                </a:cubicBezTo>
                <a:cubicBezTo>
                  <a:pt x="3537036" y="3670248"/>
                  <a:pt x="3537036" y="3642951"/>
                  <a:pt x="3522090" y="3614895"/>
                </a:cubicBezTo>
                <a:cubicBezTo>
                  <a:pt x="3522090" y="3614895"/>
                  <a:pt x="3522090" y="3614895"/>
                  <a:pt x="3224673" y="3086720"/>
                </a:cubicBezTo>
                <a:cubicBezTo>
                  <a:pt x="3206477" y="3053682"/>
                  <a:pt x="3178317" y="3037217"/>
                  <a:pt x="3140300" y="3037217"/>
                </a:cubicBezTo>
                <a:cubicBezTo>
                  <a:pt x="3140300" y="3037217"/>
                  <a:pt x="3140300" y="3037217"/>
                  <a:pt x="2899854" y="3037217"/>
                </a:cubicBezTo>
                <a:close/>
                <a:moveTo>
                  <a:pt x="2656319" y="2476650"/>
                </a:moveTo>
                <a:cubicBezTo>
                  <a:pt x="2618303" y="2476650"/>
                  <a:pt x="2590142" y="2493115"/>
                  <a:pt x="2571947" y="2526153"/>
                </a:cubicBezTo>
                <a:cubicBezTo>
                  <a:pt x="2274530" y="3054328"/>
                  <a:pt x="2274530" y="3054328"/>
                  <a:pt x="2274530" y="3054328"/>
                </a:cubicBezTo>
                <a:cubicBezTo>
                  <a:pt x="2259583" y="3082384"/>
                  <a:pt x="2259583" y="3109681"/>
                  <a:pt x="2274530" y="3136111"/>
                </a:cubicBezTo>
                <a:cubicBezTo>
                  <a:pt x="2589385" y="3688984"/>
                  <a:pt x="2589385" y="3688984"/>
                  <a:pt x="2589385" y="3688984"/>
                </a:cubicBezTo>
                <a:cubicBezTo>
                  <a:pt x="2602598" y="3710540"/>
                  <a:pt x="2615378" y="3724622"/>
                  <a:pt x="2627726" y="3731122"/>
                </a:cubicBezTo>
                <a:cubicBezTo>
                  <a:pt x="2640181" y="3737729"/>
                  <a:pt x="2660435" y="3741087"/>
                  <a:pt x="2688487" y="3741087"/>
                </a:cubicBezTo>
                <a:cubicBezTo>
                  <a:pt x="2901748" y="3741087"/>
                  <a:pt x="2901748" y="3741087"/>
                  <a:pt x="2901748" y="3741087"/>
                </a:cubicBezTo>
                <a:cubicBezTo>
                  <a:pt x="2923193" y="3741087"/>
                  <a:pt x="2938031" y="3734913"/>
                  <a:pt x="2946371" y="3722456"/>
                </a:cubicBezTo>
                <a:cubicBezTo>
                  <a:pt x="2954602" y="3710107"/>
                  <a:pt x="2953736" y="3695700"/>
                  <a:pt x="2943880" y="3679127"/>
                </a:cubicBezTo>
                <a:cubicBezTo>
                  <a:pt x="2599240" y="3091483"/>
                  <a:pt x="2599240" y="3091483"/>
                  <a:pt x="2599240" y="3091483"/>
                </a:cubicBezTo>
                <a:cubicBezTo>
                  <a:pt x="2599240" y="3081625"/>
                  <a:pt x="2599240" y="3081625"/>
                  <a:pt x="2599240" y="3081625"/>
                </a:cubicBezTo>
                <a:cubicBezTo>
                  <a:pt x="2928933" y="2538610"/>
                  <a:pt x="2928933" y="2538610"/>
                  <a:pt x="2928933" y="2538610"/>
                </a:cubicBezTo>
                <a:cubicBezTo>
                  <a:pt x="2940522" y="2520412"/>
                  <a:pt x="2943013" y="2505571"/>
                  <a:pt x="2936406" y="2493981"/>
                </a:cubicBezTo>
                <a:cubicBezTo>
                  <a:pt x="2929799" y="2482391"/>
                  <a:pt x="2916586" y="2476650"/>
                  <a:pt x="2896765" y="2476650"/>
                </a:cubicBezTo>
                <a:cubicBezTo>
                  <a:pt x="2656319" y="2476650"/>
                  <a:pt x="2656319" y="2476650"/>
                  <a:pt x="2656319" y="2476650"/>
                </a:cubicBezTo>
                <a:close/>
                <a:moveTo>
                  <a:pt x="0" y="0"/>
                </a:moveTo>
                <a:lnTo>
                  <a:pt x="8298711" y="0"/>
                </a:lnTo>
                <a:lnTo>
                  <a:pt x="8298711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l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55F6A2B0-9EAE-4A4C-81D7-3E1375BC42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" y="1"/>
            <a:ext cx="12191998" cy="6858000"/>
          </a:xfrm>
          <a:custGeom>
            <a:avLst/>
            <a:gdLst>
              <a:gd name="connsiteX0" fmla="*/ 2899854 w 12190411"/>
              <a:gd name="connsiteY0" fmla="*/ 3037219 h 6858000"/>
              <a:gd name="connsiteX1" fmla="*/ 2860213 w 12190411"/>
              <a:gd name="connsiteY1" fmla="*/ 3054550 h 6858000"/>
              <a:gd name="connsiteX2" fmla="*/ 2867687 w 12190411"/>
              <a:gd name="connsiteY2" fmla="*/ 3099178 h 6858000"/>
              <a:gd name="connsiteX3" fmla="*/ 3197379 w 12190411"/>
              <a:gd name="connsiteY3" fmla="*/ 3642194 h 6858000"/>
              <a:gd name="connsiteX4" fmla="*/ 3197379 w 12190411"/>
              <a:gd name="connsiteY4" fmla="*/ 3652052 h 6858000"/>
              <a:gd name="connsiteX5" fmla="*/ 2852740 w 12190411"/>
              <a:gd name="connsiteY5" fmla="*/ 4239696 h 6858000"/>
              <a:gd name="connsiteX6" fmla="*/ 2850249 w 12190411"/>
              <a:gd name="connsiteY6" fmla="*/ 4283025 h 6858000"/>
              <a:gd name="connsiteX7" fmla="*/ 2894872 w 12190411"/>
              <a:gd name="connsiteY7" fmla="*/ 4301656 h 6858000"/>
              <a:gd name="connsiteX8" fmla="*/ 3108132 w 12190411"/>
              <a:gd name="connsiteY8" fmla="*/ 4301656 h 6858000"/>
              <a:gd name="connsiteX9" fmla="*/ 3168893 w 12190411"/>
              <a:gd name="connsiteY9" fmla="*/ 4291691 h 6858000"/>
              <a:gd name="connsiteX10" fmla="*/ 3207235 w 12190411"/>
              <a:gd name="connsiteY10" fmla="*/ 4249553 h 6858000"/>
              <a:gd name="connsiteX11" fmla="*/ 3522090 w 12190411"/>
              <a:gd name="connsiteY11" fmla="*/ 3696680 h 6858000"/>
              <a:gd name="connsiteX12" fmla="*/ 3522090 w 12190411"/>
              <a:gd name="connsiteY12" fmla="*/ 3614897 h 6858000"/>
              <a:gd name="connsiteX13" fmla="*/ 3224673 w 12190411"/>
              <a:gd name="connsiteY13" fmla="*/ 3086722 h 6858000"/>
              <a:gd name="connsiteX14" fmla="*/ 3140300 w 12190411"/>
              <a:gd name="connsiteY14" fmla="*/ 3037219 h 6858000"/>
              <a:gd name="connsiteX15" fmla="*/ 2899854 w 12190411"/>
              <a:gd name="connsiteY15" fmla="*/ 3037219 h 6858000"/>
              <a:gd name="connsiteX16" fmla="*/ 2656319 w 12190411"/>
              <a:gd name="connsiteY16" fmla="*/ 2476652 h 6858000"/>
              <a:gd name="connsiteX17" fmla="*/ 2571947 w 12190411"/>
              <a:gd name="connsiteY17" fmla="*/ 2526155 h 6858000"/>
              <a:gd name="connsiteX18" fmla="*/ 2274530 w 12190411"/>
              <a:gd name="connsiteY18" fmla="*/ 3054330 h 6858000"/>
              <a:gd name="connsiteX19" fmla="*/ 2274530 w 12190411"/>
              <a:gd name="connsiteY19" fmla="*/ 3136113 h 6858000"/>
              <a:gd name="connsiteX20" fmla="*/ 2589385 w 12190411"/>
              <a:gd name="connsiteY20" fmla="*/ 3688986 h 6858000"/>
              <a:gd name="connsiteX21" fmla="*/ 2627726 w 12190411"/>
              <a:gd name="connsiteY21" fmla="*/ 3731124 h 6858000"/>
              <a:gd name="connsiteX22" fmla="*/ 2688487 w 12190411"/>
              <a:gd name="connsiteY22" fmla="*/ 3741089 h 6858000"/>
              <a:gd name="connsiteX23" fmla="*/ 2901748 w 12190411"/>
              <a:gd name="connsiteY23" fmla="*/ 3741089 h 6858000"/>
              <a:gd name="connsiteX24" fmla="*/ 2946371 w 12190411"/>
              <a:gd name="connsiteY24" fmla="*/ 3722458 h 6858000"/>
              <a:gd name="connsiteX25" fmla="*/ 2943880 w 12190411"/>
              <a:gd name="connsiteY25" fmla="*/ 3679129 h 6858000"/>
              <a:gd name="connsiteX26" fmla="*/ 2599240 w 12190411"/>
              <a:gd name="connsiteY26" fmla="*/ 3091485 h 6858000"/>
              <a:gd name="connsiteX27" fmla="*/ 2599240 w 12190411"/>
              <a:gd name="connsiteY27" fmla="*/ 3081627 h 6858000"/>
              <a:gd name="connsiteX28" fmla="*/ 2928933 w 12190411"/>
              <a:gd name="connsiteY28" fmla="*/ 2538612 h 6858000"/>
              <a:gd name="connsiteX29" fmla="*/ 2936406 w 12190411"/>
              <a:gd name="connsiteY29" fmla="*/ 2493983 h 6858000"/>
              <a:gd name="connsiteX30" fmla="*/ 2896765 w 12190411"/>
              <a:gd name="connsiteY30" fmla="*/ 2476652 h 6858000"/>
              <a:gd name="connsiteX31" fmla="*/ 2656319 w 12190411"/>
              <a:gd name="connsiteY31" fmla="*/ 2476652 h 6858000"/>
              <a:gd name="connsiteX32" fmla="*/ 11537643 w 12190411"/>
              <a:gd name="connsiteY32" fmla="*/ 862794 h 6858000"/>
              <a:gd name="connsiteX33" fmla="*/ 11548451 w 12190411"/>
              <a:gd name="connsiteY33" fmla="*/ 866300 h 6858000"/>
              <a:gd name="connsiteX34" fmla="*/ 11554283 w 12190411"/>
              <a:gd name="connsiteY34" fmla="*/ 875621 h 6858000"/>
              <a:gd name="connsiteX35" fmla="*/ 11555139 w 12190411"/>
              <a:gd name="connsiteY35" fmla="*/ 882921 h 6858000"/>
              <a:gd name="connsiteX36" fmla="*/ 11554568 w 12190411"/>
              <a:gd name="connsiteY36" fmla="*/ 883498 h 6858000"/>
              <a:gd name="connsiteX37" fmla="*/ 11520841 w 12190411"/>
              <a:gd name="connsiteY37" fmla="*/ 883498 h 6858000"/>
              <a:gd name="connsiteX38" fmla="*/ 11520270 w 12190411"/>
              <a:gd name="connsiteY38" fmla="*/ 882921 h 6858000"/>
              <a:gd name="connsiteX39" fmla="*/ 11521575 w 12190411"/>
              <a:gd name="connsiteY39" fmla="*/ 874548 h 6858000"/>
              <a:gd name="connsiteX40" fmla="*/ 11527163 w 12190411"/>
              <a:gd name="connsiteY40" fmla="*/ 866011 h 6858000"/>
              <a:gd name="connsiteX41" fmla="*/ 11537643 w 12190411"/>
              <a:gd name="connsiteY41" fmla="*/ 862794 h 6858000"/>
              <a:gd name="connsiteX42" fmla="*/ 11418573 w 12190411"/>
              <a:gd name="connsiteY42" fmla="*/ 862794 h 6858000"/>
              <a:gd name="connsiteX43" fmla="*/ 11428891 w 12190411"/>
              <a:gd name="connsiteY43" fmla="*/ 866280 h 6858000"/>
              <a:gd name="connsiteX44" fmla="*/ 11434213 w 12190411"/>
              <a:gd name="connsiteY44" fmla="*/ 875262 h 6858000"/>
              <a:gd name="connsiteX45" fmla="*/ 11435032 w 12190411"/>
              <a:gd name="connsiteY45" fmla="*/ 880183 h 6858000"/>
              <a:gd name="connsiteX46" fmla="*/ 11435278 w 12190411"/>
              <a:gd name="connsiteY46" fmla="*/ 889000 h 6858000"/>
              <a:gd name="connsiteX47" fmla="*/ 11435032 w 12190411"/>
              <a:gd name="connsiteY47" fmla="*/ 897900 h 6858000"/>
              <a:gd name="connsiteX48" fmla="*/ 11434377 w 12190411"/>
              <a:gd name="connsiteY48" fmla="*/ 902944 h 6858000"/>
              <a:gd name="connsiteX49" fmla="*/ 11429136 w 12190411"/>
              <a:gd name="connsiteY49" fmla="*/ 911884 h 6858000"/>
              <a:gd name="connsiteX50" fmla="*/ 11418573 w 12190411"/>
              <a:gd name="connsiteY50" fmla="*/ 915370 h 6858000"/>
              <a:gd name="connsiteX51" fmla="*/ 11408010 w 12190411"/>
              <a:gd name="connsiteY51" fmla="*/ 911884 h 6858000"/>
              <a:gd name="connsiteX52" fmla="*/ 11402155 w 12190411"/>
              <a:gd name="connsiteY52" fmla="*/ 902944 h 6858000"/>
              <a:gd name="connsiteX53" fmla="*/ 11400681 w 12190411"/>
              <a:gd name="connsiteY53" fmla="*/ 889000 h 6858000"/>
              <a:gd name="connsiteX54" fmla="*/ 11402319 w 12190411"/>
              <a:gd name="connsiteY54" fmla="*/ 875262 h 6858000"/>
              <a:gd name="connsiteX55" fmla="*/ 11408215 w 12190411"/>
              <a:gd name="connsiteY55" fmla="*/ 866280 h 6858000"/>
              <a:gd name="connsiteX56" fmla="*/ 11418573 w 12190411"/>
              <a:gd name="connsiteY56" fmla="*/ 862794 h 6858000"/>
              <a:gd name="connsiteX57" fmla="*/ 11285621 w 12190411"/>
              <a:gd name="connsiteY57" fmla="*/ 862794 h 6858000"/>
              <a:gd name="connsiteX58" fmla="*/ 11296469 w 12190411"/>
              <a:gd name="connsiteY58" fmla="*/ 866300 h 6858000"/>
              <a:gd name="connsiteX59" fmla="*/ 11302260 w 12190411"/>
              <a:gd name="connsiteY59" fmla="*/ 875621 h 6858000"/>
              <a:gd name="connsiteX60" fmla="*/ 11303158 w 12190411"/>
              <a:gd name="connsiteY60" fmla="*/ 882921 h 6858000"/>
              <a:gd name="connsiteX61" fmla="*/ 11302587 w 12190411"/>
              <a:gd name="connsiteY61" fmla="*/ 883498 h 6858000"/>
              <a:gd name="connsiteX62" fmla="*/ 11268860 w 12190411"/>
              <a:gd name="connsiteY62" fmla="*/ 883498 h 6858000"/>
              <a:gd name="connsiteX63" fmla="*/ 11268289 w 12190411"/>
              <a:gd name="connsiteY63" fmla="*/ 882921 h 6858000"/>
              <a:gd name="connsiteX64" fmla="*/ 11269594 w 12190411"/>
              <a:gd name="connsiteY64" fmla="*/ 874548 h 6858000"/>
              <a:gd name="connsiteX65" fmla="*/ 11275181 w 12190411"/>
              <a:gd name="connsiteY65" fmla="*/ 866011 h 6858000"/>
              <a:gd name="connsiteX66" fmla="*/ 11285621 w 12190411"/>
              <a:gd name="connsiteY66" fmla="*/ 862794 h 6858000"/>
              <a:gd name="connsiteX67" fmla="*/ 10877023 w 12190411"/>
              <a:gd name="connsiteY67" fmla="*/ 862794 h 6858000"/>
              <a:gd name="connsiteX68" fmla="*/ 10887818 w 12190411"/>
              <a:gd name="connsiteY68" fmla="*/ 866300 h 6858000"/>
              <a:gd name="connsiteX69" fmla="*/ 10893643 w 12190411"/>
              <a:gd name="connsiteY69" fmla="*/ 875621 h 6858000"/>
              <a:gd name="connsiteX70" fmla="*/ 10894539 w 12190411"/>
              <a:gd name="connsiteY70" fmla="*/ 882921 h 6858000"/>
              <a:gd name="connsiteX71" fmla="*/ 10893928 w 12190411"/>
              <a:gd name="connsiteY71" fmla="*/ 883498 h 6858000"/>
              <a:gd name="connsiteX72" fmla="*/ 10860281 w 12190411"/>
              <a:gd name="connsiteY72" fmla="*/ 883498 h 6858000"/>
              <a:gd name="connsiteX73" fmla="*/ 10859670 w 12190411"/>
              <a:gd name="connsiteY73" fmla="*/ 882921 h 6858000"/>
              <a:gd name="connsiteX74" fmla="*/ 10861015 w 12190411"/>
              <a:gd name="connsiteY74" fmla="*/ 874548 h 6858000"/>
              <a:gd name="connsiteX75" fmla="*/ 10866595 w 12190411"/>
              <a:gd name="connsiteY75" fmla="*/ 866011 h 6858000"/>
              <a:gd name="connsiteX76" fmla="*/ 10877023 w 12190411"/>
              <a:gd name="connsiteY76" fmla="*/ 862794 h 6858000"/>
              <a:gd name="connsiteX77" fmla="*/ 10594960 w 12190411"/>
              <a:gd name="connsiteY77" fmla="*/ 862794 h 6858000"/>
              <a:gd name="connsiteX78" fmla="*/ 10605852 w 12190411"/>
              <a:gd name="connsiteY78" fmla="*/ 866300 h 6858000"/>
              <a:gd name="connsiteX79" fmla="*/ 10611729 w 12190411"/>
              <a:gd name="connsiteY79" fmla="*/ 875621 h 6858000"/>
              <a:gd name="connsiteX80" fmla="*/ 10612592 w 12190411"/>
              <a:gd name="connsiteY80" fmla="*/ 882921 h 6858000"/>
              <a:gd name="connsiteX81" fmla="*/ 10612017 w 12190411"/>
              <a:gd name="connsiteY81" fmla="*/ 883498 h 6858000"/>
              <a:gd name="connsiteX82" fmla="*/ 10578027 w 12190411"/>
              <a:gd name="connsiteY82" fmla="*/ 883498 h 6858000"/>
              <a:gd name="connsiteX83" fmla="*/ 10577451 w 12190411"/>
              <a:gd name="connsiteY83" fmla="*/ 882921 h 6858000"/>
              <a:gd name="connsiteX84" fmla="*/ 10578766 w 12190411"/>
              <a:gd name="connsiteY84" fmla="*/ 874548 h 6858000"/>
              <a:gd name="connsiteX85" fmla="*/ 10584438 w 12190411"/>
              <a:gd name="connsiteY85" fmla="*/ 866011 h 6858000"/>
              <a:gd name="connsiteX86" fmla="*/ 10594960 w 12190411"/>
              <a:gd name="connsiteY86" fmla="*/ 862794 h 6858000"/>
              <a:gd name="connsiteX87" fmla="*/ 10380143 w 12190411"/>
              <a:gd name="connsiteY87" fmla="*/ 862794 h 6858000"/>
              <a:gd name="connsiteX88" fmla="*/ 10390938 w 12190411"/>
              <a:gd name="connsiteY88" fmla="*/ 866300 h 6858000"/>
              <a:gd name="connsiteX89" fmla="*/ 10396762 w 12190411"/>
              <a:gd name="connsiteY89" fmla="*/ 875621 h 6858000"/>
              <a:gd name="connsiteX90" fmla="*/ 10397659 w 12190411"/>
              <a:gd name="connsiteY90" fmla="*/ 882921 h 6858000"/>
              <a:gd name="connsiteX91" fmla="*/ 10397048 w 12190411"/>
              <a:gd name="connsiteY91" fmla="*/ 883498 h 6858000"/>
              <a:gd name="connsiteX92" fmla="*/ 10363360 w 12190411"/>
              <a:gd name="connsiteY92" fmla="*/ 883498 h 6858000"/>
              <a:gd name="connsiteX93" fmla="*/ 10362790 w 12190411"/>
              <a:gd name="connsiteY93" fmla="*/ 882921 h 6858000"/>
              <a:gd name="connsiteX94" fmla="*/ 10364093 w 12190411"/>
              <a:gd name="connsiteY94" fmla="*/ 874548 h 6858000"/>
              <a:gd name="connsiteX95" fmla="*/ 10369715 w 12190411"/>
              <a:gd name="connsiteY95" fmla="*/ 866011 h 6858000"/>
              <a:gd name="connsiteX96" fmla="*/ 10380143 w 12190411"/>
              <a:gd name="connsiteY96" fmla="*/ 862794 h 6858000"/>
              <a:gd name="connsiteX97" fmla="*/ 11472433 w 12190411"/>
              <a:gd name="connsiteY97" fmla="*/ 851898 h 6858000"/>
              <a:gd name="connsiteX98" fmla="*/ 11470964 w 12190411"/>
              <a:gd name="connsiteY98" fmla="*/ 853369 h 6858000"/>
              <a:gd name="connsiteX99" fmla="*/ 11470964 w 12190411"/>
              <a:gd name="connsiteY99" fmla="*/ 925340 h 6858000"/>
              <a:gd name="connsiteX100" fmla="*/ 11472433 w 12190411"/>
              <a:gd name="connsiteY100" fmla="*/ 926812 h 6858000"/>
              <a:gd name="connsiteX101" fmla="*/ 11483619 w 12190411"/>
              <a:gd name="connsiteY101" fmla="*/ 926812 h 6858000"/>
              <a:gd name="connsiteX102" fmla="*/ 11485129 w 12190411"/>
              <a:gd name="connsiteY102" fmla="*/ 925340 h 6858000"/>
              <a:gd name="connsiteX103" fmla="*/ 11485129 w 12190411"/>
              <a:gd name="connsiteY103" fmla="*/ 853369 h 6858000"/>
              <a:gd name="connsiteX104" fmla="*/ 11483619 w 12190411"/>
              <a:gd name="connsiteY104" fmla="*/ 851898 h 6858000"/>
              <a:gd name="connsiteX105" fmla="*/ 11472433 w 12190411"/>
              <a:gd name="connsiteY105" fmla="*/ 851898 h 6858000"/>
              <a:gd name="connsiteX106" fmla="*/ 11099924 w 12190411"/>
              <a:gd name="connsiteY106" fmla="*/ 851898 h 6858000"/>
              <a:gd name="connsiteX107" fmla="*/ 11098576 w 12190411"/>
              <a:gd name="connsiteY107" fmla="*/ 852919 h 6858000"/>
              <a:gd name="connsiteX108" fmla="*/ 11098739 w 12190411"/>
              <a:gd name="connsiteY108" fmla="*/ 853491 h 6858000"/>
              <a:gd name="connsiteX109" fmla="*/ 11123333 w 12190411"/>
              <a:gd name="connsiteY109" fmla="*/ 926463 h 6858000"/>
              <a:gd name="connsiteX110" fmla="*/ 11123333 w 12190411"/>
              <a:gd name="connsiteY110" fmla="*/ 927362 h 6858000"/>
              <a:gd name="connsiteX111" fmla="*/ 11119084 w 12190411"/>
              <a:gd name="connsiteY111" fmla="*/ 938183 h 6858000"/>
              <a:gd name="connsiteX112" fmla="*/ 11113487 w 12190411"/>
              <a:gd name="connsiteY112" fmla="*/ 943124 h 6858000"/>
              <a:gd name="connsiteX113" fmla="*/ 11104173 w 12190411"/>
              <a:gd name="connsiteY113" fmla="*/ 944594 h 6858000"/>
              <a:gd name="connsiteX114" fmla="*/ 11103887 w 12190411"/>
              <a:gd name="connsiteY114" fmla="*/ 944594 h 6858000"/>
              <a:gd name="connsiteX115" fmla="*/ 11102416 w 12190411"/>
              <a:gd name="connsiteY115" fmla="*/ 946064 h 6858000"/>
              <a:gd name="connsiteX116" fmla="*/ 11102416 w 12190411"/>
              <a:gd name="connsiteY116" fmla="*/ 954762 h 6858000"/>
              <a:gd name="connsiteX117" fmla="*/ 11102416 w 12190411"/>
              <a:gd name="connsiteY117" fmla="*/ 956232 h 6858000"/>
              <a:gd name="connsiteX118" fmla="*/ 11103437 w 12190411"/>
              <a:gd name="connsiteY118" fmla="*/ 956232 h 6858000"/>
              <a:gd name="connsiteX119" fmla="*/ 11104459 w 12190411"/>
              <a:gd name="connsiteY119" fmla="*/ 956232 h 6858000"/>
              <a:gd name="connsiteX120" fmla="*/ 11119819 w 12190411"/>
              <a:gd name="connsiteY120" fmla="*/ 954190 h 6858000"/>
              <a:gd name="connsiteX121" fmla="*/ 11128644 w 12190411"/>
              <a:gd name="connsiteY121" fmla="*/ 947167 h 6858000"/>
              <a:gd name="connsiteX122" fmla="*/ 11135425 w 12190411"/>
              <a:gd name="connsiteY122" fmla="*/ 932058 h 6858000"/>
              <a:gd name="connsiteX123" fmla="*/ 11162307 w 12190411"/>
              <a:gd name="connsiteY123" fmla="*/ 853491 h 6858000"/>
              <a:gd name="connsiteX124" fmla="*/ 11161122 w 12190411"/>
              <a:gd name="connsiteY124" fmla="*/ 851898 h 6858000"/>
              <a:gd name="connsiteX125" fmla="*/ 11149438 w 12190411"/>
              <a:gd name="connsiteY125" fmla="*/ 851898 h 6858000"/>
              <a:gd name="connsiteX126" fmla="*/ 11147681 w 12190411"/>
              <a:gd name="connsiteY126" fmla="*/ 853041 h 6858000"/>
              <a:gd name="connsiteX127" fmla="*/ 11131177 w 12190411"/>
              <a:gd name="connsiteY127" fmla="*/ 908618 h 6858000"/>
              <a:gd name="connsiteX128" fmla="*/ 11130727 w 12190411"/>
              <a:gd name="connsiteY128" fmla="*/ 908945 h 6858000"/>
              <a:gd name="connsiteX129" fmla="*/ 11130278 w 12190411"/>
              <a:gd name="connsiteY129" fmla="*/ 908618 h 6858000"/>
              <a:gd name="connsiteX130" fmla="*/ 11113610 w 12190411"/>
              <a:gd name="connsiteY130" fmla="*/ 853041 h 6858000"/>
              <a:gd name="connsiteX131" fmla="*/ 11111853 w 12190411"/>
              <a:gd name="connsiteY131" fmla="*/ 851898 h 6858000"/>
              <a:gd name="connsiteX132" fmla="*/ 11099924 w 12190411"/>
              <a:gd name="connsiteY132" fmla="*/ 851898 h 6858000"/>
              <a:gd name="connsiteX133" fmla="*/ 10137108 w 12190411"/>
              <a:gd name="connsiteY133" fmla="*/ 851898 h 6858000"/>
              <a:gd name="connsiteX134" fmla="*/ 10135598 w 12190411"/>
              <a:gd name="connsiteY134" fmla="*/ 853367 h 6858000"/>
              <a:gd name="connsiteX135" fmla="*/ 10135598 w 12190411"/>
              <a:gd name="connsiteY135" fmla="*/ 903615 h 6858000"/>
              <a:gd name="connsiteX136" fmla="*/ 10139312 w 12190411"/>
              <a:gd name="connsiteY136" fmla="*/ 916840 h 6858000"/>
              <a:gd name="connsiteX137" fmla="*/ 10149105 w 12190411"/>
              <a:gd name="connsiteY137" fmla="*/ 925126 h 6858000"/>
              <a:gd name="connsiteX138" fmla="*/ 10162408 w 12190411"/>
              <a:gd name="connsiteY138" fmla="*/ 927901 h 6858000"/>
              <a:gd name="connsiteX139" fmla="*/ 10180525 w 12190411"/>
              <a:gd name="connsiteY139" fmla="*/ 919819 h 6858000"/>
              <a:gd name="connsiteX140" fmla="*/ 10181056 w 12190411"/>
              <a:gd name="connsiteY140" fmla="*/ 919574 h 6858000"/>
              <a:gd name="connsiteX141" fmla="*/ 10181260 w 12190411"/>
              <a:gd name="connsiteY141" fmla="*/ 919942 h 6858000"/>
              <a:gd name="connsiteX142" fmla="*/ 10181260 w 12190411"/>
              <a:gd name="connsiteY142" fmla="*/ 925411 h 6858000"/>
              <a:gd name="connsiteX143" fmla="*/ 10182770 w 12190411"/>
              <a:gd name="connsiteY143" fmla="*/ 926881 h 6858000"/>
              <a:gd name="connsiteX144" fmla="*/ 10193788 w 12190411"/>
              <a:gd name="connsiteY144" fmla="*/ 926881 h 6858000"/>
              <a:gd name="connsiteX145" fmla="*/ 10195256 w 12190411"/>
              <a:gd name="connsiteY145" fmla="*/ 925411 h 6858000"/>
              <a:gd name="connsiteX146" fmla="*/ 10195256 w 12190411"/>
              <a:gd name="connsiteY146" fmla="*/ 853367 h 6858000"/>
              <a:gd name="connsiteX147" fmla="*/ 10193788 w 12190411"/>
              <a:gd name="connsiteY147" fmla="*/ 851898 h 6858000"/>
              <a:gd name="connsiteX148" fmla="*/ 10182770 w 12190411"/>
              <a:gd name="connsiteY148" fmla="*/ 851898 h 6858000"/>
              <a:gd name="connsiteX149" fmla="*/ 10181260 w 12190411"/>
              <a:gd name="connsiteY149" fmla="*/ 853367 h 6858000"/>
              <a:gd name="connsiteX150" fmla="*/ 10181260 w 12190411"/>
              <a:gd name="connsiteY150" fmla="*/ 899165 h 6858000"/>
              <a:gd name="connsiteX151" fmla="*/ 10176853 w 12190411"/>
              <a:gd name="connsiteY151" fmla="*/ 911166 h 6858000"/>
              <a:gd name="connsiteX152" fmla="*/ 10165060 w 12190411"/>
              <a:gd name="connsiteY152" fmla="*/ 915697 h 6858000"/>
              <a:gd name="connsiteX153" fmla="*/ 10153675 w 12190411"/>
              <a:gd name="connsiteY153" fmla="*/ 911247 h 6858000"/>
              <a:gd name="connsiteX154" fmla="*/ 10149594 w 12190411"/>
              <a:gd name="connsiteY154" fmla="*/ 899165 h 6858000"/>
              <a:gd name="connsiteX155" fmla="*/ 10149594 w 12190411"/>
              <a:gd name="connsiteY155" fmla="*/ 853367 h 6858000"/>
              <a:gd name="connsiteX156" fmla="*/ 10148126 w 12190411"/>
              <a:gd name="connsiteY156" fmla="*/ 851898 h 6858000"/>
              <a:gd name="connsiteX157" fmla="*/ 10137108 w 12190411"/>
              <a:gd name="connsiteY157" fmla="*/ 851898 h 6858000"/>
              <a:gd name="connsiteX158" fmla="*/ 11368625 w 12190411"/>
              <a:gd name="connsiteY158" fmla="*/ 851081 h 6858000"/>
              <a:gd name="connsiteX159" fmla="*/ 11350546 w 12190411"/>
              <a:gd name="connsiteY159" fmla="*/ 861404 h 6858000"/>
              <a:gd name="connsiteX160" fmla="*/ 11350180 w 12190411"/>
              <a:gd name="connsiteY160" fmla="*/ 861649 h 6858000"/>
              <a:gd name="connsiteX161" fmla="*/ 11349935 w 12190411"/>
              <a:gd name="connsiteY161" fmla="*/ 861118 h 6858000"/>
              <a:gd name="connsiteX162" fmla="*/ 11349935 w 12190411"/>
              <a:gd name="connsiteY162" fmla="*/ 853325 h 6858000"/>
              <a:gd name="connsiteX163" fmla="*/ 11348469 w 12190411"/>
              <a:gd name="connsiteY163" fmla="*/ 851856 h 6858000"/>
              <a:gd name="connsiteX164" fmla="*/ 11337313 w 12190411"/>
              <a:gd name="connsiteY164" fmla="*/ 851856 h 6858000"/>
              <a:gd name="connsiteX165" fmla="*/ 11335847 w 12190411"/>
              <a:gd name="connsiteY165" fmla="*/ 853325 h 6858000"/>
              <a:gd name="connsiteX166" fmla="*/ 11335847 w 12190411"/>
              <a:gd name="connsiteY166" fmla="*/ 925343 h 6858000"/>
              <a:gd name="connsiteX167" fmla="*/ 11337313 w 12190411"/>
              <a:gd name="connsiteY167" fmla="*/ 926811 h 6858000"/>
              <a:gd name="connsiteX168" fmla="*/ 11348469 w 12190411"/>
              <a:gd name="connsiteY168" fmla="*/ 926811 h 6858000"/>
              <a:gd name="connsiteX169" fmla="*/ 11349935 w 12190411"/>
              <a:gd name="connsiteY169" fmla="*/ 925343 h 6858000"/>
              <a:gd name="connsiteX170" fmla="*/ 11349935 w 12190411"/>
              <a:gd name="connsiteY170" fmla="*/ 882336 h 6858000"/>
              <a:gd name="connsiteX171" fmla="*/ 11354414 w 12190411"/>
              <a:gd name="connsiteY171" fmla="*/ 870625 h 6858000"/>
              <a:gd name="connsiteX172" fmla="*/ 11365815 w 12190411"/>
              <a:gd name="connsiteY172" fmla="*/ 865851 h 6858000"/>
              <a:gd name="connsiteX173" fmla="*/ 11367892 w 12190411"/>
              <a:gd name="connsiteY173" fmla="*/ 865688 h 6858000"/>
              <a:gd name="connsiteX174" fmla="*/ 11373755 w 12190411"/>
              <a:gd name="connsiteY174" fmla="*/ 866708 h 6858000"/>
              <a:gd name="connsiteX175" fmla="*/ 11375506 w 12190411"/>
              <a:gd name="connsiteY175" fmla="*/ 865851 h 6858000"/>
              <a:gd name="connsiteX176" fmla="*/ 11377867 w 12190411"/>
              <a:gd name="connsiteY176" fmla="*/ 854794 h 6858000"/>
              <a:gd name="connsiteX177" fmla="*/ 11377135 w 12190411"/>
              <a:gd name="connsiteY177" fmla="*/ 852998 h 6858000"/>
              <a:gd name="connsiteX178" fmla="*/ 11368625 w 12190411"/>
              <a:gd name="connsiteY178" fmla="*/ 851081 h 6858000"/>
              <a:gd name="connsiteX179" fmla="*/ 11063455 w 12190411"/>
              <a:gd name="connsiteY179" fmla="*/ 851081 h 6858000"/>
              <a:gd name="connsiteX180" fmla="*/ 11042897 w 12190411"/>
              <a:gd name="connsiteY180" fmla="*/ 856930 h 6858000"/>
              <a:gd name="connsiteX181" fmla="*/ 11035131 w 12190411"/>
              <a:gd name="connsiteY181" fmla="*/ 872679 h 6858000"/>
              <a:gd name="connsiteX182" fmla="*/ 11039055 w 12190411"/>
              <a:gd name="connsiteY182" fmla="*/ 884255 h 6858000"/>
              <a:gd name="connsiteX183" fmla="*/ 11048619 w 12190411"/>
              <a:gd name="connsiteY183" fmla="*/ 891209 h 6858000"/>
              <a:gd name="connsiteX184" fmla="*/ 11062719 w 12190411"/>
              <a:gd name="connsiteY184" fmla="*/ 895995 h 6858000"/>
              <a:gd name="connsiteX185" fmla="*/ 11075144 w 12190411"/>
              <a:gd name="connsiteY185" fmla="*/ 900494 h 6858000"/>
              <a:gd name="connsiteX186" fmla="*/ 11078945 w 12190411"/>
              <a:gd name="connsiteY186" fmla="*/ 906917 h 6858000"/>
              <a:gd name="connsiteX187" fmla="*/ 11074817 w 12190411"/>
              <a:gd name="connsiteY187" fmla="*/ 914239 h 6858000"/>
              <a:gd name="connsiteX188" fmla="*/ 11064068 w 12190411"/>
              <a:gd name="connsiteY188" fmla="*/ 917102 h 6858000"/>
              <a:gd name="connsiteX189" fmla="*/ 11052624 w 12190411"/>
              <a:gd name="connsiteY189" fmla="*/ 913993 h 6858000"/>
              <a:gd name="connsiteX190" fmla="*/ 11048128 w 12190411"/>
              <a:gd name="connsiteY190" fmla="*/ 906753 h 6858000"/>
              <a:gd name="connsiteX191" fmla="*/ 11048128 w 12190411"/>
              <a:gd name="connsiteY191" fmla="*/ 906017 h 6858000"/>
              <a:gd name="connsiteX192" fmla="*/ 11046657 w 12190411"/>
              <a:gd name="connsiteY192" fmla="*/ 904544 h 6858000"/>
              <a:gd name="connsiteX193" fmla="*/ 11036030 w 12190411"/>
              <a:gd name="connsiteY193" fmla="*/ 904544 h 6858000"/>
              <a:gd name="connsiteX194" fmla="*/ 11034559 w 12190411"/>
              <a:gd name="connsiteY194" fmla="*/ 906017 h 6858000"/>
              <a:gd name="connsiteX195" fmla="*/ 11034559 w 12190411"/>
              <a:gd name="connsiteY195" fmla="*/ 907653 h 6858000"/>
              <a:gd name="connsiteX196" fmla="*/ 11038237 w 12190411"/>
              <a:gd name="connsiteY196" fmla="*/ 917920 h 6858000"/>
              <a:gd name="connsiteX197" fmla="*/ 11048619 w 12190411"/>
              <a:gd name="connsiteY197" fmla="*/ 925242 h 6858000"/>
              <a:gd name="connsiteX198" fmla="*/ 11064191 w 12190411"/>
              <a:gd name="connsiteY198" fmla="*/ 927901 h 6858000"/>
              <a:gd name="connsiteX199" fmla="*/ 11085239 w 12190411"/>
              <a:gd name="connsiteY199" fmla="*/ 921970 h 6858000"/>
              <a:gd name="connsiteX200" fmla="*/ 11093128 w 12190411"/>
              <a:gd name="connsiteY200" fmla="*/ 906017 h 6858000"/>
              <a:gd name="connsiteX201" fmla="*/ 11089122 w 12190411"/>
              <a:gd name="connsiteY201" fmla="*/ 894277 h 6858000"/>
              <a:gd name="connsiteX202" fmla="*/ 11079477 w 12190411"/>
              <a:gd name="connsiteY202" fmla="*/ 887486 h 6858000"/>
              <a:gd name="connsiteX203" fmla="*/ 11065253 w 12190411"/>
              <a:gd name="connsiteY203" fmla="*/ 882864 h 6858000"/>
              <a:gd name="connsiteX204" fmla="*/ 11052624 w 12190411"/>
              <a:gd name="connsiteY204" fmla="*/ 878119 h 6858000"/>
              <a:gd name="connsiteX205" fmla="*/ 11048700 w 12190411"/>
              <a:gd name="connsiteY205" fmla="*/ 871615 h 6858000"/>
              <a:gd name="connsiteX206" fmla="*/ 11052747 w 12190411"/>
              <a:gd name="connsiteY206" fmla="*/ 864825 h 6858000"/>
              <a:gd name="connsiteX207" fmla="*/ 11063332 w 12190411"/>
              <a:gd name="connsiteY207" fmla="*/ 862330 h 6858000"/>
              <a:gd name="connsiteX208" fmla="*/ 11074736 w 12190411"/>
              <a:gd name="connsiteY208" fmla="*/ 865193 h 6858000"/>
              <a:gd name="connsiteX209" fmla="*/ 11078945 w 12190411"/>
              <a:gd name="connsiteY209" fmla="*/ 872351 h 6858000"/>
              <a:gd name="connsiteX210" fmla="*/ 11078945 w 12190411"/>
              <a:gd name="connsiteY210" fmla="*/ 872801 h 6858000"/>
              <a:gd name="connsiteX211" fmla="*/ 11080417 w 12190411"/>
              <a:gd name="connsiteY211" fmla="*/ 874274 h 6858000"/>
              <a:gd name="connsiteX212" fmla="*/ 11090757 w 12190411"/>
              <a:gd name="connsiteY212" fmla="*/ 874274 h 6858000"/>
              <a:gd name="connsiteX213" fmla="*/ 11092229 w 12190411"/>
              <a:gd name="connsiteY213" fmla="*/ 872801 h 6858000"/>
              <a:gd name="connsiteX214" fmla="*/ 11092229 w 12190411"/>
              <a:gd name="connsiteY214" fmla="*/ 872351 h 6858000"/>
              <a:gd name="connsiteX215" fmla="*/ 11088713 w 12190411"/>
              <a:gd name="connsiteY215" fmla="*/ 861430 h 6858000"/>
              <a:gd name="connsiteX216" fmla="*/ 11078577 w 12190411"/>
              <a:gd name="connsiteY216" fmla="*/ 853821 h 6858000"/>
              <a:gd name="connsiteX217" fmla="*/ 11063455 w 12190411"/>
              <a:gd name="connsiteY217" fmla="*/ 851081 h 6858000"/>
              <a:gd name="connsiteX218" fmla="*/ 10463065 w 12190411"/>
              <a:gd name="connsiteY218" fmla="*/ 851081 h 6858000"/>
              <a:gd name="connsiteX219" fmla="*/ 10444869 w 12190411"/>
              <a:gd name="connsiteY219" fmla="*/ 861404 h 6858000"/>
              <a:gd name="connsiteX220" fmla="*/ 10444501 w 12190411"/>
              <a:gd name="connsiteY220" fmla="*/ 861649 h 6858000"/>
              <a:gd name="connsiteX221" fmla="*/ 10444296 w 12190411"/>
              <a:gd name="connsiteY221" fmla="*/ 861118 h 6858000"/>
              <a:gd name="connsiteX222" fmla="*/ 10444296 w 12190411"/>
              <a:gd name="connsiteY222" fmla="*/ 853325 h 6858000"/>
              <a:gd name="connsiteX223" fmla="*/ 10442821 w 12190411"/>
              <a:gd name="connsiteY223" fmla="*/ 851856 h 6858000"/>
              <a:gd name="connsiteX224" fmla="*/ 10431551 w 12190411"/>
              <a:gd name="connsiteY224" fmla="*/ 851856 h 6858000"/>
              <a:gd name="connsiteX225" fmla="*/ 10430076 w 12190411"/>
              <a:gd name="connsiteY225" fmla="*/ 853325 h 6858000"/>
              <a:gd name="connsiteX226" fmla="*/ 10430076 w 12190411"/>
              <a:gd name="connsiteY226" fmla="*/ 925343 h 6858000"/>
              <a:gd name="connsiteX227" fmla="*/ 10431551 w 12190411"/>
              <a:gd name="connsiteY227" fmla="*/ 926811 h 6858000"/>
              <a:gd name="connsiteX228" fmla="*/ 10442821 w 12190411"/>
              <a:gd name="connsiteY228" fmla="*/ 926811 h 6858000"/>
              <a:gd name="connsiteX229" fmla="*/ 10444296 w 12190411"/>
              <a:gd name="connsiteY229" fmla="*/ 925343 h 6858000"/>
              <a:gd name="connsiteX230" fmla="*/ 10444296 w 12190411"/>
              <a:gd name="connsiteY230" fmla="*/ 882336 h 6858000"/>
              <a:gd name="connsiteX231" fmla="*/ 10448804 w 12190411"/>
              <a:gd name="connsiteY231" fmla="*/ 870625 h 6858000"/>
              <a:gd name="connsiteX232" fmla="*/ 10460278 w 12190411"/>
              <a:gd name="connsiteY232" fmla="*/ 865851 h 6858000"/>
              <a:gd name="connsiteX233" fmla="*/ 10462327 w 12190411"/>
              <a:gd name="connsiteY233" fmla="*/ 865688 h 6858000"/>
              <a:gd name="connsiteX234" fmla="*/ 10468269 w 12190411"/>
              <a:gd name="connsiteY234" fmla="*/ 866708 h 6858000"/>
              <a:gd name="connsiteX235" fmla="*/ 10470031 w 12190411"/>
              <a:gd name="connsiteY235" fmla="*/ 865851 h 6858000"/>
              <a:gd name="connsiteX236" fmla="*/ 10472408 w 12190411"/>
              <a:gd name="connsiteY236" fmla="*/ 854794 h 6858000"/>
              <a:gd name="connsiteX237" fmla="*/ 10471671 w 12190411"/>
              <a:gd name="connsiteY237" fmla="*/ 852998 h 6858000"/>
              <a:gd name="connsiteX238" fmla="*/ 10463065 w 12190411"/>
              <a:gd name="connsiteY238" fmla="*/ 851081 h 6858000"/>
              <a:gd name="connsiteX239" fmla="*/ 11621290 w 12190411"/>
              <a:gd name="connsiteY239" fmla="*/ 850808 h 6858000"/>
              <a:gd name="connsiteX240" fmla="*/ 11602560 w 12190411"/>
              <a:gd name="connsiteY240" fmla="*/ 858927 h 6858000"/>
              <a:gd name="connsiteX241" fmla="*/ 11602192 w 12190411"/>
              <a:gd name="connsiteY241" fmla="*/ 859049 h 6858000"/>
              <a:gd name="connsiteX242" fmla="*/ 11601988 w 12190411"/>
              <a:gd name="connsiteY242" fmla="*/ 858641 h 6858000"/>
              <a:gd name="connsiteX243" fmla="*/ 11601988 w 12190411"/>
              <a:gd name="connsiteY243" fmla="*/ 853338 h 6858000"/>
              <a:gd name="connsiteX244" fmla="*/ 11600519 w 12190411"/>
              <a:gd name="connsiteY244" fmla="*/ 851869 h 6858000"/>
              <a:gd name="connsiteX245" fmla="*/ 11589339 w 12190411"/>
              <a:gd name="connsiteY245" fmla="*/ 851869 h 6858000"/>
              <a:gd name="connsiteX246" fmla="*/ 11587829 w 12190411"/>
              <a:gd name="connsiteY246" fmla="*/ 853338 h 6858000"/>
              <a:gd name="connsiteX247" fmla="*/ 11587829 w 12190411"/>
              <a:gd name="connsiteY247" fmla="*/ 925343 h 6858000"/>
              <a:gd name="connsiteX248" fmla="*/ 11589339 w 12190411"/>
              <a:gd name="connsiteY248" fmla="*/ 926812 h 6858000"/>
              <a:gd name="connsiteX249" fmla="*/ 11600519 w 12190411"/>
              <a:gd name="connsiteY249" fmla="*/ 926812 h 6858000"/>
              <a:gd name="connsiteX250" fmla="*/ 11601988 w 12190411"/>
              <a:gd name="connsiteY250" fmla="*/ 925343 h 6858000"/>
              <a:gd name="connsiteX251" fmla="*/ 11601988 w 12190411"/>
              <a:gd name="connsiteY251" fmla="*/ 879406 h 6858000"/>
              <a:gd name="connsiteX252" fmla="*/ 11606395 w 12190411"/>
              <a:gd name="connsiteY252" fmla="*/ 867616 h 6858000"/>
              <a:gd name="connsiteX253" fmla="*/ 11617739 w 12190411"/>
              <a:gd name="connsiteY253" fmla="*/ 863047 h 6858000"/>
              <a:gd name="connsiteX254" fmla="*/ 11629084 w 12190411"/>
              <a:gd name="connsiteY254" fmla="*/ 867616 h 6858000"/>
              <a:gd name="connsiteX255" fmla="*/ 11633368 w 12190411"/>
              <a:gd name="connsiteY255" fmla="*/ 879529 h 6858000"/>
              <a:gd name="connsiteX256" fmla="*/ 11633368 w 12190411"/>
              <a:gd name="connsiteY256" fmla="*/ 925343 h 6858000"/>
              <a:gd name="connsiteX257" fmla="*/ 11634837 w 12190411"/>
              <a:gd name="connsiteY257" fmla="*/ 926812 h 6858000"/>
              <a:gd name="connsiteX258" fmla="*/ 11646018 w 12190411"/>
              <a:gd name="connsiteY258" fmla="*/ 926812 h 6858000"/>
              <a:gd name="connsiteX259" fmla="*/ 11647487 w 12190411"/>
              <a:gd name="connsiteY259" fmla="*/ 925343 h 6858000"/>
              <a:gd name="connsiteX260" fmla="*/ 11647487 w 12190411"/>
              <a:gd name="connsiteY260" fmla="*/ 876755 h 6858000"/>
              <a:gd name="connsiteX261" fmla="*/ 11640428 w 12190411"/>
              <a:gd name="connsiteY261" fmla="*/ 857825 h 6858000"/>
              <a:gd name="connsiteX262" fmla="*/ 11621290 w 12190411"/>
              <a:gd name="connsiteY262" fmla="*/ 850808 h 6858000"/>
              <a:gd name="connsiteX263" fmla="*/ 11537603 w 12190411"/>
              <a:gd name="connsiteY263" fmla="*/ 850808 h 6858000"/>
              <a:gd name="connsiteX264" fmla="*/ 11518329 w 12190411"/>
              <a:gd name="connsiteY264" fmla="*/ 856678 h 6858000"/>
              <a:gd name="connsiteX265" fmla="*/ 11507735 w 12190411"/>
              <a:gd name="connsiteY265" fmla="*/ 872738 h 6858000"/>
              <a:gd name="connsiteX266" fmla="*/ 11506105 w 12190411"/>
              <a:gd name="connsiteY266" fmla="*/ 889043 h 6858000"/>
              <a:gd name="connsiteX267" fmla="*/ 11509650 w 12190411"/>
              <a:gd name="connsiteY267" fmla="*/ 910076 h 6858000"/>
              <a:gd name="connsiteX268" fmla="*/ 11520652 w 12190411"/>
              <a:gd name="connsiteY268" fmla="*/ 923486 h 6858000"/>
              <a:gd name="connsiteX269" fmla="*/ 11538744 w 12190411"/>
              <a:gd name="connsiteY269" fmla="*/ 928174 h 6858000"/>
              <a:gd name="connsiteX270" fmla="*/ 11555899 w 12190411"/>
              <a:gd name="connsiteY270" fmla="*/ 924342 h 6858000"/>
              <a:gd name="connsiteX271" fmla="*/ 11567593 w 12190411"/>
              <a:gd name="connsiteY271" fmla="*/ 913907 h 6858000"/>
              <a:gd name="connsiteX272" fmla="*/ 11567145 w 12190411"/>
              <a:gd name="connsiteY272" fmla="*/ 911991 h 6858000"/>
              <a:gd name="connsiteX273" fmla="*/ 11558751 w 12190411"/>
              <a:gd name="connsiteY273" fmla="*/ 906407 h 6858000"/>
              <a:gd name="connsiteX274" fmla="*/ 11556836 w 12190411"/>
              <a:gd name="connsiteY274" fmla="*/ 906855 h 6858000"/>
              <a:gd name="connsiteX275" fmla="*/ 11540088 w 12190411"/>
              <a:gd name="connsiteY275" fmla="*/ 915823 h 6858000"/>
              <a:gd name="connsiteX276" fmla="*/ 11527660 w 12190411"/>
              <a:gd name="connsiteY276" fmla="*/ 912521 h 6858000"/>
              <a:gd name="connsiteX277" fmla="*/ 11521100 w 12190411"/>
              <a:gd name="connsiteY277" fmla="*/ 903309 h 6858000"/>
              <a:gd name="connsiteX278" fmla="*/ 11520244 w 12190411"/>
              <a:gd name="connsiteY278" fmla="*/ 895687 h 6858000"/>
              <a:gd name="connsiteX279" fmla="*/ 11520815 w 12190411"/>
              <a:gd name="connsiteY279" fmla="*/ 895075 h 6858000"/>
              <a:gd name="connsiteX280" fmla="*/ 11567756 w 12190411"/>
              <a:gd name="connsiteY280" fmla="*/ 895075 h 6858000"/>
              <a:gd name="connsiteX281" fmla="*/ 11569223 w 12190411"/>
              <a:gd name="connsiteY281" fmla="*/ 893608 h 6858000"/>
              <a:gd name="connsiteX282" fmla="*/ 11568775 w 12190411"/>
              <a:gd name="connsiteY282" fmla="*/ 880075 h 6858000"/>
              <a:gd name="connsiteX283" fmla="*/ 11559810 w 12190411"/>
              <a:gd name="connsiteY283" fmla="*/ 858227 h 6858000"/>
              <a:gd name="connsiteX284" fmla="*/ 11537603 w 12190411"/>
              <a:gd name="connsiteY284" fmla="*/ 850808 h 6858000"/>
              <a:gd name="connsiteX285" fmla="*/ 11415277 w 12190411"/>
              <a:gd name="connsiteY285" fmla="*/ 850808 h 6858000"/>
              <a:gd name="connsiteX286" fmla="*/ 11398412 w 12190411"/>
              <a:gd name="connsiteY286" fmla="*/ 856153 h 6858000"/>
              <a:gd name="connsiteX287" fmla="*/ 11388448 w 12190411"/>
              <a:gd name="connsiteY287" fmla="*/ 870392 h 6858000"/>
              <a:gd name="connsiteX288" fmla="*/ 11386243 w 12190411"/>
              <a:gd name="connsiteY288" fmla="*/ 889241 h 6858000"/>
              <a:gd name="connsiteX289" fmla="*/ 11388163 w 12190411"/>
              <a:gd name="connsiteY289" fmla="*/ 907192 h 6858000"/>
              <a:gd name="connsiteX290" fmla="*/ 11398821 w 12190411"/>
              <a:gd name="connsiteY290" fmla="*/ 921920 h 6858000"/>
              <a:gd name="connsiteX291" fmla="*/ 11416176 w 12190411"/>
              <a:gd name="connsiteY291" fmla="*/ 926939 h 6858000"/>
              <a:gd name="connsiteX292" fmla="*/ 11434307 w 12190411"/>
              <a:gd name="connsiteY292" fmla="*/ 919717 h 6858000"/>
              <a:gd name="connsiteX293" fmla="*/ 11434797 w 12190411"/>
              <a:gd name="connsiteY293" fmla="*/ 919554 h 6858000"/>
              <a:gd name="connsiteX294" fmla="*/ 11435042 w 12190411"/>
              <a:gd name="connsiteY294" fmla="*/ 920003 h 6858000"/>
              <a:gd name="connsiteX295" fmla="*/ 11435042 w 12190411"/>
              <a:gd name="connsiteY295" fmla="*/ 922655 h 6858000"/>
              <a:gd name="connsiteX296" fmla="*/ 11429447 w 12190411"/>
              <a:gd name="connsiteY296" fmla="*/ 938362 h 6858000"/>
              <a:gd name="connsiteX297" fmla="*/ 11411316 w 12190411"/>
              <a:gd name="connsiteY297" fmla="*/ 942973 h 6858000"/>
              <a:gd name="connsiteX298" fmla="*/ 11405273 w 12190411"/>
              <a:gd name="connsiteY298" fmla="*/ 942850 h 6858000"/>
              <a:gd name="connsiteX299" fmla="*/ 11404088 w 12190411"/>
              <a:gd name="connsiteY299" fmla="*/ 943136 h 6858000"/>
              <a:gd name="connsiteX300" fmla="*/ 11403639 w 12190411"/>
              <a:gd name="connsiteY300" fmla="*/ 944156 h 6858000"/>
              <a:gd name="connsiteX301" fmla="*/ 11403190 w 12190411"/>
              <a:gd name="connsiteY301" fmla="*/ 954315 h 6858000"/>
              <a:gd name="connsiteX302" fmla="*/ 11404660 w 12190411"/>
              <a:gd name="connsiteY302" fmla="*/ 955947 h 6858000"/>
              <a:gd name="connsiteX303" fmla="*/ 11412051 w 12190411"/>
              <a:gd name="connsiteY303" fmla="*/ 956232 h 6858000"/>
              <a:gd name="connsiteX304" fmla="*/ 11439084 w 12190411"/>
              <a:gd name="connsiteY304" fmla="*/ 948603 h 6858000"/>
              <a:gd name="connsiteX305" fmla="*/ 11449171 w 12190411"/>
              <a:gd name="connsiteY305" fmla="*/ 923104 h 6858000"/>
              <a:gd name="connsiteX306" fmla="*/ 11449171 w 12190411"/>
              <a:gd name="connsiteY306" fmla="*/ 853460 h 6858000"/>
              <a:gd name="connsiteX307" fmla="*/ 11447701 w 12190411"/>
              <a:gd name="connsiteY307" fmla="*/ 851991 h 6858000"/>
              <a:gd name="connsiteX308" fmla="*/ 11436512 w 12190411"/>
              <a:gd name="connsiteY308" fmla="*/ 851991 h 6858000"/>
              <a:gd name="connsiteX309" fmla="*/ 11435042 w 12190411"/>
              <a:gd name="connsiteY309" fmla="*/ 853460 h 6858000"/>
              <a:gd name="connsiteX310" fmla="*/ 11435042 w 12190411"/>
              <a:gd name="connsiteY310" fmla="*/ 858030 h 6858000"/>
              <a:gd name="connsiteX311" fmla="*/ 11434797 w 12190411"/>
              <a:gd name="connsiteY311" fmla="*/ 858397 h 6858000"/>
              <a:gd name="connsiteX312" fmla="*/ 11434307 w 12190411"/>
              <a:gd name="connsiteY312" fmla="*/ 858152 h 6858000"/>
              <a:gd name="connsiteX313" fmla="*/ 11415277 w 12190411"/>
              <a:gd name="connsiteY313" fmla="*/ 850808 h 6858000"/>
              <a:gd name="connsiteX314" fmla="*/ 11285716 w 12190411"/>
              <a:gd name="connsiteY314" fmla="*/ 850808 h 6858000"/>
              <a:gd name="connsiteX315" fmla="*/ 11266400 w 12190411"/>
              <a:gd name="connsiteY315" fmla="*/ 856678 h 6858000"/>
              <a:gd name="connsiteX316" fmla="*/ 11255760 w 12190411"/>
              <a:gd name="connsiteY316" fmla="*/ 872738 h 6858000"/>
              <a:gd name="connsiteX317" fmla="*/ 11254123 w 12190411"/>
              <a:gd name="connsiteY317" fmla="*/ 889043 h 6858000"/>
              <a:gd name="connsiteX318" fmla="*/ 11257684 w 12190411"/>
              <a:gd name="connsiteY318" fmla="*/ 910076 h 6858000"/>
              <a:gd name="connsiteX319" fmla="*/ 11268733 w 12190411"/>
              <a:gd name="connsiteY319" fmla="*/ 923486 h 6858000"/>
              <a:gd name="connsiteX320" fmla="*/ 11286903 w 12190411"/>
              <a:gd name="connsiteY320" fmla="*/ 928174 h 6858000"/>
              <a:gd name="connsiteX321" fmla="*/ 11304132 w 12190411"/>
              <a:gd name="connsiteY321" fmla="*/ 924342 h 6858000"/>
              <a:gd name="connsiteX322" fmla="*/ 11315877 w 12190411"/>
              <a:gd name="connsiteY322" fmla="*/ 913907 h 6858000"/>
              <a:gd name="connsiteX323" fmla="*/ 11315427 w 12190411"/>
              <a:gd name="connsiteY323" fmla="*/ 911991 h 6858000"/>
              <a:gd name="connsiteX324" fmla="*/ 11306996 w 12190411"/>
              <a:gd name="connsiteY324" fmla="*/ 906407 h 6858000"/>
              <a:gd name="connsiteX325" fmla="*/ 11305073 w 12190411"/>
              <a:gd name="connsiteY325" fmla="*/ 906855 h 6858000"/>
              <a:gd name="connsiteX326" fmla="*/ 11288253 w 12190411"/>
              <a:gd name="connsiteY326" fmla="*/ 915823 h 6858000"/>
              <a:gd name="connsiteX327" fmla="*/ 11275772 w 12190411"/>
              <a:gd name="connsiteY327" fmla="*/ 912521 h 6858000"/>
              <a:gd name="connsiteX328" fmla="*/ 11269183 w 12190411"/>
              <a:gd name="connsiteY328" fmla="*/ 903309 h 6858000"/>
              <a:gd name="connsiteX329" fmla="*/ 11268324 w 12190411"/>
              <a:gd name="connsiteY329" fmla="*/ 895687 h 6858000"/>
              <a:gd name="connsiteX330" fmla="*/ 11268897 w 12190411"/>
              <a:gd name="connsiteY330" fmla="*/ 895075 h 6858000"/>
              <a:gd name="connsiteX331" fmla="*/ 11315999 w 12190411"/>
              <a:gd name="connsiteY331" fmla="*/ 895075 h 6858000"/>
              <a:gd name="connsiteX332" fmla="*/ 11317514 w 12190411"/>
              <a:gd name="connsiteY332" fmla="*/ 893608 h 6858000"/>
              <a:gd name="connsiteX333" fmla="*/ 11317064 w 12190411"/>
              <a:gd name="connsiteY333" fmla="*/ 880075 h 6858000"/>
              <a:gd name="connsiteX334" fmla="*/ 11308060 w 12190411"/>
              <a:gd name="connsiteY334" fmla="*/ 858227 h 6858000"/>
              <a:gd name="connsiteX335" fmla="*/ 11285716 w 12190411"/>
              <a:gd name="connsiteY335" fmla="*/ 850808 h 6858000"/>
              <a:gd name="connsiteX336" fmla="*/ 11209906 w 12190411"/>
              <a:gd name="connsiteY336" fmla="*/ 850808 h 6858000"/>
              <a:gd name="connsiteX337" fmla="*/ 11191217 w 12190411"/>
              <a:gd name="connsiteY337" fmla="*/ 858927 h 6858000"/>
              <a:gd name="connsiteX338" fmla="*/ 11190849 w 12190411"/>
              <a:gd name="connsiteY338" fmla="*/ 859049 h 6858000"/>
              <a:gd name="connsiteX339" fmla="*/ 11190605 w 12190411"/>
              <a:gd name="connsiteY339" fmla="*/ 858641 h 6858000"/>
              <a:gd name="connsiteX340" fmla="*/ 11190605 w 12190411"/>
              <a:gd name="connsiteY340" fmla="*/ 853338 h 6858000"/>
              <a:gd name="connsiteX341" fmla="*/ 11189136 w 12190411"/>
              <a:gd name="connsiteY341" fmla="*/ 851869 h 6858000"/>
              <a:gd name="connsiteX342" fmla="*/ 11177955 w 12190411"/>
              <a:gd name="connsiteY342" fmla="*/ 851869 h 6858000"/>
              <a:gd name="connsiteX343" fmla="*/ 11176486 w 12190411"/>
              <a:gd name="connsiteY343" fmla="*/ 853338 h 6858000"/>
              <a:gd name="connsiteX344" fmla="*/ 11176486 w 12190411"/>
              <a:gd name="connsiteY344" fmla="*/ 925343 h 6858000"/>
              <a:gd name="connsiteX345" fmla="*/ 11177955 w 12190411"/>
              <a:gd name="connsiteY345" fmla="*/ 926812 h 6858000"/>
              <a:gd name="connsiteX346" fmla="*/ 11189136 w 12190411"/>
              <a:gd name="connsiteY346" fmla="*/ 926812 h 6858000"/>
              <a:gd name="connsiteX347" fmla="*/ 11190605 w 12190411"/>
              <a:gd name="connsiteY347" fmla="*/ 925343 h 6858000"/>
              <a:gd name="connsiteX348" fmla="*/ 11190605 w 12190411"/>
              <a:gd name="connsiteY348" fmla="*/ 879406 h 6858000"/>
              <a:gd name="connsiteX349" fmla="*/ 11195012 w 12190411"/>
              <a:gd name="connsiteY349" fmla="*/ 867616 h 6858000"/>
              <a:gd name="connsiteX350" fmla="*/ 11206356 w 12190411"/>
              <a:gd name="connsiteY350" fmla="*/ 863047 h 6858000"/>
              <a:gd name="connsiteX351" fmla="*/ 11217700 w 12190411"/>
              <a:gd name="connsiteY351" fmla="*/ 867616 h 6858000"/>
              <a:gd name="connsiteX352" fmla="*/ 11221984 w 12190411"/>
              <a:gd name="connsiteY352" fmla="*/ 879529 h 6858000"/>
              <a:gd name="connsiteX353" fmla="*/ 11221984 w 12190411"/>
              <a:gd name="connsiteY353" fmla="*/ 925343 h 6858000"/>
              <a:gd name="connsiteX354" fmla="*/ 11223453 w 12190411"/>
              <a:gd name="connsiteY354" fmla="*/ 926812 h 6858000"/>
              <a:gd name="connsiteX355" fmla="*/ 11234634 w 12190411"/>
              <a:gd name="connsiteY355" fmla="*/ 926812 h 6858000"/>
              <a:gd name="connsiteX356" fmla="*/ 11236144 w 12190411"/>
              <a:gd name="connsiteY356" fmla="*/ 925343 h 6858000"/>
              <a:gd name="connsiteX357" fmla="*/ 11236144 w 12190411"/>
              <a:gd name="connsiteY357" fmla="*/ 876755 h 6858000"/>
              <a:gd name="connsiteX358" fmla="*/ 11229044 w 12190411"/>
              <a:gd name="connsiteY358" fmla="*/ 857825 h 6858000"/>
              <a:gd name="connsiteX359" fmla="*/ 11209906 w 12190411"/>
              <a:gd name="connsiteY359" fmla="*/ 850808 h 6858000"/>
              <a:gd name="connsiteX360" fmla="*/ 10960417 w 12190411"/>
              <a:gd name="connsiteY360" fmla="*/ 850808 h 6858000"/>
              <a:gd name="connsiteX361" fmla="*/ 10941687 w 12190411"/>
              <a:gd name="connsiteY361" fmla="*/ 858927 h 6858000"/>
              <a:gd name="connsiteX362" fmla="*/ 10941319 w 12190411"/>
              <a:gd name="connsiteY362" fmla="*/ 859049 h 6858000"/>
              <a:gd name="connsiteX363" fmla="*/ 10941115 w 12190411"/>
              <a:gd name="connsiteY363" fmla="*/ 858641 h 6858000"/>
              <a:gd name="connsiteX364" fmla="*/ 10941115 w 12190411"/>
              <a:gd name="connsiteY364" fmla="*/ 853338 h 6858000"/>
              <a:gd name="connsiteX365" fmla="*/ 10939647 w 12190411"/>
              <a:gd name="connsiteY365" fmla="*/ 851869 h 6858000"/>
              <a:gd name="connsiteX366" fmla="*/ 10928425 w 12190411"/>
              <a:gd name="connsiteY366" fmla="*/ 851869 h 6858000"/>
              <a:gd name="connsiteX367" fmla="*/ 10926956 w 12190411"/>
              <a:gd name="connsiteY367" fmla="*/ 853338 h 6858000"/>
              <a:gd name="connsiteX368" fmla="*/ 10926956 w 12190411"/>
              <a:gd name="connsiteY368" fmla="*/ 925343 h 6858000"/>
              <a:gd name="connsiteX369" fmla="*/ 10928425 w 12190411"/>
              <a:gd name="connsiteY369" fmla="*/ 926812 h 6858000"/>
              <a:gd name="connsiteX370" fmla="*/ 10939647 w 12190411"/>
              <a:gd name="connsiteY370" fmla="*/ 926812 h 6858000"/>
              <a:gd name="connsiteX371" fmla="*/ 10941115 w 12190411"/>
              <a:gd name="connsiteY371" fmla="*/ 925343 h 6858000"/>
              <a:gd name="connsiteX372" fmla="*/ 10941115 w 12190411"/>
              <a:gd name="connsiteY372" fmla="*/ 879406 h 6858000"/>
              <a:gd name="connsiteX373" fmla="*/ 10945523 w 12190411"/>
              <a:gd name="connsiteY373" fmla="*/ 867616 h 6858000"/>
              <a:gd name="connsiteX374" fmla="*/ 10956867 w 12190411"/>
              <a:gd name="connsiteY374" fmla="*/ 863047 h 6858000"/>
              <a:gd name="connsiteX375" fmla="*/ 10968211 w 12190411"/>
              <a:gd name="connsiteY375" fmla="*/ 867616 h 6858000"/>
              <a:gd name="connsiteX376" fmla="*/ 10972495 w 12190411"/>
              <a:gd name="connsiteY376" fmla="*/ 879529 h 6858000"/>
              <a:gd name="connsiteX377" fmla="*/ 10972495 w 12190411"/>
              <a:gd name="connsiteY377" fmla="*/ 925343 h 6858000"/>
              <a:gd name="connsiteX378" fmla="*/ 10973964 w 12190411"/>
              <a:gd name="connsiteY378" fmla="*/ 926812 h 6858000"/>
              <a:gd name="connsiteX379" fmla="*/ 10985145 w 12190411"/>
              <a:gd name="connsiteY379" fmla="*/ 926812 h 6858000"/>
              <a:gd name="connsiteX380" fmla="*/ 10986614 w 12190411"/>
              <a:gd name="connsiteY380" fmla="*/ 925343 h 6858000"/>
              <a:gd name="connsiteX381" fmla="*/ 10986614 w 12190411"/>
              <a:gd name="connsiteY381" fmla="*/ 876755 h 6858000"/>
              <a:gd name="connsiteX382" fmla="*/ 10979555 w 12190411"/>
              <a:gd name="connsiteY382" fmla="*/ 857825 h 6858000"/>
              <a:gd name="connsiteX383" fmla="*/ 10960417 w 12190411"/>
              <a:gd name="connsiteY383" fmla="*/ 850808 h 6858000"/>
              <a:gd name="connsiteX384" fmla="*/ 10876982 w 12190411"/>
              <a:gd name="connsiteY384" fmla="*/ 850808 h 6858000"/>
              <a:gd name="connsiteX385" fmla="*/ 10857696 w 12190411"/>
              <a:gd name="connsiteY385" fmla="*/ 856678 h 6858000"/>
              <a:gd name="connsiteX386" fmla="*/ 10847095 w 12190411"/>
              <a:gd name="connsiteY386" fmla="*/ 872738 h 6858000"/>
              <a:gd name="connsiteX387" fmla="*/ 10845505 w 12190411"/>
              <a:gd name="connsiteY387" fmla="*/ 889043 h 6858000"/>
              <a:gd name="connsiteX388" fmla="*/ 10849012 w 12190411"/>
              <a:gd name="connsiteY388" fmla="*/ 910076 h 6858000"/>
              <a:gd name="connsiteX389" fmla="*/ 10860061 w 12190411"/>
              <a:gd name="connsiteY389" fmla="*/ 923486 h 6858000"/>
              <a:gd name="connsiteX390" fmla="*/ 10878165 w 12190411"/>
              <a:gd name="connsiteY390" fmla="*/ 928174 h 6858000"/>
              <a:gd name="connsiteX391" fmla="*/ 10895290 w 12190411"/>
              <a:gd name="connsiteY391" fmla="*/ 924342 h 6858000"/>
              <a:gd name="connsiteX392" fmla="*/ 10907033 w 12190411"/>
              <a:gd name="connsiteY392" fmla="*/ 913907 h 6858000"/>
              <a:gd name="connsiteX393" fmla="*/ 10906584 w 12190411"/>
              <a:gd name="connsiteY393" fmla="*/ 911991 h 6858000"/>
              <a:gd name="connsiteX394" fmla="*/ 10898185 w 12190411"/>
              <a:gd name="connsiteY394" fmla="*/ 906407 h 6858000"/>
              <a:gd name="connsiteX395" fmla="*/ 10896268 w 12190411"/>
              <a:gd name="connsiteY395" fmla="*/ 906855 h 6858000"/>
              <a:gd name="connsiteX396" fmla="*/ 10879470 w 12190411"/>
              <a:gd name="connsiteY396" fmla="*/ 915823 h 6858000"/>
              <a:gd name="connsiteX397" fmla="*/ 10867033 w 12190411"/>
              <a:gd name="connsiteY397" fmla="*/ 912521 h 6858000"/>
              <a:gd name="connsiteX398" fmla="*/ 10860510 w 12190411"/>
              <a:gd name="connsiteY398" fmla="*/ 903309 h 6858000"/>
              <a:gd name="connsiteX399" fmla="*/ 10859613 w 12190411"/>
              <a:gd name="connsiteY399" fmla="*/ 895687 h 6858000"/>
              <a:gd name="connsiteX400" fmla="*/ 10860224 w 12190411"/>
              <a:gd name="connsiteY400" fmla="*/ 895075 h 6858000"/>
              <a:gd name="connsiteX401" fmla="*/ 10907155 w 12190411"/>
              <a:gd name="connsiteY401" fmla="*/ 895075 h 6858000"/>
              <a:gd name="connsiteX402" fmla="*/ 10908623 w 12190411"/>
              <a:gd name="connsiteY402" fmla="*/ 893608 h 6858000"/>
              <a:gd name="connsiteX403" fmla="*/ 10908174 w 12190411"/>
              <a:gd name="connsiteY403" fmla="*/ 880075 h 6858000"/>
              <a:gd name="connsiteX404" fmla="*/ 10899204 w 12190411"/>
              <a:gd name="connsiteY404" fmla="*/ 858227 h 6858000"/>
              <a:gd name="connsiteX405" fmla="*/ 10876982 w 12190411"/>
              <a:gd name="connsiteY405" fmla="*/ 850808 h 6858000"/>
              <a:gd name="connsiteX406" fmla="*/ 10759409 w 12190411"/>
              <a:gd name="connsiteY406" fmla="*/ 850808 h 6858000"/>
              <a:gd name="connsiteX407" fmla="*/ 10740546 w 12190411"/>
              <a:gd name="connsiteY407" fmla="*/ 858641 h 6858000"/>
              <a:gd name="connsiteX408" fmla="*/ 10740015 w 12190411"/>
              <a:gd name="connsiteY408" fmla="*/ 858764 h 6858000"/>
              <a:gd name="connsiteX409" fmla="*/ 10739811 w 12190411"/>
              <a:gd name="connsiteY409" fmla="*/ 858315 h 6858000"/>
              <a:gd name="connsiteX410" fmla="*/ 10739811 w 12190411"/>
              <a:gd name="connsiteY410" fmla="*/ 853338 h 6858000"/>
              <a:gd name="connsiteX411" fmla="*/ 10738341 w 12190411"/>
              <a:gd name="connsiteY411" fmla="*/ 851869 h 6858000"/>
              <a:gd name="connsiteX412" fmla="*/ 10727154 w 12190411"/>
              <a:gd name="connsiteY412" fmla="*/ 851869 h 6858000"/>
              <a:gd name="connsiteX413" fmla="*/ 10725643 w 12190411"/>
              <a:gd name="connsiteY413" fmla="*/ 853338 h 6858000"/>
              <a:gd name="connsiteX414" fmla="*/ 10725643 w 12190411"/>
              <a:gd name="connsiteY414" fmla="*/ 925343 h 6858000"/>
              <a:gd name="connsiteX415" fmla="*/ 10727154 w 12190411"/>
              <a:gd name="connsiteY415" fmla="*/ 926812 h 6858000"/>
              <a:gd name="connsiteX416" fmla="*/ 10738341 w 12190411"/>
              <a:gd name="connsiteY416" fmla="*/ 926812 h 6858000"/>
              <a:gd name="connsiteX417" fmla="*/ 10739811 w 12190411"/>
              <a:gd name="connsiteY417" fmla="*/ 925343 h 6858000"/>
              <a:gd name="connsiteX418" fmla="*/ 10739811 w 12190411"/>
              <a:gd name="connsiteY418" fmla="*/ 878794 h 6858000"/>
              <a:gd name="connsiteX419" fmla="*/ 10743853 w 12190411"/>
              <a:gd name="connsiteY419" fmla="*/ 867331 h 6858000"/>
              <a:gd name="connsiteX420" fmla="*/ 10754714 w 12190411"/>
              <a:gd name="connsiteY420" fmla="*/ 863047 h 6858000"/>
              <a:gd name="connsiteX421" fmla="*/ 10765534 w 12190411"/>
              <a:gd name="connsiteY421" fmla="*/ 867371 h 6858000"/>
              <a:gd name="connsiteX422" fmla="*/ 10769576 w 12190411"/>
              <a:gd name="connsiteY422" fmla="*/ 879080 h 6858000"/>
              <a:gd name="connsiteX423" fmla="*/ 10769576 w 12190411"/>
              <a:gd name="connsiteY423" fmla="*/ 925343 h 6858000"/>
              <a:gd name="connsiteX424" fmla="*/ 10771046 w 12190411"/>
              <a:gd name="connsiteY424" fmla="*/ 926812 h 6858000"/>
              <a:gd name="connsiteX425" fmla="*/ 10782110 w 12190411"/>
              <a:gd name="connsiteY425" fmla="*/ 926812 h 6858000"/>
              <a:gd name="connsiteX426" fmla="*/ 10783580 w 12190411"/>
              <a:gd name="connsiteY426" fmla="*/ 925343 h 6858000"/>
              <a:gd name="connsiteX427" fmla="*/ 10783580 w 12190411"/>
              <a:gd name="connsiteY427" fmla="*/ 878794 h 6858000"/>
              <a:gd name="connsiteX428" fmla="*/ 10787867 w 12190411"/>
              <a:gd name="connsiteY428" fmla="*/ 867331 h 6858000"/>
              <a:gd name="connsiteX429" fmla="*/ 10798891 w 12190411"/>
              <a:gd name="connsiteY429" fmla="*/ 863047 h 6858000"/>
              <a:gd name="connsiteX430" fmla="*/ 10809752 w 12190411"/>
              <a:gd name="connsiteY430" fmla="*/ 867371 h 6858000"/>
              <a:gd name="connsiteX431" fmla="*/ 10813794 w 12190411"/>
              <a:gd name="connsiteY431" fmla="*/ 879080 h 6858000"/>
              <a:gd name="connsiteX432" fmla="*/ 10813794 w 12190411"/>
              <a:gd name="connsiteY432" fmla="*/ 925343 h 6858000"/>
              <a:gd name="connsiteX433" fmla="*/ 10815264 w 12190411"/>
              <a:gd name="connsiteY433" fmla="*/ 926812 h 6858000"/>
              <a:gd name="connsiteX434" fmla="*/ 10826328 w 12190411"/>
              <a:gd name="connsiteY434" fmla="*/ 926812 h 6858000"/>
              <a:gd name="connsiteX435" fmla="*/ 10827798 w 12190411"/>
              <a:gd name="connsiteY435" fmla="*/ 925343 h 6858000"/>
              <a:gd name="connsiteX436" fmla="*/ 10827798 w 12190411"/>
              <a:gd name="connsiteY436" fmla="*/ 876143 h 6858000"/>
              <a:gd name="connsiteX437" fmla="*/ 10821306 w 12190411"/>
              <a:gd name="connsiteY437" fmla="*/ 857540 h 6858000"/>
              <a:gd name="connsiteX438" fmla="*/ 10803627 w 12190411"/>
              <a:gd name="connsiteY438" fmla="*/ 850808 h 6858000"/>
              <a:gd name="connsiteX439" fmla="*/ 10790725 w 12190411"/>
              <a:gd name="connsiteY439" fmla="*/ 853623 h 6858000"/>
              <a:gd name="connsiteX440" fmla="*/ 10781375 w 12190411"/>
              <a:gd name="connsiteY440" fmla="*/ 862150 h 6858000"/>
              <a:gd name="connsiteX441" fmla="*/ 10780477 w 12190411"/>
              <a:gd name="connsiteY441" fmla="*/ 862150 h 6858000"/>
              <a:gd name="connsiteX442" fmla="*/ 10772230 w 12190411"/>
              <a:gd name="connsiteY442" fmla="*/ 853705 h 6858000"/>
              <a:gd name="connsiteX443" fmla="*/ 10759409 w 12190411"/>
              <a:gd name="connsiteY443" fmla="*/ 850808 h 6858000"/>
              <a:gd name="connsiteX444" fmla="*/ 10594919 w 12190411"/>
              <a:gd name="connsiteY444" fmla="*/ 850808 h 6858000"/>
              <a:gd name="connsiteX445" fmla="*/ 10575563 w 12190411"/>
              <a:gd name="connsiteY445" fmla="*/ 856678 h 6858000"/>
              <a:gd name="connsiteX446" fmla="*/ 10564923 w 12190411"/>
              <a:gd name="connsiteY446" fmla="*/ 872738 h 6858000"/>
              <a:gd name="connsiteX447" fmla="*/ 10563286 w 12190411"/>
              <a:gd name="connsiteY447" fmla="*/ 889043 h 6858000"/>
              <a:gd name="connsiteX448" fmla="*/ 10566846 w 12190411"/>
              <a:gd name="connsiteY448" fmla="*/ 910076 h 6858000"/>
              <a:gd name="connsiteX449" fmla="*/ 10577936 w 12190411"/>
              <a:gd name="connsiteY449" fmla="*/ 923486 h 6858000"/>
              <a:gd name="connsiteX450" fmla="*/ 10596106 w 12190411"/>
              <a:gd name="connsiteY450" fmla="*/ 928174 h 6858000"/>
              <a:gd name="connsiteX451" fmla="*/ 10613294 w 12190411"/>
              <a:gd name="connsiteY451" fmla="*/ 924342 h 6858000"/>
              <a:gd name="connsiteX452" fmla="*/ 10625039 w 12190411"/>
              <a:gd name="connsiteY452" fmla="*/ 913907 h 6858000"/>
              <a:gd name="connsiteX453" fmla="*/ 10624589 w 12190411"/>
              <a:gd name="connsiteY453" fmla="*/ 911991 h 6858000"/>
              <a:gd name="connsiteX454" fmla="*/ 10616200 w 12190411"/>
              <a:gd name="connsiteY454" fmla="*/ 906407 h 6858000"/>
              <a:gd name="connsiteX455" fmla="*/ 10614276 w 12190411"/>
              <a:gd name="connsiteY455" fmla="*/ 906855 h 6858000"/>
              <a:gd name="connsiteX456" fmla="*/ 10597416 w 12190411"/>
              <a:gd name="connsiteY456" fmla="*/ 915823 h 6858000"/>
              <a:gd name="connsiteX457" fmla="*/ 10584934 w 12190411"/>
              <a:gd name="connsiteY457" fmla="*/ 912521 h 6858000"/>
              <a:gd name="connsiteX458" fmla="*/ 10578386 w 12190411"/>
              <a:gd name="connsiteY458" fmla="*/ 903309 h 6858000"/>
              <a:gd name="connsiteX459" fmla="*/ 10577486 w 12190411"/>
              <a:gd name="connsiteY459" fmla="*/ 895687 h 6858000"/>
              <a:gd name="connsiteX460" fmla="*/ 10578059 w 12190411"/>
              <a:gd name="connsiteY460" fmla="*/ 895075 h 6858000"/>
              <a:gd name="connsiteX461" fmla="*/ 10625203 w 12190411"/>
              <a:gd name="connsiteY461" fmla="*/ 895075 h 6858000"/>
              <a:gd name="connsiteX462" fmla="*/ 10626676 w 12190411"/>
              <a:gd name="connsiteY462" fmla="*/ 893608 h 6858000"/>
              <a:gd name="connsiteX463" fmla="*/ 10626226 w 12190411"/>
              <a:gd name="connsiteY463" fmla="*/ 880075 h 6858000"/>
              <a:gd name="connsiteX464" fmla="*/ 10617223 w 12190411"/>
              <a:gd name="connsiteY464" fmla="*/ 858227 h 6858000"/>
              <a:gd name="connsiteX465" fmla="*/ 10594919 w 12190411"/>
              <a:gd name="connsiteY465" fmla="*/ 850808 h 6858000"/>
              <a:gd name="connsiteX466" fmla="*/ 10519109 w 12190411"/>
              <a:gd name="connsiteY466" fmla="*/ 850808 h 6858000"/>
              <a:gd name="connsiteX467" fmla="*/ 10500379 w 12190411"/>
              <a:gd name="connsiteY467" fmla="*/ 858927 h 6858000"/>
              <a:gd name="connsiteX468" fmla="*/ 10500053 w 12190411"/>
              <a:gd name="connsiteY468" fmla="*/ 859049 h 6858000"/>
              <a:gd name="connsiteX469" fmla="*/ 10499808 w 12190411"/>
              <a:gd name="connsiteY469" fmla="*/ 858641 h 6858000"/>
              <a:gd name="connsiteX470" fmla="*/ 10499808 w 12190411"/>
              <a:gd name="connsiteY470" fmla="*/ 853338 h 6858000"/>
              <a:gd name="connsiteX471" fmla="*/ 10498339 w 12190411"/>
              <a:gd name="connsiteY471" fmla="*/ 851869 h 6858000"/>
              <a:gd name="connsiteX472" fmla="*/ 10487158 w 12190411"/>
              <a:gd name="connsiteY472" fmla="*/ 851869 h 6858000"/>
              <a:gd name="connsiteX473" fmla="*/ 10485648 w 12190411"/>
              <a:gd name="connsiteY473" fmla="*/ 853338 h 6858000"/>
              <a:gd name="connsiteX474" fmla="*/ 10485648 w 12190411"/>
              <a:gd name="connsiteY474" fmla="*/ 925343 h 6858000"/>
              <a:gd name="connsiteX475" fmla="*/ 10487158 w 12190411"/>
              <a:gd name="connsiteY475" fmla="*/ 926812 h 6858000"/>
              <a:gd name="connsiteX476" fmla="*/ 10498339 w 12190411"/>
              <a:gd name="connsiteY476" fmla="*/ 926812 h 6858000"/>
              <a:gd name="connsiteX477" fmla="*/ 10499808 w 12190411"/>
              <a:gd name="connsiteY477" fmla="*/ 925343 h 6858000"/>
              <a:gd name="connsiteX478" fmla="*/ 10499808 w 12190411"/>
              <a:gd name="connsiteY478" fmla="*/ 879406 h 6858000"/>
              <a:gd name="connsiteX479" fmla="*/ 10504215 w 12190411"/>
              <a:gd name="connsiteY479" fmla="*/ 867616 h 6858000"/>
              <a:gd name="connsiteX480" fmla="*/ 10515559 w 12190411"/>
              <a:gd name="connsiteY480" fmla="*/ 863047 h 6858000"/>
              <a:gd name="connsiteX481" fmla="*/ 10526903 w 12190411"/>
              <a:gd name="connsiteY481" fmla="*/ 867616 h 6858000"/>
              <a:gd name="connsiteX482" fmla="*/ 10531188 w 12190411"/>
              <a:gd name="connsiteY482" fmla="*/ 879529 h 6858000"/>
              <a:gd name="connsiteX483" fmla="*/ 10531188 w 12190411"/>
              <a:gd name="connsiteY483" fmla="*/ 925343 h 6858000"/>
              <a:gd name="connsiteX484" fmla="*/ 10532657 w 12190411"/>
              <a:gd name="connsiteY484" fmla="*/ 926812 h 6858000"/>
              <a:gd name="connsiteX485" fmla="*/ 10543837 w 12190411"/>
              <a:gd name="connsiteY485" fmla="*/ 926812 h 6858000"/>
              <a:gd name="connsiteX486" fmla="*/ 10545307 w 12190411"/>
              <a:gd name="connsiteY486" fmla="*/ 925343 h 6858000"/>
              <a:gd name="connsiteX487" fmla="*/ 10545307 w 12190411"/>
              <a:gd name="connsiteY487" fmla="*/ 876755 h 6858000"/>
              <a:gd name="connsiteX488" fmla="*/ 10538247 w 12190411"/>
              <a:gd name="connsiteY488" fmla="*/ 857825 h 6858000"/>
              <a:gd name="connsiteX489" fmla="*/ 10519109 w 12190411"/>
              <a:gd name="connsiteY489" fmla="*/ 850808 h 6858000"/>
              <a:gd name="connsiteX490" fmla="*/ 10380102 w 12190411"/>
              <a:gd name="connsiteY490" fmla="*/ 850808 h 6858000"/>
              <a:gd name="connsiteX491" fmla="*/ 10360816 w 12190411"/>
              <a:gd name="connsiteY491" fmla="*/ 856678 h 6858000"/>
              <a:gd name="connsiteX492" fmla="*/ 10350215 w 12190411"/>
              <a:gd name="connsiteY492" fmla="*/ 872738 h 6858000"/>
              <a:gd name="connsiteX493" fmla="*/ 10348625 w 12190411"/>
              <a:gd name="connsiteY493" fmla="*/ 889043 h 6858000"/>
              <a:gd name="connsiteX494" fmla="*/ 10352131 w 12190411"/>
              <a:gd name="connsiteY494" fmla="*/ 910076 h 6858000"/>
              <a:gd name="connsiteX495" fmla="*/ 10363181 w 12190411"/>
              <a:gd name="connsiteY495" fmla="*/ 923486 h 6858000"/>
              <a:gd name="connsiteX496" fmla="*/ 10381284 w 12190411"/>
              <a:gd name="connsiteY496" fmla="*/ 928174 h 6858000"/>
              <a:gd name="connsiteX497" fmla="*/ 10398409 w 12190411"/>
              <a:gd name="connsiteY497" fmla="*/ 924342 h 6858000"/>
              <a:gd name="connsiteX498" fmla="*/ 10410112 w 12190411"/>
              <a:gd name="connsiteY498" fmla="*/ 913907 h 6858000"/>
              <a:gd name="connsiteX499" fmla="*/ 10409663 w 12190411"/>
              <a:gd name="connsiteY499" fmla="*/ 911991 h 6858000"/>
              <a:gd name="connsiteX500" fmla="*/ 10401305 w 12190411"/>
              <a:gd name="connsiteY500" fmla="*/ 906407 h 6858000"/>
              <a:gd name="connsiteX501" fmla="*/ 10399388 w 12190411"/>
              <a:gd name="connsiteY501" fmla="*/ 906855 h 6858000"/>
              <a:gd name="connsiteX502" fmla="*/ 10382589 w 12190411"/>
              <a:gd name="connsiteY502" fmla="*/ 915823 h 6858000"/>
              <a:gd name="connsiteX503" fmla="*/ 10370153 w 12190411"/>
              <a:gd name="connsiteY503" fmla="*/ 912521 h 6858000"/>
              <a:gd name="connsiteX504" fmla="*/ 10363629 w 12190411"/>
              <a:gd name="connsiteY504" fmla="*/ 903309 h 6858000"/>
              <a:gd name="connsiteX505" fmla="*/ 10362732 w 12190411"/>
              <a:gd name="connsiteY505" fmla="*/ 895687 h 6858000"/>
              <a:gd name="connsiteX506" fmla="*/ 10363303 w 12190411"/>
              <a:gd name="connsiteY506" fmla="*/ 895075 h 6858000"/>
              <a:gd name="connsiteX507" fmla="*/ 10410275 w 12190411"/>
              <a:gd name="connsiteY507" fmla="*/ 895075 h 6858000"/>
              <a:gd name="connsiteX508" fmla="*/ 10411743 w 12190411"/>
              <a:gd name="connsiteY508" fmla="*/ 893608 h 6858000"/>
              <a:gd name="connsiteX509" fmla="*/ 10411294 w 12190411"/>
              <a:gd name="connsiteY509" fmla="*/ 880075 h 6858000"/>
              <a:gd name="connsiteX510" fmla="*/ 10402324 w 12190411"/>
              <a:gd name="connsiteY510" fmla="*/ 858227 h 6858000"/>
              <a:gd name="connsiteX511" fmla="*/ 10380102 w 12190411"/>
              <a:gd name="connsiteY511" fmla="*/ 850808 h 6858000"/>
              <a:gd name="connsiteX512" fmla="*/ 10249965 w 12190411"/>
              <a:gd name="connsiteY512" fmla="*/ 850808 h 6858000"/>
              <a:gd name="connsiteX513" fmla="*/ 10231235 w 12190411"/>
              <a:gd name="connsiteY513" fmla="*/ 858927 h 6858000"/>
              <a:gd name="connsiteX514" fmla="*/ 10230868 w 12190411"/>
              <a:gd name="connsiteY514" fmla="*/ 859049 h 6858000"/>
              <a:gd name="connsiteX515" fmla="*/ 10230664 w 12190411"/>
              <a:gd name="connsiteY515" fmla="*/ 858641 h 6858000"/>
              <a:gd name="connsiteX516" fmla="*/ 10230664 w 12190411"/>
              <a:gd name="connsiteY516" fmla="*/ 853338 h 6858000"/>
              <a:gd name="connsiteX517" fmla="*/ 10229195 w 12190411"/>
              <a:gd name="connsiteY517" fmla="*/ 851869 h 6858000"/>
              <a:gd name="connsiteX518" fmla="*/ 10217973 w 12190411"/>
              <a:gd name="connsiteY518" fmla="*/ 851869 h 6858000"/>
              <a:gd name="connsiteX519" fmla="*/ 10216504 w 12190411"/>
              <a:gd name="connsiteY519" fmla="*/ 853338 h 6858000"/>
              <a:gd name="connsiteX520" fmla="*/ 10216504 w 12190411"/>
              <a:gd name="connsiteY520" fmla="*/ 925343 h 6858000"/>
              <a:gd name="connsiteX521" fmla="*/ 10217973 w 12190411"/>
              <a:gd name="connsiteY521" fmla="*/ 926812 h 6858000"/>
              <a:gd name="connsiteX522" fmla="*/ 10229195 w 12190411"/>
              <a:gd name="connsiteY522" fmla="*/ 926812 h 6858000"/>
              <a:gd name="connsiteX523" fmla="*/ 10230664 w 12190411"/>
              <a:gd name="connsiteY523" fmla="*/ 925343 h 6858000"/>
              <a:gd name="connsiteX524" fmla="*/ 10230664 w 12190411"/>
              <a:gd name="connsiteY524" fmla="*/ 879406 h 6858000"/>
              <a:gd name="connsiteX525" fmla="*/ 10235071 w 12190411"/>
              <a:gd name="connsiteY525" fmla="*/ 867616 h 6858000"/>
              <a:gd name="connsiteX526" fmla="*/ 10246415 w 12190411"/>
              <a:gd name="connsiteY526" fmla="*/ 863047 h 6858000"/>
              <a:gd name="connsiteX527" fmla="*/ 10257759 w 12190411"/>
              <a:gd name="connsiteY527" fmla="*/ 867616 h 6858000"/>
              <a:gd name="connsiteX528" fmla="*/ 10262044 w 12190411"/>
              <a:gd name="connsiteY528" fmla="*/ 879529 h 6858000"/>
              <a:gd name="connsiteX529" fmla="*/ 10262044 w 12190411"/>
              <a:gd name="connsiteY529" fmla="*/ 925343 h 6858000"/>
              <a:gd name="connsiteX530" fmla="*/ 10263513 w 12190411"/>
              <a:gd name="connsiteY530" fmla="*/ 926812 h 6858000"/>
              <a:gd name="connsiteX531" fmla="*/ 10274694 w 12190411"/>
              <a:gd name="connsiteY531" fmla="*/ 926812 h 6858000"/>
              <a:gd name="connsiteX532" fmla="*/ 10276163 w 12190411"/>
              <a:gd name="connsiteY532" fmla="*/ 925343 h 6858000"/>
              <a:gd name="connsiteX533" fmla="*/ 10276163 w 12190411"/>
              <a:gd name="connsiteY533" fmla="*/ 876755 h 6858000"/>
              <a:gd name="connsiteX534" fmla="*/ 10269103 w 12190411"/>
              <a:gd name="connsiteY534" fmla="*/ 857825 h 6858000"/>
              <a:gd name="connsiteX535" fmla="*/ 10249965 w 12190411"/>
              <a:gd name="connsiteY535" fmla="*/ 850808 h 6858000"/>
              <a:gd name="connsiteX536" fmla="*/ 10303994 w 12190411"/>
              <a:gd name="connsiteY536" fmla="*/ 832284 h 6858000"/>
              <a:gd name="connsiteX537" fmla="*/ 10302520 w 12190411"/>
              <a:gd name="connsiteY537" fmla="*/ 833755 h 6858000"/>
              <a:gd name="connsiteX538" fmla="*/ 10302520 w 12190411"/>
              <a:gd name="connsiteY538" fmla="*/ 851154 h 6858000"/>
              <a:gd name="connsiteX539" fmla="*/ 10301946 w 12190411"/>
              <a:gd name="connsiteY539" fmla="*/ 851726 h 6858000"/>
              <a:gd name="connsiteX540" fmla="*/ 10292934 w 12190411"/>
              <a:gd name="connsiteY540" fmla="*/ 851726 h 6858000"/>
              <a:gd name="connsiteX541" fmla="*/ 10291418 w 12190411"/>
              <a:gd name="connsiteY541" fmla="*/ 853237 h 6858000"/>
              <a:gd name="connsiteX542" fmla="*/ 10291418 w 12190411"/>
              <a:gd name="connsiteY542" fmla="*/ 861937 h 6858000"/>
              <a:gd name="connsiteX543" fmla="*/ 10292934 w 12190411"/>
              <a:gd name="connsiteY543" fmla="*/ 863408 h 6858000"/>
              <a:gd name="connsiteX544" fmla="*/ 10301946 w 12190411"/>
              <a:gd name="connsiteY544" fmla="*/ 863408 h 6858000"/>
              <a:gd name="connsiteX545" fmla="*/ 10302520 w 12190411"/>
              <a:gd name="connsiteY545" fmla="*/ 863979 h 6858000"/>
              <a:gd name="connsiteX546" fmla="*/ 10302520 w 12190411"/>
              <a:gd name="connsiteY546" fmla="*/ 908050 h 6858000"/>
              <a:gd name="connsiteX547" fmla="*/ 10308214 w 12190411"/>
              <a:gd name="connsiteY547" fmla="*/ 923040 h 6858000"/>
              <a:gd name="connsiteX548" fmla="*/ 10325174 w 12190411"/>
              <a:gd name="connsiteY548" fmla="*/ 927084 h 6858000"/>
              <a:gd name="connsiteX549" fmla="*/ 10331975 w 12190411"/>
              <a:gd name="connsiteY549" fmla="*/ 926798 h 6858000"/>
              <a:gd name="connsiteX550" fmla="*/ 10333449 w 12190411"/>
              <a:gd name="connsiteY550" fmla="*/ 925328 h 6858000"/>
              <a:gd name="connsiteX551" fmla="*/ 10333449 w 12190411"/>
              <a:gd name="connsiteY551" fmla="*/ 916178 h 6858000"/>
              <a:gd name="connsiteX552" fmla="*/ 10331975 w 12190411"/>
              <a:gd name="connsiteY552" fmla="*/ 914708 h 6858000"/>
              <a:gd name="connsiteX553" fmla="*/ 10327673 w 12190411"/>
              <a:gd name="connsiteY553" fmla="*/ 914708 h 6858000"/>
              <a:gd name="connsiteX554" fmla="*/ 10318947 w 12190411"/>
              <a:gd name="connsiteY554" fmla="*/ 911971 h 6858000"/>
              <a:gd name="connsiteX555" fmla="*/ 10316120 w 12190411"/>
              <a:gd name="connsiteY555" fmla="*/ 903067 h 6858000"/>
              <a:gd name="connsiteX556" fmla="*/ 10316120 w 12190411"/>
              <a:gd name="connsiteY556" fmla="*/ 863979 h 6858000"/>
              <a:gd name="connsiteX557" fmla="*/ 10316735 w 12190411"/>
              <a:gd name="connsiteY557" fmla="*/ 863408 h 6858000"/>
              <a:gd name="connsiteX558" fmla="*/ 10332712 w 12190411"/>
              <a:gd name="connsiteY558" fmla="*/ 863408 h 6858000"/>
              <a:gd name="connsiteX559" fmla="*/ 10334187 w 12190411"/>
              <a:gd name="connsiteY559" fmla="*/ 861937 h 6858000"/>
              <a:gd name="connsiteX560" fmla="*/ 10334187 w 12190411"/>
              <a:gd name="connsiteY560" fmla="*/ 853237 h 6858000"/>
              <a:gd name="connsiteX561" fmla="*/ 10332712 w 12190411"/>
              <a:gd name="connsiteY561" fmla="*/ 851726 h 6858000"/>
              <a:gd name="connsiteX562" fmla="*/ 10316735 w 12190411"/>
              <a:gd name="connsiteY562" fmla="*/ 851726 h 6858000"/>
              <a:gd name="connsiteX563" fmla="*/ 10316120 w 12190411"/>
              <a:gd name="connsiteY563" fmla="*/ 851154 h 6858000"/>
              <a:gd name="connsiteX564" fmla="*/ 10316120 w 12190411"/>
              <a:gd name="connsiteY564" fmla="*/ 833755 h 6858000"/>
              <a:gd name="connsiteX565" fmla="*/ 10314646 w 12190411"/>
              <a:gd name="connsiteY565" fmla="*/ 832284 h 6858000"/>
              <a:gd name="connsiteX566" fmla="*/ 10303994 w 12190411"/>
              <a:gd name="connsiteY566" fmla="*/ 832284 h 6858000"/>
              <a:gd name="connsiteX567" fmla="*/ 10646751 w 12190411"/>
              <a:gd name="connsiteY567" fmla="*/ 823839 h 6858000"/>
              <a:gd name="connsiteX568" fmla="*/ 10645282 w 12190411"/>
              <a:gd name="connsiteY568" fmla="*/ 825306 h 6858000"/>
              <a:gd name="connsiteX569" fmla="*/ 10645282 w 12190411"/>
              <a:gd name="connsiteY569" fmla="*/ 925344 h 6858000"/>
              <a:gd name="connsiteX570" fmla="*/ 10646751 w 12190411"/>
              <a:gd name="connsiteY570" fmla="*/ 926811 h 6858000"/>
              <a:gd name="connsiteX571" fmla="*/ 10657932 w 12190411"/>
              <a:gd name="connsiteY571" fmla="*/ 926811 h 6858000"/>
              <a:gd name="connsiteX572" fmla="*/ 10659401 w 12190411"/>
              <a:gd name="connsiteY572" fmla="*/ 925344 h 6858000"/>
              <a:gd name="connsiteX573" fmla="*/ 10659401 w 12190411"/>
              <a:gd name="connsiteY573" fmla="*/ 879461 h 6858000"/>
              <a:gd name="connsiteX574" fmla="*/ 10663848 w 12190411"/>
              <a:gd name="connsiteY574" fmla="*/ 867685 h 6858000"/>
              <a:gd name="connsiteX575" fmla="*/ 10675193 w 12190411"/>
              <a:gd name="connsiteY575" fmla="*/ 863121 h 6858000"/>
              <a:gd name="connsiteX576" fmla="*/ 10686537 w 12190411"/>
              <a:gd name="connsiteY576" fmla="*/ 867685 h 6858000"/>
              <a:gd name="connsiteX577" fmla="*/ 10690781 w 12190411"/>
              <a:gd name="connsiteY577" fmla="*/ 879584 h 6858000"/>
              <a:gd name="connsiteX578" fmla="*/ 10690781 w 12190411"/>
              <a:gd name="connsiteY578" fmla="*/ 925344 h 6858000"/>
              <a:gd name="connsiteX579" fmla="*/ 10692250 w 12190411"/>
              <a:gd name="connsiteY579" fmla="*/ 926811 h 6858000"/>
              <a:gd name="connsiteX580" fmla="*/ 10703471 w 12190411"/>
              <a:gd name="connsiteY580" fmla="*/ 926811 h 6858000"/>
              <a:gd name="connsiteX581" fmla="*/ 10704940 w 12190411"/>
              <a:gd name="connsiteY581" fmla="*/ 925344 h 6858000"/>
              <a:gd name="connsiteX582" fmla="*/ 10704940 w 12190411"/>
              <a:gd name="connsiteY582" fmla="*/ 876813 h 6858000"/>
              <a:gd name="connsiteX583" fmla="*/ 10697881 w 12190411"/>
              <a:gd name="connsiteY583" fmla="*/ 857905 h 6858000"/>
              <a:gd name="connsiteX584" fmla="*/ 10678702 w 12190411"/>
              <a:gd name="connsiteY584" fmla="*/ 850896 h 6858000"/>
              <a:gd name="connsiteX585" fmla="*/ 10660013 w 12190411"/>
              <a:gd name="connsiteY585" fmla="*/ 859006 h 6858000"/>
              <a:gd name="connsiteX586" fmla="*/ 10659645 w 12190411"/>
              <a:gd name="connsiteY586" fmla="*/ 859128 h 6858000"/>
              <a:gd name="connsiteX587" fmla="*/ 10659401 w 12190411"/>
              <a:gd name="connsiteY587" fmla="*/ 858720 h 6858000"/>
              <a:gd name="connsiteX588" fmla="*/ 10659401 w 12190411"/>
              <a:gd name="connsiteY588" fmla="*/ 825306 h 6858000"/>
              <a:gd name="connsiteX589" fmla="*/ 10657932 w 12190411"/>
              <a:gd name="connsiteY589" fmla="*/ 823839 h 6858000"/>
              <a:gd name="connsiteX590" fmla="*/ 10646751 w 12190411"/>
              <a:gd name="connsiteY590" fmla="*/ 823839 h 6858000"/>
              <a:gd name="connsiteX591" fmla="*/ 11478319 w 12190411"/>
              <a:gd name="connsiteY591" fmla="*/ 821115 h 6858000"/>
              <a:gd name="connsiteX592" fmla="*/ 11471467 w 12190411"/>
              <a:gd name="connsiteY592" fmla="*/ 823798 h 6858000"/>
              <a:gd name="connsiteX593" fmla="*/ 11468784 w 12190411"/>
              <a:gd name="connsiteY593" fmla="*/ 830650 h 6858000"/>
              <a:gd name="connsiteX594" fmla="*/ 11471467 w 12190411"/>
              <a:gd name="connsiteY594" fmla="*/ 837501 h 6858000"/>
              <a:gd name="connsiteX595" fmla="*/ 11478319 w 12190411"/>
              <a:gd name="connsiteY595" fmla="*/ 840184 h 6858000"/>
              <a:gd name="connsiteX596" fmla="*/ 11485212 w 12190411"/>
              <a:gd name="connsiteY596" fmla="*/ 837501 h 6858000"/>
              <a:gd name="connsiteX597" fmla="*/ 11487853 w 12190411"/>
              <a:gd name="connsiteY597" fmla="*/ 830650 h 6858000"/>
              <a:gd name="connsiteX598" fmla="*/ 11485212 w 12190411"/>
              <a:gd name="connsiteY598" fmla="*/ 823798 h 6858000"/>
              <a:gd name="connsiteX599" fmla="*/ 11478319 w 12190411"/>
              <a:gd name="connsiteY599" fmla="*/ 821115 h 6858000"/>
              <a:gd name="connsiteX600" fmla="*/ 9630163 w 12190411"/>
              <a:gd name="connsiteY600" fmla="*/ 615716 h 6858000"/>
              <a:gd name="connsiteX601" fmla="*/ 9667927 w 12190411"/>
              <a:gd name="connsiteY601" fmla="*/ 615716 h 6858000"/>
              <a:gd name="connsiteX602" fmla="*/ 9672769 w 12190411"/>
              <a:gd name="connsiteY602" fmla="*/ 620168 h 6858000"/>
              <a:gd name="connsiteX603" fmla="*/ 9672769 w 12190411"/>
              <a:gd name="connsiteY603" fmla="*/ 716582 h 6858000"/>
              <a:gd name="connsiteX604" fmla="*/ 9665974 w 12190411"/>
              <a:gd name="connsiteY604" fmla="*/ 723238 h 6858000"/>
              <a:gd name="connsiteX605" fmla="*/ 9645016 w 12190411"/>
              <a:gd name="connsiteY605" fmla="*/ 722993 h 6858000"/>
              <a:gd name="connsiteX606" fmla="*/ 9630163 w 12190411"/>
              <a:gd name="connsiteY606" fmla="*/ 722993 h 6858000"/>
              <a:gd name="connsiteX607" fmla="*/ 9612095 w 12190411"/>
              <a:gd name="connsiteY607" fmla="*/ 717725 h 6858000"/>
              <a:gd name="connsiteX608" fmla="*/ 9606846 w 12190411"/>
              <a:gd name="connsiteY608" fmla="*/ 699594 h 6858000"/>
              <a:gd name="connsiteX609" fmla="*/ 9606846 w 12190411"/>
              <a:gd name="connsiteY609" fmla="*/ 639524 h 6858000"/>
              <a:gd name="connsiteX610" fmla="*/ 9612095 w 12190411"/>
              <a:gd name="connsiteY610" fmla="*/ 621148 h 6858000"/>
              <a:gd name="connsiteX611" fmla="*/ 9630163 w 12190411"/>
              <a:gd name="connsiteY611" fmla="*/ 615716 h 6858000"/>
              <a:gd name="connsiteX612" fmla="*/ 10565693 w 12190411"/>
              <a:gd name="connsiteY612" fmla="*/ 598282 h 6858000"/>
              <a:gd name="connsiteX613" fmla="*/ 10593840 w 12190411"/>
              <a:gd name="connsiteY613" fmla="*/ 598282 h 6858000"/>
              <a:gd name="connsiteX614" fmla="*/ 10627575 w 12190411"/>
              <a:gd name="connsiteY614" fmla="*/ 632833 h 6858000"/>
              <a:gd name="connsiteX615" fmla="*/ 10627575 w 12190411"/>
              <a:gd name="connsiteY615" fmla="*/ 717331 h 6858000"/>
              <a:gd name="connsiteX616" fmla="*/ 10593840 w 12190411"/>
              <a:gd name="connsiteY616" fmla="*/ 751922 h 6858000"/>
              <a:gd name="connsiteX617" fmla="*/ 10565693 w 12190411"/>
              <a:gd name="connsiteY617" fmla="*/ 751922 h 6858000"/>
              <a:gd name="connsiteX618" fmla="*/ 10531958 w 12190411"/>
              <a:gd name="connsiteY618" fmla="*/ 717331 h 6858000"/>
              <a:gd name="connsiteX619" fmla="*/ 10531958 w 12190411"/>
              <a:gd name="connsiteY619" fmla="*/ 632833 h 6858000"/>
              <a:gd name="connsiteX620" fmla="*/ 10565693 w 12190411"/>
              <a:gd name="connsiteY620" fmla="*/ 598282 h 6858000"/>
              <a:gd name="connsiteX621" fmla="*/ 11163849 w 12190411"/>
              <a:gd name="connsiteY621" fmla="*/ 598009 h 6858000"/>
              <a:gd name="connsiteX622" fmla="*/ 11220157 w 12190411"/>
              <a:gd name="connsiteY622" fmla="*/ 598009 h 6858000"/>
              <a:gd name="connsiteX623" fmla="*/ 11224158 w 12190411"/>
              <a:gd name="connsiteY623" fmla="*/ 601650 h 6858000"/>
              <a:gd name="connsiteX624" fmla="*/ 11224158 w 12190411"/>
              <a:gd name="connsiteY624" fmla="*/ 714866 h 6858000"/>
              <a:gd name="connsiteX625" fmla="*/ 11214522 w 12190411"/>
              <a:gd name="connsiteY625" fmla="*/ 742270 h 6858000"/>
              <a:gd name="connsiteX626" fmla="*/ 11186756 w 12190411"/>
              <a:gd name="connsiteY626" fmla="*/ 751922 h 6858000"/>
              <a:gd name="connsiteX627" fmla="*/ 11163849 w 12190411"/>
              <a:gd name="connsiteY627" fmla="*/ 751922 h 6858000"/>
              <a:gd name="connsiteX628" fmla="*/ 11130448 w 12190411"/>
              <a:gd name="connsiteY628" fmla="*/ 716870 h 6858000"/>
              <a:gd name="connsiteX629" fmla="*/ 11130448 w 12190411"/>
              <a:gd name="connsiteY629" fmla="*/ 633062 h 6858000"/>
              <a:gd name="connsiteX630" fmla="*/ 11163849 w 12190411"/>
              <a:gd name="connsiteY630" fmla="*/ 598009 h 6858000"/>
              <a:gd name="connsiteX631" fmla="*/ 11617220 w 12190411"/>
              <a:gd name="connsiteY631" fmla="*/ 572403 h 6858000"/>
              <a:gd name="connsiteX632" fmla="*/ 11607585 w 12190411"/>
              <a:gd name="connsiteY632" fmla="*/ 577630 h 6858000"/>
              <a:gd name="connsiteX633" fmla="*/ 11550466 w 12190411"/>
              <a:gd name="connsiteY633" fmla="*/ 667717 h 6858000"/>
              <a:gd name="connsiteX634" fmla="*/ 11550466 w 12190411"/>
              <a:gd name="connsiteY634" fmla="*/ 676171 h 6858000"/>
              <a:gd name="connsiteX635" fmla="*/ 11612403 w 12190411"/>
              <a:gd name="connsiteY635" fmla="*/ 771894 h 6858000"/>
              <a:gd name="connsiteX636" fmla="*/ 11623671 w 12190411"/>
              <a:gd name="connsiteY636" fmla="*/ 777529 h 6858000"/>
              <a:gd name="connsiteX637" fmla="*/ 11642534 w 12190411"/>
              <a:gd name="connsiteY637" fmla="*/ 777529 h 6858000"/>
              <a:gd name="connsiteX638" fmla="*/ 11646984 w 12190411"/>
              <a:gd name="connsiteY638" fmla="*/ 775732 h 6858000"/>
              <a:gd name="connsiteX639" fmla="*/ 11646576 w 12190411"/>
              <a:gd name="connsiteY639" fmla="*/ 771118 h 6858000"/>
              <a:gd name="connsiteX640" fmla="*/ 11581414 w 12190411"/>
              <a:gd name="connsiteY640" fmla="*/ 672169 h 6858000"/>
              <a:gd name="connsiteX641" fmla="*/ 11581414 w 12190411"/>
              <a:gd name="connsiteY641" fmla="*/ 670535 h 6858000"/>
              <a:gd name="connsiteX642" fmla="*/ 11640533 w 12190411"/>
              <a:gd name="connsiteY642" fmla="*/ 578855 h 6858000"/>
              <a:gd name="connsiteX643" fmla="*/ 11641554 w 12190411"/>
              <a:gd name="connsiteY643" fmla="*/ 574200 h 6858000"/>
              <a:gd name="connsiteX644" fmla="*/ 11637308 w 12190411"/>
              <a:gd name="connsiteY644" fmla="*/ 572403 h 6858000"/>
              <a:gd name="connsiteX645" fmla="*/ 11617220 w 12190411"/>
              <a:gd name="connsiteY645" fmla="*/ 572403 h 6858000"/>
              <a:gd name="connsiteX646" fmla="*/ 11438881 w 12190411"/>
              <a:gd name="connsiteY646" fmla="*/ 572403 h 6858000"/>
              <a:gd name="connsiteX647" fmla="*/ 11433643 w 12190411"/>
              <a:gd name="connsiteY647" fmla="*/ 578038 h 6858000"/>
              <a:gd name="connsiteX648" fmla="*/ 11433643 w 12190411"/>
              <a:gd name="connsiteY648" fmla="*/ 771935 h 6858000"/>
              <a:gd name="connsiteX649" fmla="*/ 11439290 w 12190411"/>
              <a:gd name="connsiteY649" fmla="*/ 777529 h 6858000"/>
              <a:gd name="connsiteX650" fmla="*/ 11457458 w 12190411"/>
              <a:gd name="connsiteY650" fmla="*/ 777529 h 6858000"/>
              <a:gd name="connsiteX651" fmla="*/ 11463064 w 12190411"/>
              <a:gd name="connsiteY651" fmla="*/ 771935 h 6858000"/>
              <a:gd name="connsiteX652" fmla="*/ 11463064 w 12190411"/>
              <a:gd name="connsiteY652" fmla="*/ 578038 h 6858000"/>
              <a:gd name="connsiteX653" fmla="*/ 11457458 w 12190411"/>
              <a:gd name="connsiteY653" fmla="*/ 572403 h 6858000"/>
              <a:gd name="connsiteX654" fmla="*/ 11438881 w 12190411"/>
              <a:gd name="connsiteY654" fmla="*/ 572403 h 6858000"/>
              <a:gd name="connsiteX655" fmla="*/ 11160610 w 12190411"/>
              <a:gd name="connsiteY655" fmla="*/ 572403 h 6858000"/>
              <a:gd name="connsiteX656" fmla="*/ 11116965 w 12190411"/>
              <a:gd name="connsiteY656" fmla="*/ 588084 h 6858000"/>
              <a:gd name="connsiteX657" fmla="*/ 11101028 w 12190411"/>
              <a:gd name="connsiteY657" fmla="*/ 631944 h 6858000"/>
              <a:gd name="connsiteX658" fmla="*/ 11101028 w 12190411"/>
              <a:gd name="connsiteY658" fmla="*/ 718029 h 6858000"/>
              <a:gd name="connsiteX659" fmla="*/ 11116965 w 12190411"/>
              <a:gd name="connsiteY659" fmla="*/ 761848 h 6858000"/>
              <a:gd name="connsiteX660" fmla="*/ 11160610 w 12190411"/>
              <a:gd name="connsiteY660" fmla="*/ 777529 h 6858000"/>
              <a:gd name="connsiteX661" fmla="*/ 11181533 w 12190411"/>
              <a:gd name="connsiteY661" fmla="*/ 777529 h 6858000"/>
              <a:gd name="connsiteX662" fmla="*/ 11222603 w 12190411"/>
              <a:gd name="connsiteY662" fmla="*/ 756212 h 6858000"/>
              <a:gd name="connsiteX663" fmla="*/ 11224196 w 12190411"/>
              <a:gd name="connsiteY663" fmla="*/ 756212 h 6858000"/>
              <a:gd name="connsiteX664" fmla="*/ 11224196 w 12190411"/>
              <a:gd name="connsiteY664" fmla="*/ 771935 h 6858000"/>
              <a:gd name="connsiteX665" fmla="*/ 11229836 w 12190411"/>
              <a:gd name="connsiteY665" fmla="*/ 777529 h 6858000"/>
              <a:gd name="connsiteX666" fmla="*/ 11247980 w 12190411"/>
              <a:gd name="connsiteY666" fmla="*/ 777529 h 6858000"/>
              <a:gd name="connsiteX667" fmla="*/ 11253579 w 12190411"/>
              <a:gd name="connsiteY667" fmla="*/ 771935 h 6858000"/>
              <a:gd name="connsiteX668" fmla="*/ 11253579 w 12190411"/>
              <a:gd name="connsiteY668" fmla="*/ 578038 h 6858000"/>
              <a:gd name="connsiteX669" fmla="*/ 11247980 w 12190411"/>
              <a:gd name="connsiteY669" fmla="*/ 572403 h 6858000"/>
              <a:gd name="connsiteX670" fmla="*/ 11160610 w 12190411"/>
              <a:gd name="connsiteY670" fmla="*/ 572403 h 6858000"/>
              <a:gd name="connsiteX671" fmla="*/ 10815177 w 12190411"/>
              <a:gd name="connsiteY671" fmla="*/ 572403 h 6858000"/>
              <a:gd name="connsiteX672" fmla="*/ 10809546 w 12190411"/>
              <a:gd name="connsiteY672" fmla="*/ 578038 h 6858000"/>
              <a:gd name="connsiteX673" fmla="*/ 10809546 w 12190411"/>
              <a:gd name="connsiteY673" fmla="*/ 771894 h 6858000"/>
              <a:gd name="connsiteX674" fmla="*/ 10815177 w 12190411"/>
              <a:gd name="connsiteY674" fmla="*/ 777529 h 6858000"/>
              <a:gd name="connsiteX675" fmla="*/ 10833251 w 12190411"/>
              <a:gd name="connsiteY675" fmla="*/ 777529 h 6858000"/>
              <a:gd name="connsiteX676" fmla="*/ 10838881 w 12190411"/>
              <a:gd name="connsiteY676" fmla="*/ 771894 h 6858000"/>
              <a:gd name="connsiteX677" fmla="*/ 10838881 w 12190411"/>
              <a:gd name="connsiteY677" fmla="*/ 635170 h 6858000"/>
              <a:gd name="connsiteX678" fmla="*/ 10848510 w 12190411"/>
              <a:gd name="connsiteY678" fmla="*/ 607809 h 6858000"/>
              <a:gd name="connsiteX679" fmla="*/ 10876254 w 12190411"/>
              <a:gd name="connsiteY679" fmla="*/ 598171 h 6858000"/>
              <a:gd name="connsiteX680" fmla="*/ 10891105 w 12190411"/>
              <a:gd name="connsiteY680" fmla="*/ 598171 h 6858000"/>
              <a:gd name="connsiteX681" fmla="*/ 10924887 w 12190411"/>
              <a:gd name="connsiteY681" fmla="*/ 633128 h 6858000"/>
              <a:gd name="connsiteX682" fmla="*/ 10924887 w 12190411"/>
              <a:gd name="connsiteY682" fmla="*/ 771894 h 6858000"/>
              <a:gd name="connsiteX683" fmla="*/ 10930517 w 12190411"/>
              <a:gd name="connsiteY683" fmla="*/ 777529 h 6858000"/>
              <a:gd name="connsiteX684" fmla="*/ 10948591 w 12190411"/>
              <a:gd name="connsiteY684" fmla="*/ 777529 h 6858000"/>
              <a:gd name="connsiteX685" fmla="*/ 10954222 w 12190411"/>
              <a:gd name="connsiteY685" fmla="*/ 771894 h 6858000"/>
              <a:gd name="connsiteX686" fmla="*/ 10954222 w 12190411"/>
              <a:gd name="connsiteY686" fmla="*/ 636354 h 6858000"/>
              <a:gd name="connsiteX687" fmla="*/ 10964054 w 12190411"/>
              <a:gd name="connsiteY687" fmla="*/ 608421 h 6858000"/>
              <a:gd name="connsiteX688" fmla="*/ 10992002 w 12190411"/>
              <a:gd name="connsiteY688" fmla="*/ 598171 h 6858000"/>
              <a:gd name="connsiteX689" fmla="*/ 11005262 w 12190411"/>
              <a:gd name="connsiteY689" fmla="*/ 598171 h 6858000"/>
              <a:gd name="connsiteX690" fmla="*/ 11039003 w 12190411"/>
              <a:gd name="connsiteY690" fmla="*/ 633128 h 6858000"/>
              <a:gd name="connsiteX691" fmla="*/ 11039003 w 12190411"/>
              <a:gd name="connsiteY691" fmla="*/ 771894 h 6858000"/>
              <a:gd name="connsiteX692" fmla="*/ 11044634 w 12190411"/>
              <a:gd name="connsiteY692" fmla="*/ 777529 h 6858000"/>
              <a:gd name="connsiteX693" fmla="*/ 11062708 w 12190411"/>
              <a:gd name="connsiteY693" fmla="*/ 777529 h 6858000"/>
              <a:gd name="connsiteX694" fmla="*/ 11068338 w 12190411"/>
              <a:gd name="connsiteY694" fmla="*/ 771894 h 6858000"/>
              <a:gd name="connsiteX695" fmla="*/ 11068338 w 12190411"/>
              <a:gd name="connsiteY695" fmla="*/ 631944 h 6858000"/>
              <a:gd name="connsiteX696" fmla="*/ 11053079 w 12190411"/>
              <a:gd name="connsiteY696" fmla="*/ 588084 h 6858000"/>
              <a:gd name="connsiteX697" fmla="*/ 11010484 w 12190411"/>
              <a:gd name="connsiteY697" fmla="*/ 572403 h 6858000"/>
              <a:gd name="connsiteX698" fmla="*/ 10996408 w 12190411"/>
              <a:gd name="connsiteY698" fmla="*/ 572403 h 6858000"/>
              <a:gd name="connsiteX699" fmla="*/ 10967277 w 12190411"/>
              <a:gd name="connsiteY699" fmla="*/ 579427 h 6858000"/>
              <a:gd name="connsiteX700" fmla="*/ 10947000 w 12190411"/>
              <a:gd name="connsiteY700" fmla="*/ 599764 h 6858000"/>
              <a:gd name="connsiteX701" fmla="*/ 10897959 w 12190411"/>
              <a:gd name="connsiteY701" fmla="*/ 572403 h 6858000"/>
              <a:gd name="connsiteX702" fmla="*/ 10883067 w 12190411"/>
              <a:gd name="connsiteY702" fmla="*/ 572403 h 6858000"/>
              <a:gd name="connsiteX703" fmla="*/ 10840473 w 12190411"/>
              <a:gd name="connsiteY703" fmla="*/ 593720 h 6858000"/>
              <a:gd name="connsiteX704" fmla="*/ 10838881 w 12190411"/>
              <a:gd name="connsiteY704" fmla="*/ 593720 h 6858000"/>
              <a:gd name="connsiteX705" fmla="*/ 10838881 w 12190411"/>
              <a:gd name="connsiteY705" fmla="*/ 578038 h 6858000"/>
              <a:gd name="connsiteX706" fmla="*/ 10833251 w 12190411"/>
              <a:gd name="connsiteY706" fmla="*/ 572403 h 6858000"/>
              <a:gd name="connsiteX707" fmla="*/ 10815177 w 12190411"/>
              <a:gd name="connsiteY707" fmla="*/ 572403 h 6858000"/>
              <a:gd name="connsiteX708" fmla="*/ 10694173 w 12190411"/>
              <a:gd name="connsiteY708" fmla="*/ 572403 h 6858000"/>
              <a:gd name="connsiteX709" fmla="*/ 10688595 w 12190411"/>
              <a:gd name="connsiteY709" fmla="*/ 578038 h 6858000"/>
              <a:gd name="connsiteX710" fmla="*/ 10688595 w 12190411"/>
              <a:gd name="connsiteY710" fmla="*/ 771894 h 6858000"/>
              <a:gd name="connsiteX711" fmla="*/ 10694173 w 12190411"/>
              <a:gd name="connsiteY711" fmla="*/ 777529 h 6858000"/>
              <a:gd name="connsiteX712" fmla="*/ 10712250 w 12190411"/>
              <a:gd name="connsiteY712" fmla="*/ 777529 h 6858000"/>
              <a:gd name="connsiteX713" fmla="*/ 10717828 w 12190411"/>
              <a:gd name="connsiteY713" fmla="*/ 771894 h 6858000"/>
              <a:gd name="connsiteX714" fmla="*/ 10717828 w 12190411"/>
              <a:gd name="connsiteY714" fmla="*/ 638764 h 6858000"/>
              <a:gd name="connsiteX715" fmla="*/ 10727477 w 12190411"/>
              <a:gd name="connsiteY715" fmla="*/ 609034 h 6858000"/>
              <a:gd name="connsiteX716" fmla="*/ 10755162 w 12190411"/>
              <a:gd name="connsiteY716" fmla="*/ 598171 h 6858000"/>
              <a:gd name="connsiteX717" fmla="*/ 10776821 w 12190411"/>
              <a:gd name="connsiteY717" fmla="*/ 598171 h 6858000"/>
              <a:gd name="connsiteX718" fmla="*/ 10780811 w 12190411"/>
              <a:gd name="connsiteY718" fmla="*/ 597150 h 6858000"/>
              <a:gd name="connsiteX719" fmla="*/ 10782033 w 12190411"/>
              <a:gd name="connsiteY719" fmla="*/ 592903 h 6858000"/>
              <a:gd name="connsiteX720" fmla="*/ 10782033 w 12190411"/>
              <a:gd name="connsiteY720" fmla="*/ 578038 h 6858000"/>
              <a:gd name="connsiteX721" fmla="*/ 10776821 w 12190411"/>
              <a:gd name="connsiteY721" fmla="*/ 572403 h 6858000"/>
              <a:gd name="connsiteX722" fmla="*/ 10761147 w 12190411"/>
              <a:gd name="connsiteY722" fmla="*/ 572403 h 6858000"/>
              <a:gd name="connsiteX723" fmla="*/ 10734683 w 12190411"/>
              <a:gd name="connsiteY723" fmla="*/ 578855 h 6858000"/>
              <a:gd name="connsiteX724" fmla="*/ 10719456 w 12190411"/>
              <a:gd name="connsiteY724" fmla="*/ 594128 h 6858000"/>
              <a:gd name="connsiteX725" fmla="*/ 10717828 w 12190411"/>
              <a:gd name="connsiteY725" fmla="*/ 594128 h 6858000"/>
              <a:gd name="connsiteX726" fmla="*/ 10717828 w 12190411"/>
              <a:gd name="connsiteY726" fmla="*/ 578038 h 6858000"/>
              <a:gd name="connsiteX727" fmla="*/ 10712250 w 12190411"/>
              <a:gd name="connsiteY727" fmla="*/ 572403 h 6858000"/>
              <a:gd name="connsiteX728" fmla="*/ 10694173 w 12190411"/>
              <a:gd name="connsiteY728" fmla="*/ 572403 h 6858000"/>
              <a:gd name="connsiteX729" fmla="*/ 10562481 w 12190411"/>
              <a:gd name="connsiteY729" fmla="*/ 572403 h 6858000"/>
              <a:gd name="connsiteX730" fmla="*/ 10518941 w 12190411"/>
              <a:gd name="connsiteY730" fmla="*/ 588084 h 6858000"/>
              <a:gd name="connsiteX731" fmla="*/ 10503082 w 12190411"/>
              <a:gd name="connsiteY731" fmla="*/ 631944 h 6858000"/>
              <a:gd name="connsiteX732" fmla="*/ 10503082 w 12190411"/>
              <a:gd name="connsiteY732" fmla="*/ 718029 h 6858000"/>
              <a:gd name="connsiteX733" fmla="*/ 10518941 w 12190411"/>
              <a:gd name="connsiteY733" fmla="*/ 761848 h 6858000"/>
              <a:gd name="connsiteX734" fmla="*/ 10562481 w 12190411"/>
              <a:gd name="connsiteY734" fmla="*/ 777529 h 6858000"/>
              <a:gd name="connsiteX735" fmla="*/ 10597011 w 12190411"/>
              <a:gd name="connsiteY735" fmla="*/ 777529 h 6858000"/>
              <a:gd name="connsiteX736" fmla="*/ 10640592 w 12190411"/>
              <a:gd name="connsiteY736" fmla="*/ 761848 h 6858000"/>
              <a:gd name="connsiteX737" fmla="*/ 10656451 w 12190411"/>
              <a:gd name="connsiteY737" fmla="*/ 718029 h 6858000"/>
              <a:gd name="connsiteX738" fmla="*/ 10656451 w 12190411"/>
              <a:gd name="connsiteY738" fmla="*/ 631944 h 6858000"/>
              <a:gd name="connsiteX739" fmla="*/ 10640592 w 12190411"/>
              <a:gd name="connsiteY739" fmla="*/ 588084 h 6858000"/>
              <a:gd name="connsiteX740" fmla="*/ 10597011 w 12190411"/>
              <a:gd name="connsiteY740" fmla="*/ 572403 h 6858000"/>
              <a:gd name="connsiteX741" fmla="*/ 10562481 w 12190411"/>
              <a:gd name="connsiteY741" fmla="*/ 572403 h 6858000"/>
              <a:gd name="connsiteX742" fmla="*/ 10209875 w 12190411"/>
              <a:gd name="connsiteY742" fmla="*/ 572403 h 6858000"/>
              <a:gd name="connsiteX743" fmla="*/ 10204246 w 12190411"/>
              <a:gd name="connsiteY743" fmla="*/ 578038 h 6858000"/>
              <a:gd name="connsiteX744" fmla="*/ 10204246 w 12190411"/>
              <a:gd name="connsiteY744" fmla="*/ 771894 h 6858000"/>
              <a:gd name="connsiteX745" fmla="*/ 10209875 w 12190411"/>
              <a:gd name="connsiteY745" fmla="*/ 777529 h 6858000"/>
              <a:gd name="connsiteX746" fmla="*/ 10227946 w 12190411"/>
              <a:gd name="connsiteY746" fmla="*/ 777529 h 6858000"/>
              <a:gd name="connsiteX747" fmla="*/ 10233576 w 12190411"/>
              <a:gd name="connsiteY747" fmla="*/ 771894 h 6858000"/>
              <a:gd name="connsiteX748" fmla="*/ 10233576 w 12190411"/>
              <a:gd name="connsiteY748" fmla="*/ 635170 h 6858000"/>
              <a:gd name="connsiteX749" fmla="*/ 10243203 w 12190411"/>
              <a:gd name="connsiteY749" fmla="*/ 607809 h 6858000"/>
              <a:gd name="connsiteX750" fmla="*/ 10270942 w 12190411"/>
              <a:gd name="connsiteY750" fmla="*/ 598171 h 6858000"/>
              <a:gd name="connsiteX751" fmla="*/ 10293459 w 12190411"/>
              <a:gd name="connsiteY751" fmla="*/ 598171 h 6858000"/>
              <a:gd name="connsiteX752" fmla="*/ 10327195 w 12190411"/>
              <a:gd name="connsiteY752" fmla="*/ 633128 h 6858000"/>
              <a:gd name="connsiteX753" fmla="*/ 10327195 w 12190411"/>
              <a:gd name="connsiteY753" fmla="*/ 771894 h 6858000"/>
              <a:gd name="connsiteX754" fmla="*/ 10332824 w 12190411"/>
              <a:gd name="connsiteY754" fmla="*/ 777529 h 6858000"/>
              <a:gd name="connsiteX755" fmla="*/ 10350895 w 12190411"/>
              <a:gd name="connsiteY755" fmla="*/ 777529 h 6858000"/>
              <a:gd name="connsiteX756" fmla="*/ 10356524 w 12190411"/>
              <a:gd name="connsiteY756" fmla="*/ 771894 h 6858000"/>
              <a:gd name="connsiteX757" fmla="*/ 10356524 w 12190411"/>
              <a:gd name="connsiteY757" fmla="*/ 631944 h 6858000"/>
              <a:gd name="connsiteX758" fmla="*/ 10341268 w 12190411"/>
              <a:gd name="connsiteY758" fmla="*/ 588084 h 6858000"/>
              <a:gd name="connsiteX759" fmla="*/ 10298681 w 12190411"/>
              <a:gd name="connsiteY759" fmla="*/ 572403 h 6858000"/>
              <a:gd name="connsiteX760" fmla="*/ 10276163 w 12190411"/>
              <a:gd name="connsiteY760" fmla="*/ 572403 h 6858000"/>
              <a:gd name="connsiteX761" fmla="*/ 10235167 w 12190411"/>
              <a:gd name="connsiteY761" fmla="*/ 593720 h 6858000"/>
              <a:gd name="connsiteX762" fmla="*/ 10233576 w 12190411"/>
              <a:gd name="connsiteY762" fmla="*/ 593720 h 6858000"/>
              <a:gd name="connsiteX763" fmla="*/ 10233576 w 12190411"/>
              <a:gd name="connsiteY763" fmla="*/ 578038 h 6858000"/>
              <a:gd name="connsiteX764" fmla="*/ 10227946 w 12190411"/>
              <a:gd name="connsiteY764" fmla="*/ 572403 h 6858000"/>
              <a:gd name="connsiteX765" fmla="*/ 10209875 w 12190411"/>
              <a:gd name="connsiteY765" fmla="*/ 572403 h 6858000"/>
              <a:gd name="connsiteX766" fmla="*/ 10142198 w 12190411"/>
              <a:gd name="connsiteY766" fmla="*/ 572403 h 6858000"/>
              <a:gd name="connsiteX767" fmla="*/ 10136960 w 12190411"/>
              <a:gd name="connsiteY767" fmla="*/ 578038 h 6858000"/>
              <a:gd name="connsiteX768" fmla="*/ 10136960 w 12190411"/>
              <a:gd name="connsiteY768" fmla="*/ 771935 h 6858000"/>
              <a:gd name="connsiteX769" fmla="*/ 10142607 w 12190411"/>
              <a:gd name="connsiteY769" fmla="*/ 777529 h 6858000"/>
              <a:gd name="connsiteX770" fmla="*/ 10160734 w 12190411"/>
              <a:gd name="connsiteY770" fmla="*/ 777529 h 6858000"/>
              <a:gd name="connsiteX771" fmla="*/ 10166381 w 12190411"/>
              <a:gd name="connsiteY771" fmla="*/ 771935 h 6858000"/>
              <a:gd name="connsiteX772" fmla="*/ 10166381 w 12190411"/>
              <a:gd name="connsiteY772" fmla="*/ 578038 h 6858000"/>
              <a:gd name="connsiteX773" fmla="*/ 10160734 w 12190411"/>
              <a:gd name="connsiteY773" fmla="*/ 572403 h 6858000"/>
              <a:gd name="connsiteX774" fmla="*/ 10142198 w 12190411"/>
              <a:gd name="connsiteY774" fmla="*/ 572403 h 6858000"/>
              <a:gd name="connsiteX775" fmla="*/ 9865644 w 12190411"/>
              <a:gd name="connsiteY775" fmla="*/ 571313 h 6858000"/>
              <a:gd name="connsiteX776" fmla="*/ 9859602 w 12190411"/>
              <a:gd name="connsiteY776" fmla="*/ 579767 h 6858000"/>
              <a:gd name="connsiteX777" fmla="*/ 9910020 w 12190411"/>
              <a:gd name="connsiteY777" fmla="*/ 768122 h 6858000"/>
              <a:gd name="connsiteX778" fmla="*/ 9920879 w 12190411"/>
              <a:gd name="connsiteY778" fmla="*/ 776985 h 6858000"/>
              <a:gd name="connsiteX779" fmla="*/ 9972073 w 12190411"/>
              <a:gd name="connsiteY779" fmla="*/ 776985 h 6858000"/>
              <a:gd name="connsiteX780" fmla="*/ 9982973 w 12190411"/>
              <a:gd name="connsiteY780" fmla="*/ 768122 h 6858000"/>
              <a:gd name="connsiteX781" fmla="*/ 10033758 w 12190411"/>
              <a:gd name="connsiteY781" fmla="*/ 579767 h 6858000"/>
              <a:gd name="connsiteX782" fmla="*/ 10027716 w 12190411"/>
              <a:gd name="connsiteY782" fmla="*/ 571313 h 6858000"/>
              <a:gd name="connsiteX783" fmla="*/ 9992240 w 12190411"/>
              <a:gd name="connsiteY783" fmla="*/ 571313 h 6858000"/>
              <a:gd name="connsiteX784" fmla="*/ 9982156 w 12190411"/>
              <a:gd name="connsiteY784" fmla="*/ 579767 h 6858000"/>
              <a:gd name="connsiteX785" fmla="*/ 9948313 w 12190411"/>
              <a:gd name="connsiteY785" fmla="*/ 731407 h 6858000"/>
              <a:gd name="connsiteX786" fmla="*/ 9945455 w 12190411"/>
              <a:gd name="connsiteY786" fmla="*/ 731407 h 6858000"/>
              <a:gd name="connsiteX787" fmla="*/ 9910796 w 12190411"/>
              <a:gd name="connsiteY787" fmla="*/ 579767 h 6858000"/>
              <a:gd name="connsiteX788" fmla="*/ 9901120 w 12190411"/>
              <a:gd name="connsiteY788" fmla="*/ 571313 h 6858000"/>
              <a:gd name="connsiteX789" fmla="*/ 9865644 w 12190411"/>
              <a:gd name="connsiteY789" fmla="*/ 571313 h 6858000"/>
              <a:gd name="connsiteX790" fmla="*/ 9801839 w 12190411"/>
              <a:gd name="connsiteY790" fmla="*/ 571313 h 6858000"/>
              <a:gd name="connsiteX791" fmla="*/ 9788161 w 12190411"/>
              <a:gd name="connsiteY791" fmla="*/ 579359 h 6858000"/>
              <a:gd name="connsiteX792" fmla="*/ 9739781 w 12190411"/>
              <a:gd name="connsiteY792" fmla="*/ 665287 h 6858000"/>
              <a:gd name="connsiteX793" fmla="*/ 9739781 w 12190411"/>
              <a:gd name="connsiteY793" fmla="*/ 678601 h 6858000"/>
              <a:gd name="connsiteX794" fmla="*/ 9790979 w 12190411"/>
              <a:gd name="connsiteY794" fmla="*/ 768490 h 6858000"/>
              <a:gd name="connsiteX795" fmla="*/ 9797225 w 12190411"/>
              <a:gd name="connsiteY795" fmla="*/ 775351 h 6858000"/>
              <a:gd name="connsiteX796" fmla="*/ 9807105 w 12190411"/>
              <a:gd name="connsiteY796" fmla="*/ 776985 h 6858000"/>
              <a:gd name="connsiteX797" fmla="*/ 9841768 w 12190411"/>
              <a:gd name="connsiteY797" fmla="*/ 776985 h 6858000"/>
              <a:gd name="connsiteX798" fmla="*/ 9849035 w 12190411"/>
              <a:gd name="connsiteY798" fmla="*/ 773963 h 6858000"/>
              <a:gd name="connsiteX799" fmla="*/ 9848627 w 12190411"/>
              <a:gd name="connsiteY799" fmla="*/ 766897 h 6858000"/>
              <a:gd name="connsiteX800" fmla="*/ 9792571 w 12190411"/>
              <a:gd name="connsiteY800" fmla="*/ 671331 h 6858000"/>
              <a:gd name="connsiteX801" fmla="*/ 9792571 w 12190411"/>
              <a:gd name="connsiteY801" fmla="*/ 669698 h 6858000"/>
              <a:gd name="connsiteX802" fmla="*/ 9846218 w 12190411"/>
              <a:gd name="connsiteY802" fmla="*/ 581401 h 6858000"/>
              <a:gd name="connsiteX803" fmla="*/ 9847402 w 12190411"/>
              <a:gd name="connsiteY803" fmla="*/ 574131 h 6858000"/>
              <a:gd name="connsiteX804" fmla="*/ 9840951 w 12190411"/>
              <a:gd name="connsiteY804" fmla="*/ 571313 h 6858000"/>
              <a:gd name="connsiteX805" fmla="*/ 9801839 w 12190411"/>
              <a:gd name="connsiteY805" fmla="*/ 571313 h 6858000"/>
              <a:gd name="connsiteX806" fmla="*/ 9622083 w 12190411"/>
              <a:gd name="connsiteY806" fmla="*/ 571313 h 6858000"/>
              <a:gd name="connsiteX807" fmla="*/ 9572928 w 12190411"/>
              <a:gd name="connsiteY807" fmla="*/ 588267 h 6858000"/>
              <a:gd name="connsiteX808" fmla="*/ 9555632 w 12190411"/>
              <a:gd name="connsiteY808" fmla="*/ 637044 h 6858000"/>
              <a:gd name="connsiteX809" fmla="*/ 9555632 w 12190411"/>
              <a:gd name="connsiteY809" fmla="*/ 701998 h 6858000"/>
              <a:gd name="connsiteX810" fmla="*/ 9571500 w 12190411"/>
              <a:gd name="connsiteY810" fmla="*/ 750816 h 6858000"/>
              <a:gd name="connsiteX811" fmla="*/ 9618452 w 12190411"/>
              <a:gd name="connsiteY811" fmla="*/ 767769 h 6858000"/>
              <a:gd name="connsiteX812" fmla="*/ 9631751 w 12190411"/>
              <a:gd name="connsiteY812" fmla="*/ 767932 h 6858000"/>
              <a:gd name="connsiteX813" fmla="*/ 9655492 w 12190411"/>
              <a:gd name="connsiteY813" fmla="*/ 767932 h 6858000"/>
              <a:gd name="connsiteX814" fmla="*/ 9671197 w 12190411"/>
              <a:gd name="connsiteY814" fmla="*/ 767892 h 6858000"/>
              <a:gd name="connsiteX815" fmla="*/ 9672829 w 12190411"/>
              <a:gd name="connsiteY815" fmla="*/ 767892 h 6858000"/>
              <a:gd name="connsiteX816" fmla="*/ 9672829 w 12190411"/>
              <a:gd name="connsiteY816" fmla="*/ 776225 h 6858000"/>
              <a:gd name="connsiteX817" fmla="*/ 9667404 w 12190411"/>
              <a:gd name="connsiteY817" fmla="*/ 794200 h 6858000"/>
              <a:gd name="connsiteX818" fmla="*/ 9649047 w 12190411"/>
              <a:gd name="connsiteY818" fmla="*/ 799633 h 6858000"/>
              <a:gd name="connsiteX819" fmla="*/ 9580189 w 12190411"/>
              <a:gd name="connsiteY819" fmla="*/ 799633 h 6858000"/>
              <a:gd name="connsiteX820" fmla="*/ 9571704 w 12190411"/>
              <a:gd name="connsiteY820" fmla="*/ 808090 h 6858000"/>
              <a:gd name="connsiteX821" fmla="*/ 9571704 w 12190411"/>
              <a:gd name="connsiteY821" fmla="*/ 835910 h 6858000"/>
              <a:gd name="connsiteX822" fmla="*/ 9573540 w 12190411"/>
              <a:gd name="connsiteY822" fmla="*/ 842160 h 6858000"/>
              <a:gd name="connsiteX823" fmla="*/ 9580189 w 12190411"/>
              <a:gd name="connsiteY823" fmla="*/ 843998 h 6858000"/>
              <a:gd name="connsiteX824" fmla="*/ 9657532 w 12190411"/>
              <a:gd name="connsiteY824" fmla="*/ 843998 h 6858000"/>
              <a:gd name="connsiteX825" fmla="*/ 9706442 w 12190411"/>
              <a:gd name="connsiteY825" fmla="*/ 827045 h 6858000"/>
              <a:gd name="connsiteX826" fmla="*/ 9723983 w 12190411"/>
              <a:gd name="connsiteY826" fmla="*/ 778636 h 6858000"/>
              <a:gd name="connsiteX827" fmla="*/ 9723983 w 12190411"/>
              <a:gd name="connsiteY827" fmla="*/ 579770 h 6858000"/>
              <a:gd name="connsiteX828" fmla="*/ 9715090 w 12190411"/>
              <a:gd name="connsiteY828" fmla="*/ 571313 h 6858000"/>
              <a:gd name="connsiteX829" fmla="*/ 9622083 w 12190411"/>
              <a:gd name="connsiteY829" fmla="*/ 571313 h 6858000"/>
              <a:gd name="connsiteX830" fmla="*/ 11320152 w 12190411"/>
              <a:gd name="connsiteY830" fmla="*/ 528544 h 6858000"/>
              <a:gd name="connsiteX831" fmla="*/ 11314555 w 12190411"/>
              <a:gd name="connsiteY831" fmla="*/ 534180 h 6858000"/>
              <a:gd name="connsiteX832" fmla="*/ 11314555 w 12190411"/>
              <a:gd name="connsiteY832" fmla="*/ 568769 h 6858000"/>
              <a:gd name="connsiteX833" fmla="*/ 11310510 w 12190411"/>
              <a:gd name="connsiteY833" fmla="*/ 572404 h 6858000"/>
              <a:gd name="connsiteX834" fmla="*/ 11288365 w 12190411"/>
              <a:gd name="connsiteY834" fmla="*/ 572404 h 6858000"/>
              <a:gd name="connsiteX835" fmla="*/ 11282727 w 12190411"/>
              <a:gd name="connsiteY835" fmla="*/ 578039 h 6858000"/>
              <a:gd name="connsiteX836" fmla="*/ 11282727 w 12190411"/>
              <a:gd name="connsiteY836" fmla="*/ 592904 h 6858000"/>
              <a:gd name="connsiteX837" fmla="*/ 11288365 w 12190411"/>
              <a:gd name="connsiteY837" fmla="*/ 598131 h 6858000"/>
              <a:gd name="connsiteX838" fmla="*/ 11310510 w 12190411"/>
              <a:gd name="connsiteY838" fmla="*/ 598131 h 6858000"/>
              <a:gd name="connsiteX839" fmla="*/ 11314555 w 12190411"/>
              <a:gd name="connsiteY839" fmla="*/ 601765 h 6858000"/>
              <a:gd name="connsiteX840" fmla="*/ 11314555 w 12190411"/>
              <a:gd name="connsiteY840" fmla="*/ 718805 h 6858000"/>
              <a:gd name="connsiteX841" fmla="*/ 11331061 w 12190411"/>
              <a:gd name="connsiteY841" fmla="*/ 762052 h 6858000"/>
              <a:gd name="connsiteX842" fmla="*/ 11375309 w 12190411"/>
              <a:gd name="connsiteY842" fmla="*/ 777529 h 6858000"/>
              <a:gd name="connsiteX843" fmla="*/ 11394635 w 12190411"/>
              <a:gd name="connsiteY843" fmla="*/ 777529 h 6858000"/>
              <a:gd name="connsiteX844" fmla="*/ 11400681 w 12190411"/>
              <a:gd name="connsiteY844" fmla="*/ 772302 h 6858000"/>
              <a:gd name="connsiteX845" fmla="*/ 11400681 w 12190411"/>
              <a:gd name="connsiteY845" fmla="*/ 757437 h 6858000"/>
              <a:gd name="connsiteX846" fmla="*/ 11394635 w 12190411"/>
              <a:gd name="connsiteY846" fmla="*/ 751802 h 6858000"/>
              <a:gd name="connsiteX847" fmla="*/ 11378945 w 12190411"/>
              <a:gd name="connsiteY847" fmla="*/ 751802 h 6858000"/>
              <a:gd name="connsiteX848" fmla="*/ 11343522 w 12190411"/>
              <a:gd name="connsiteY848" fmla="*/ 717621 h 6858000"/>
              <a:gd name="connsiteX849" fmla="*/ 11343522 w 12190411"/>
              <a:gd name="connsiteY849" fmla="*/ 601765 h 6858000"/>
              <a:gd name="connsiteX850" fmla="*/ 11347935 w 12190411"/>
              <a:gd name="connsiteY850" fmla="*/ 598131 h 6858000"/>
              <a:gd name="connsiteX851" fmla="*/ 11390590 w 12190411"/>
              <a:gd name="connsiteY851" fmla="*/ 598131 h 6858000"/>
              <a:gd name="connsiteX852" fmla="*/ 11396637 w 12190411"/>
              <a:gd name="connsiteY852" fmla="*/ 592904 h 6858000"/>
              <a:gd name="connsiteX853" fmla="*/ 11396637 w 12190411"/>
              <a:gd name="connsiteY853" fmla="*/ 578039 h 6858000"/>
              <a:gd name="connsiteX854" fmla="*/ 11390590 w 12190411"/>
              <a:gd name="connsiteY854" fmla="*/ 572404 h 6858000"/>
              <a:gd name="connsiteX855" fmla="*/ 11347935 w 12190411"/>
              <a:gd name="connsiteY855" fmla="*/ 572404 h 6858000"/>
              <a:gd name="connsiteX856" fmla="*/ 11343522 w 12190411"/>
              <a:gd name="connsiteY856" fmla="*/ 568769 h 6858000"/>
              <a:gd name="connsiteX857" fmla="*/ 11343522 w 12190411"/>
              <a:gd name="connsiteY857" fmla="*/ 534180 h 6858000"/>
              <a:gd name="connsiteX858" fmla="*/ 11338293 w 12190411"/>
              <a:gd name="connsiteY858" fmla="*/ 528544 h 6858000"/>
              <a:gd name="connsiteX859" fmla="*/ 11320152 w 12190411"/>
              <a:gd name="connsiteY859" fmla="*/ 528544 h 6858000"/>
              <a:gd name="connsiteX860" fmla="*/ 11438881 w 12190411"/>
              <a:gd name="connsiteY860" fmla="*/ 495038 h 6858000"/>
              <a:gd name="connsiteX861" fmla="*/ 11433643 w 12190411"/>
              <a:gd name="connsiteY861" fmla="*/ 500699 h 6858000"/>
              <a:gd name="connsiteX862" fmla="*/ 11433643 w 12190411"/>
              <a:gd name="connsiteY862" fmla="*/ 538684 h 6858000"/>
              <a:gd name="connsiteX863" fmla="*/ 11438881 w 12190411"/>
              <a:gd name="connsiteY863" fmla="*/ 544344 h 6858000"/>
              <a:gd name="connsiteX864" fmla="*/ 11457458 w 12190411"/>
              <a:gd name="connsiteY864" fmla="*/ 544344 h 6858000"/>
              <a:gd name="connsiteX865" fmla="*/ 11463064 w 12190411"/>
              <a:gd name="connsiteY865" fmla="*/ 538684 h 6858000"/>
              <a:gd name="connsiteX866" fmla="*/ 11463064 w 12190411"/>
              <a:gd name="connsiteY866" fmla="*/ 500699 h 6858000"/>
              <a:gd name="connsiteX867" fmla="*/ 11457458 w 12190411"/>
              <a:gd name="connsiteY867" fmla="*/ 495038 h 6858000"/>
              <a:gd name="connsiteX868" fmla="*/ 11438881 w 12190411"/>
              <a:gd name="connsiteY868" fmla="*/ 495038 h 6858000"/>
              <a:gd name="connsiteX869" fmla="*/ 10142198 w 12190411"/>
              <a:gd name="connsiteY869" fmla="*/ 495038 h 6858000"/>
              <a:gd name="connsiteX870" fmla="*/ 10136960 w 12190411"/>
              <a:gd name="connsiteY870" fmla="*/ 500699 h 6858000"/>
              <a:gd name="connsiteX871" fmla="*/ 10136960 w 12190411"/>
              <a:gd name="connsiteY871" fmla="*/ 538684 h 6858000"/>
              <a:gd name="connsiteX872" fmla="*/ 10142198 w 12190411"/>
              <a:gd name="connsiteY872" fmla="*/ 544344 h 6858000"/>
              <a:gd name="connsiteX873" fmla="*/ 10160734 w 12190411"/>
              <a:gd name="connsiteY873" fmla="*/ 544344 h 6858000"/>
              <a:gd name="connsiteX874" fmla="*/ 10166381 w 12190411"/>
              <a:gd name="connsiteY874" fmla="*/ 538684 h 6858000"/>
              <a:gd name="connsiteX875" fmla="*/ 10166381 w 12190411"/>
              <a:gd name="connsiteY875" fmla="*/ 500699 h 6858000"/>
              <a:gd name="connsiteX876" fmla="*/ 10160734 w 12190411"/>
              <a:gd name="connsiteY876" fmla="*/ 495038 h 6858000"/>
              <a:gd name="connsiteX877" fmla="*/ 10142198 w 12190411"/>
              <a:gd name="connsiteY877" fmla="*/ 495038 h 6858000"/>
              <a:gd name="connsiteX878" fmla="*/ 11506576 w 12190411"/>
              <a:gd name="connsiteY878" fmla="*/ 494765 h 6858000"/>
              <a:gd name="connsiteX879" fmla="*/ 11500929 w 12190411"/>
              <a:gd name="connsiteY879" fmla="*/ 500401 h 6858000"/>
              <a:gd name="connsiteX880" fmla="*/ 11500929 w 12190411"/>
              <a:gd name="connsiteY880" fmla="*/ 771893 h 6858000"/>
              <a:gd name="connsiteX881" fmla="*/ 11506576 w 12190411"/>
              <a:gd name="connsiteY881" fmla="*/ 777529 h 6858000"/>
              <a:gd name="connsiteX882" fmla="*/ 11524744 w 12190411"/>
              <a:gd name="connsiteY882" fmla="*/ 777529 h 6858000"/>
              <a:gd name="connsiteX883" fmla="*/ 11530350 w 12190411"/>
              <a:gd name="connsiteY883" fmla="*/ 771893 h 6858000"/>
              <a:gd name="connsiteX884" fmla="*/ 11530350 w 12190411"/>
              <a:gd name="connsiteY884" fmla="*/ 500401 h 6858000"/>
              <a:gd name="connsiteX885" fmla="*/ 11524744 w 12190411"/>
              <a:gd name="connsiteY885" fmla="*/ 494765 h 6858000"/>
              <a:gd name="connsiteX886" fmla="*/ 11506576 w 12190411"/>
              <a:gd name="connsiteY886" fmla="*/ 494765 h 6858000"/>
              <a:gd name="connsiteX887" fmla="*/ 10466865 w 12190411"/>
              <a:gd name="connsiteY887" fmla="*/ 494765 h 6858000"/>
              <a:gd name="connsiteX888" fmla="*/ 10425799 w 12190411"/>
              <a:gd name="connsiteY888" fmla="*/ 510039 h 6858000"/>
              <a:gd name="connsiteX889" fmla="*/ 10411742 w 12190411"/>
              <a:gd name="connsiteY889" fmla="*/ 553899 h 6858000"/>
              <a:gd name="connsiteX890" fmla="*/ 10411742 w 12190411"/>
              <a:gd name="connsiteY890" fmla="*/ 568764 h 6858000"/>
              <a:gd name="connsiteX891" fmla="*/ 10407697 w 12190411"/>
              <a:gd name="connsiteY891" fmla="*/ 572399 h 6858000"/>
              <a:gd name="connsiteX892" fmla="*/ 10383956 w 12190411"/>
              <a:gd name="connsiteY892" fmla="*/ 572399 h 6858000"/>
              <a:gd name="connsiteX893" fmla="*/ 10378317 w 12190411"/>
              <a:gd name="connsiteY893" fmla="*/ 577626 h 6858000"/>
              <a:gd name="connsiteX894" fmla="*/ 10378317 w 12190411"/>
              <a:gd name="connsiteY894" fmla="*/ 592532 h 6858000"/>
              <a:gd name="connsiteX895" fmla="*/ 10383956 w 12190411"/>
              <a:gd name="connsiteY895" fmla="*/ 598127 h 6858000"/>
              <a:gd name="connsiteX896" fmla="*/ 10407697 w 12190411"/>
              <a:gd name="connsiteY896" fmla="*/ 598127 h 6858000"/>
              <a:gd name="connsiteX897" fmla="*/ 10411742 w 12190411"/>
              <a:gd name="connsiteY897" fmla="*/ 601761 h 6858000"/>
              <a:gd name="connsiteX898" fmla="*/ 10411742 w 12190411"/>
              <a:gd name="connsiteY898" fmla="*/ 771893 h 6858000"/>
              <a:gd name="connsiteX899" fmla="*/ 10417381 w 12190411"/>
              <a:gd name="connsiteY899" fmla="*/ 777529 h 6858000"/>
              <a:gd name="connsiteX900" fmla="*/ 10435075 w 12190411"/>
              <a:gd name="connsiteY900" fmla="*/ 777529 h 6858000"/>
              <a:gd name="connsiteX901" fmla="*/ 10441122 w 12190411"/>
              <a:gd name="connsiteY901" fmla="*/ 771893 h 6858000"/>
              <a:gd name="connsiteX902" fmla="*/ 10441122 w 12190411"/>
              <a:gd name="connsiteY902" fmla="*/ 601761 h 6858000"/>
              <a:gd name="connsiteX903" fmla="*/ 10444718 w 12190411"/>
              <a:gd name="connsiteY903" fmla="*/ 598127 h 6858000"/>
              <a:gd name="connsiteX904" fmla="*/ 10480145 w 12190411"/>
              <a:gd name="connsiteY904" fmla="*/ 598127 h 6858000"/>
              <a:gd name="connsiteX905" fmla="*/ 10486193 w 12190411"/>
              <a:gd name="connsiteY905" fmla="*/ 592532 h 6858000"/>
              <a:gd name="connsiteX906" fmla="*/ 10486193 w 12190411"/>
              <a:gd name="connsiteY906" fmla="*/ 577626 h 6858000"/>
              <a:gd name="connsiteX907" fmla="*/ 10480145 w 12190411"/>
              <a:gd name="connsiteY907" fmla="*/ 572399 h 6858000"/>
              <a:gd name="connsiteX908" fmla="*/ 10444718 w 12190411"/>
              <a:gd name="connsiteY908" fmla="*/ 572399 h 6858000"/>
              <a:gd name="connsiteX909" fmla="*/ 10441122 w 12190411"/>
              <a:gd name="connsiteY909" fmla="*/ 568764 h 6858000"/>
              <a:gd name="connsiteX910" fmla="*/ 10441122 w 12190411"/>
              <a:gd name="connsiteY910" fmla="*/ 555124 h 6858000"/>
              <a:gd name="connsiteX911" fmla="*/ 10447537 w 12190411"/>
              <a:gd name="connsiteY911" fmla="*/ 528743 h 6858000"/>
              <a:gd name="connsiteX912" fmla="*/ 10470502 w 12190411"/>
              <a:gd name="connsiteY912" fmla="*/ 520493 h 6858000"/>
              <a:gd name="connsiteX913" fmla="*/ 10480554 w 12190411"/>
              <a:gd name="connsiteY913" fmla="*/ 520493 h 6858000"/>
              <a:gd name="connsiteX914" fmla="*/ 10486193 w 12190411"/>
              <a:gd name="connsiteY914" fmla="*/ 514899 h 6858000"/>
              <a:gd name="connsiteX915" fmla="*/ 10486193 w 12190411"/>
              <a:gd name="connsiteY915" fmla="*/ 499993 h 6858000"/>
              <a:gd name="connsiteX916" fmla="*/ 10480554 w 12190411"/>
              <a:gd name="connsiteY916" fmla="*/ 494765 h 6858000"/>
              <a:gd name="connsiteX917" fmla="*/ 10466865 w 12190411"/>
              <a:gd name="connsiteY917" fmla="*/ 494765 h 6858000"/>
              <a:gd name="connsiteX918" fmla="*/ 0 w 12190411"/>
              <a:gd name="connsiteY918" fmla="*/ 0 h 6858000"/>
              <a:gd name="connsiteX919" fmla="*/ 12190411 w 12190411"/>
              <a:gd name="connsiteY919" fmla="*/ 0 h 6858000"/>
              <a:gd name="connsiteX920" fmla="*/ 12190411 w 12190411"/>
              <a:gd name="connsiteY920" fmla="*/ 6858000 h 6858000"/>
              <a:gd name="connsiteX921" fmla="*/ 11354118 w 12190411"/>
              <a:gd name="connsiteY921" fmla="*/ 6858000 h 6858000"/>
              <a:gd name="connsiteX922" fmla="*/ 11374926 w 12190411"/>
              <a:gd name="connsiteY922" fmla="*/ 6823699 h 6858000"/>
              <a:gd name="connsiteX923" fmla="*/ 11634637 w 12190411"/>
              <a:gd name="connsiteY923" fmla="*/ 6395584 h 6858000"/>
              <a:gd name="connsiteX924" fmla="*/ 11643323 w 12190411"/>
              <a:gd name="connsiteY924" fmla="*/ 6343544 h 6858000"/>
              <a:gd name="connsiteX925" fmla="*/ 11597084 w 12190411"/>
              <a:gd name="connsiteY925" fmla="*/ 6323214 h 6858000"/>
              <a:gd name="connsiteX926" fmla="*/ 11316457 w 12190411"/>
              <a:gd name="connsiteY926" fmla="*/ 6323214 h 6858000"/>
              <a:gd name="connsiteX927" fmla="*/ 11218103 w 12190411"/>
              <a:gd name="connsiteY927" fmla="*/ 6381136 h 6858000"/>
              <a:gd name="connsiteX928" fmla="*/ 10985523 w 12190411"/>
              <a:gd name="connsiteY928" fmla="*/ 6794350 h 6858000"/>
              <a:gd name="connsiteX929" fmla="*/ 10949697 w 12190411"/>
              <a:gd name="connsiteY929" fmla="*/ 6858000 h 6858000"/>
              <a:gd name="connsiteX930" fmla="*/ 0 w 12190411"/>
              <a:gd name="connsiteY93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</a:cxnLst>
            <a:rect l="l" t="t" r="r" b="b"/>
            <a:pathLst>
              <a:path w="12190411" h="6858000">
                <a:moveTo>
                  <a:pt x="2899854" y="3037219"/>
                </a:moveTo>
                <a:cubicBezTo>
                  <a:pt x="2880034" y="3037219"/>
                  <a:pt x="2866820" y="3042960"/>
                  <a:pt x="2860213" y="3054550"/>
                </a:cubicBezTo>
                <a:cubicBezTo>
                  <a:pt x="2853606" y="3066140"/>
                  <a:pt x="2856097" y="3080981"/>
                  <a:pt x="2867687" y="3099178"/>
                </a:cubicBezTo>
                <a:cubicBezTo>
                  <a:pt x="2867687" y="3099178"/>
                  <a:pt x="2867687" y="3099178"/>
                  <a:pt x="3197379" y="3642194"/>
                </a:cubicBezTo>
                <a:cubicBezTo>
                  <a:pt x="3197379" y="3642194"/>
                  <a:pt x="3197379" y="3642194"/>
                  <a:pt x="3197379" y="3652052"/>
                </a:cubicBezTo>
                <a:cubicBezTo>
                  <a:pt x="3197379" y="3652052"/>
                  <a:pt x="3197379" y="3652052"/>
                  <a:pt x="2852740" y="4239696"/>
                </a:cubicBezTo>
                <a:cubicBezTo>
                  <a:pt x="2842883" y="4256269"/>
                  <a:pt x="2842017" y="4270676"/>
                  <a:pt x="2850249" y="4283025"/>
                </a:cubicBezTo>
                <a:cubicBezTo>
                  <a:pt x="2858588" y="4295482"/>
                  <a:pt x="2873427" y="4301656"/>
                  <a:pt x="2894872" y="4301656"/>
                </a:cubicBezTo>
                <a:cubicBezTo>
                  <a:pt x="2894872" y="4301656"/>
                  <a:pt x="2894872" y="4301656"/>
                  <a:pt x="3108132" y="4301656"/>
                </a:cubicBezTo>
                <a:cubicBezTo>
                  <a:pt x="3136184" y="4301656"/>
                  <a:pt x="3156438" y="4298298"/>
                  <a:pt x="3168893" y="4291691"/>
                </a:cubicBezTo>
                <a:cubicBezTo>
                  <a:pt x="3181241" y="4285191"/>
                  <a:pt x="3194021" y="4271109"/>
                  <a:pt x="3207235" y="4249553"/>
                </a:cubicBezTo>
                <a:cubicBezTo>
                  <a:pt x="3207235" y="4249553"/>
                  <a:pt x="3207235" y="4249553"/>
                  <a:pt x="3522090" y="3696680"/>
                </a:cubicBezTo>
                <a:cubicBezTo>
                  <a:pt x="3537036" y="3670250"/>
                  <a:pt x="3537036" y="3642953"/>
                  <a:pt x="3522090" y="3614897"/>
                </a:cubicBezTo>
                <a:cubicBezTo>
                  <a:pt x="3522090" y="3614897"/>
                  <a:pt x="3522090" y="3614897"/>
                  <a:pt x="3224673" y="3086722"/>
                </a:cubicBezTo>
                <a:cubicBezTo>
                  <a:pt x="3206477" y="3053684"/>
                  <a:pt x="3178317" y="3037219"/>
                  <a:pt x="3140300" y="3037219"/>
                </a:cubicBezTo>
                <a:cubicBezTo>
                  <a:pt x="3140300" y="3037219"/>
                  <a:pt x="3140300" y="3037219"/>
                  <a:pt x="2899854" y="3037219"/>
                </a:cubicBezTo>
                <a:close/>
                <a:moveTo>
                  <a:pt x="2656319" y="2476652"/>
                </a:moveTo>
                <a:cubicBezTo>
                  <a:pt x="2618303" y="2476652"/>
                  <a:pt x="2590142" y="2493117"/>
                  <a:pt x="2571947" y="2526155"/>
                </a:cubicBezTo>
                <a:cubicBezTo>
                  <a:pt x="2274530" y="3054330"/>
                  <a:pt x="2274530" y="3054330"/>
                  <a:pt x="2274530" y="3054330"/>
                </a:cubicBezTo>
                <a:cubicBezTo>
                  <a:pt x="2259583" y="3082386"/>
                  <a:pt x="2259583" y="3109683"/>
                  <a:pt x="2274530" y="3136113"/>
                </a:cubicBezTo>
                <a:cubicBezTo>
                  <a:pt x="2589385" y="3688986"/>
                  <a:pt x="2589385" y="3688986"/>
                  <a:pt x="2589385" y="3688986"/>
                </a:cubicBezTo>
                <a:cubicBezTo>
                  <a:pt x="2602598" y="3710542"/>
                  <a:pt x="2615378" y="3724624"/>
                  <a:pt x="2627726" y="3731124"/>
                </a:cubicBezTo>
                <a:cubicBezTo>
                  <a:pt x="2640181" y="3737731"/>
                  <a:pt x="2660435" y="3741089"/>
                  <a:pt x="2688487" y="3741089"/>
                </a:cubicBezTo>
                <a:cubicBezTo>
                  <a:pt x="2901748" y="3741089"/>
                  <a:pt x="2901748" y="3741089"/>
                  <a:pt x="2901748" y="3741089"/>
                </a:cubicBezTo>
                <a:cubicBezTo>
                  <a:pt x="2923193" y="3741089"/>
                  <a:pt x="2938031" y="3734915"/>
                  <a:pt x="2946371" y="3722458"/>
                </a:cubicBezTo>
                <a:cubicBezTo>
                  <a:pt x="2954602" y="3710109"/>
                  <a:pt x="2953736" y="3695702"/>
                  <a:pt x="2943880" y="3679129"/>
                </a:cubicBezTo>
                <a:cubicBezTo>
                  <a:pt x="2599240" y="3091485"/>
                  <a:pt x="2599240" y="3091485"/>
                  <a:pt x="2599240" y="3091485"/>
                </a:cubicBezTo>
                <a:cubicBezTo>
                  <a:pt x="2599240" y="3081627"/>
                  <a:pt x="2599240" y="3081627"/>
                  <a:pt x="2599240" y="3081627"/>
                </a:cubicBezTo>
                <a:cubicBezTo>
                  <a:pt x="2928933" y="2538612"/>
                  <a:pt x="2928933" y="2538612"/>
                  <a:pt x="2928933" y="2538612"/>
                </a:cubicBezTo>
                <a:cubicBezTo>
                  <a:pt x="2940522" y="2520414"/>
                  <a:pt x="2943013" y="2505573"/>
                  <a:pt x="2936406" y="2493983"/>
                </a:cubicBezTo>
                <a:cubicBezTo>
                  <a:pt x="2929799" y="2482393"/>
                  <a:pt x="2916586" y="2476652"/>
                  <a:pt x="2896765" y="2476652"/>
                </a:cubicBezTo>
                <a:cubicBezTo>
                  <a:pt x="2656319" y="2476652"/>
                  <a:pt x="2656319" y="2476652"/>
                  <a:pt x="2656319" y="2476652"/>
                </a:cubicBezTo>
                <a:close/>
                <a:moveTo>
                  <a:pt x="11537643" y="862794"/>
                </a:moveTo>
                <a:cubicBezTo>
                  <a:pt x="11541926" y="862794"/>
                  <a:pt x="11545555" y="863990"/>
                  <a:pt x="11548451" y="866300"/>
                </a:cubicBezTo>
                <a:cubicBezTo>
                  <a:pt x="11551346" y="868651"/>
                  <a:pt x="11553263" y="871744"/>
                  <a:pt x="11554283" y="875621"/>
                </a:cubicBezTo>
                <a:cubicBezTo>
                  <a:pt x="11554650" y="877188"/>
                  <a:pt x="11554935" y="879621"/>
                  <a:pt x="11555139" y="882921"/>
                </a:cubicBezTo>
                <a:cubicBezTo>
                  <a:pt x="11555139" y="883292"/>
                  <a:pt x="11554935" y="883498"/>
                  <a:pt x="11554568" y="883498"/>
                </a:cubicBezTo>
                <a:cubicBezTo>
                  <a:pt x="11554568" y="883498"/>
                  <a:pt x="11554568" y="883498"/>
                  <a:pt x="11520841" y="883498"/>
                </a:cubicBezTo>
                <a:cubicBezTo>
                  <a:pt x="11520433" y="883498"/>
                  <a:pt x="11520270" y="883292"/>
                  <a:pt x="11520270" y="882921"/>
                </a:cubicBezTo>
                <a:cubicBezTo>
                  <a:pt x="11520433" y="879539"/>
                  <a:pt x="11520882" y="876734"/>
                  <a:pt x="11521575" y="874548"/>
                </a:cubicBezTo>
                <a:cubicBezTo>
                  <a:pt x="11522554" y="871002"/>
                  <a:pt x="11524430" y="868156"/>
                  <a:pt x="11527163" y="866011"/>
                </a:cubicBezTo>
                <a:cubicBezTo>
                  <a:pt x="11529935" y="863867"/>
                  <a:pt x="11533402" y="862794"/>
                  <a:pt x="11537643" y="862794"/>
                </a:cubicBezTo>
                <a:close/>
                <a:moveTo>
                  <a:pt x="11418573" y="862794"/>
                </a:moveTo>
                <a:cubicBezTo>
                  <a:pt x="11422708" y="862794"/>
                  <a:pt x="11426147" y="863984"/>
                  <a:pt x="11428891" y="866280"/>
                </a:cubicBezTo>
                <a:cubicBezTo>
                  <a:pt x="11431675" y="868618"/>
                  <a:pt x="11433435" y="871612"/>
                  <a:pt x="11434213" y="875262"/>
                </a:cubicBezTo>
                <a:cubicBezTo>
                  <a:pt x="11434623" y="876820"/>
                  <a:pt x="11434909" y="878461"/>
                  <a:pt x="11435032" y="880183"/>
                </a:cubicBezTo>
                <a:cubicBezTo>
                  <a:pt x="11435196" y="881947"/>
                  <a:pt x="11435278" y="884858"/>
                  <a:pt x="11435278" y="889000"/>
                </a:cubicBezTo>
                <a:cubicBezTo>
                  <a:pt x="11435278" y="893142"/>
                  <a:pt x="11435196" y="896095"/>
                  <a:pt x="11435032" y="897900"/>
                </a:cubicBezTo>
                <a:cubicBezTo>
                  <a:pt x="11434909" y="899663"/>
                  <a:pt x="11434664" y="901345"/>
                  <a:pt x="11434377" y="902944"/>
                </a:cubicBezTo>
                <a:cubicBezTo>
                  <a:pt x="11433599" y="906594"/>
                  <a:pt x="11431839" y="909547"/>
                  <a:pt x="11429136" y="911884"/>
                </a:cubicBezTo>
                <a:cubicBezTo>
                  <a:pt x="11426434" y="914222"/>
                  <a:pt x="11422913" y="915370"/>
                  <a:pt x="11418573" y="915370"/>
                </a:cubicBezTo>
                <a:cubicBezTo>
                  <a:pt x="11414438" y="915370"/>
                  <a:pt x="11410917" y="914222"/>
                  <a:pt x="11408010" y="911884"/>
                </a:cubicBezTo>
                <a:cubicBezTo>
                  <a:pt x="11405103" y="909547"/>
                  <a:pt x="11403138" y="906594"/>
                  <a:pt x="11402155" y="902944"/>
                </a:cubicBezTo>
                <a:cubicBezTo>
                  <a:pt x="11401173" y="900442"/>
                  <a:pt x="11400681" y="895808"/>
                  <a:pt x="11400681" y="889000"/>
                </a:cubicBezTo>
                <a:cubicBezTo>
                  <a:pt x="11400681" y="882808"/>
                  <a:pt x="11401214" y="878214"/>
                  <a:pt x="11402319" y="875262"/>
                </a:cubicBezTo>
                <a:cubicBezTo>
                  <a:pt x="11403506" y="871612"/>
                  <a:pt x="11405472" y="868618"/>
                  <a:pt x="11408215" y="866280"/>
                </a:cubicBezTo>
                <a:cubicBezTo>
                  <a:pt x="11410958" y="863984"/>
                  <a:pt x="11414438" y="862794"/>
                  <a:pt x="11418573" y="862794"/>
                </a:cubicBezTo>
                <a:close/>
                <a:moveTo>
                  <a:pt x="11285621" y="862794"/>
                </a:moveTo>
                <a:cubicBezTo>
                  <a:pt x="11289944" y="862794"/>
                  <a:pt x="11293574" y="863990"/>
                  <a:pt x="11296469" y="866300"/>
                </a:cubicBezTo>
                <a:cubicBezTo>
                  <a:pt x="11299365" y="868651"/>
                  <a:pt x="11301281" y="871744"/>
                  <a:pt x="11302260" y="875621"/>
                </a:cubicBezTo>
                <a:cubicBezTo>
                  <a:pt x="11302668" y="877188"/>
                  <a:pt x="11302954" y="879621"/>
                  <a:pt x="11303158" y="882921"/>
                </a:cubicBezTo>
                <a:cubicBezTo>
                  <a:pt x="11303158" y="883292"/>
                  <a:pt x="11302954" y="883498"/>
                  <a:pt x="11302587" y="883498"/>
                </a:cubicBezTo>
                <a:cubicBezTo>
                  <a:pt x="11302587" y="883498"/>
                  <a:pt x="11302587" y="883498"/>
                  <a:pt x="11268860" y="883498"/>
                </a:cubicBezTo>
                <a:cubicBezTo>
                  <a:pt x="11268452" y="883498"/>
                  <a:pt x="11268289" y="883292"/>
                  <a:pt x="11268289" y="882921"/>
                </a:cubicBezTo>
                <a:cubicBezTo>
                  <a:pt x="11268452" y="879539"/>
                  <a:pt x="11268901" y="876734"/>
                  <a:pt x="11269594" y="874548"/>
                </a:cubicBezTo>
                <a:cubicBezTo>
                  <a:pt x="11270573" y="871002"/>
                  <a:pt x="11272449" y="868156"/>
                  <a:pt x="11275181" y="866011"/>
                </a:cubicBezTo>
                <a:cubicBezTo>
                  <a:pt x="11277954" y="863867"/>
                  <a:pt x="11281421" y="862794"/>
                  <a:pt x="11285621" y="862794"/>
                </a:cubicBezTo>
                <a:close/>
                <a:moveTo>
                  <a:pt x="10877023" y="862794"/>
                </a:moveTo>
                <a:cubicBezTo>
                  <a:pt x="10881341" y="862794"/>
                  <a:pt x="10884926" y="863990"/>
                  <a:pt x="10887818" y="866300"/>
                </a:cubicBezTo>
                <a:cubicBezTo>
                  <a:pt x="10890710" y="868651"/>
                  <a:pt x="10892665" y="871744"/>
                  <a:pt x="10893643" y="875621"/>
                </a:cubicBezTo>
                <a:cubicBezTo>
                  <a:pt x="10894050" y="877188"/>
                  <a:pt x="10894335" y="879621"/>
                  <a:pt x="10894539" y="882921"/>
                </a:cubicBezTo>
                <a:cubicBezTo>
                  <a:pt x="10894539" y="883292"/>
                  <a:pt x="10894335" y="883498"/>
                  <a:pt x="10893928" y="883498"/>
                </a:cubicBezTo>
                <a:cubicBezTo>
                  <a:pt x="10893928" y="883498"/>
                  <a:pt x="10893928" y="883498"/>
                  <a:pt x="10860281" y="883498"/>
                </a:cubicBezTo>
                <a:cubicBezTo>
                  <a:pt x="10859874" y="883498"/>
                  <a:pt x="10859670" y="883292"/>
                  <a:pt x="10859670" y="882921"/>
                </a:cubicBezTo>
                <a:cubicBezTo>
                  <a:pt x="10859874" y="879539"/>
                  <a:pt x="10860322" y="876734"/>
                  <a:pt x="10861015" y="874548"/>
                </a:cubicBezTo>
                <a:cubicBezTo>
                  <a:pt x="10861992" y="871002"/>
                  <a:pt x="10863825" y="868156"/>
                  <a:pt x="10866595" y="866011"/>
                </a:cubicBezTo>
                <a:cubicBezTo>
                  <a:pt x="10869325" y="863867"/>
                  <a:pt x="10872828" y="862794"/>
                  <a:pt x="10877023" y="862794"/>
                </a:cubicBezTo>
                <a:close/>
                <a:moveTo>
                  <a:pt x="10594960" y="862794"/>
                </a:moveTo>
                <a:cubicBezTo>
                  <a:pt x="10599317" y="862794"/>
                  <a:pt x="10602934" y="863990"/>
                  <a:pt x="10605852" y="866300"/>
                </a:cubicBezTo>
                <a:cubicBezTo>
                  <a:pt x="10608770" y="868651"/>
                  <a:pt x="10610743" y="871744"/>
                  <a:pt x="10611729" y="875621"/>
                </a:cubicBezTo>
                <a:cubicBezTo>
                  <a:pt x="10612099" y="877188"/>
                  <a:pt x="10612428" y="879621"/>
                  <a:pt x="10612592" y="882921"/>
                </a:cubicBezTo>
                <a:cubicBezTo>
                  <a:pt x="10612592" y="883292"/>
                  <a:pt x="10612428" y="883498"/>
                  <a:pt x="10612017" y="883498"/>
                </a:cubicBezTo>
                <a:cubicBezTo>
                  <a:pt x="10612017" y="883498"/>
                  <a:pt x="10612017" y="883498"/>
                  <a:pt x="10578027" y="883498"/>
                </a:cubicBezTo>
                <a:cubicBezTo>
                  <a:pt x="10577657" y="883498"/>
                  <a:pt x="10577451" y="883292"/>
                  <a:pt x="10577451" y="882921"/>
                </a:cubicBezTo>
                <a:cubicBezTo>
                  <a:pt x="10577657" y="879539"/>
                  <a:pt x="10578109" y="876734"/>
                  <a:pt x="10578766" y="874548"/>
                </a:cubicBezTo>
                <a:cubicBezTo>
                  <a:pt x="10579794" y="871002"/>
                  <a:pt x="10581643" y="868156"/>
                  <a:pt x="10584438" y="866011"/>
                </a:cubicBezTo>
                <a:cubicBezTo>
                  <a:pt x="10587192" y="863867"/>
                  <a:pt x="10590686" y="862794"/>
                  <a:pt x="10594960" y="862794"/>
                </a:cubicBezTo>
                <a:close/>
                <a:moveTo>
                  <a:pt x="10380143" y="862794"/>
                </a:moveTo>
                <a:cubicBezTo>
                  <a:pt x="10384461" y="862794"/>
                  <a:pt x="10388045" y="863990"/>
                  <a:pt x="10390938" y="866300"/>
                </a:cubicBezTo>
                <a:cubicBezTo>
                  <a:pt x="10393830" y="868651"/>
                  <a:pt x="10395785" y="871744"/>
                  <a:pt x="10396762" y="875621"/>
                </a:cubicBezTo>
                <a:cubicBezTo>
                  <a:pt x="10397129" y="877188"/>
                  <a:pt x="10397455" y="879621"/>
                  <a:pt x="10397659" y="882921"/>
                </a:cubicBezTo>
                <a:cubicBezTo>
                  <a:pt x="10397659" y="883292"/>
                  <a:pt x="10397455" y="883498"/>
                  <a:pt x="10397048" y="883498"/>
                </a:cubicBezTo>
                <a:cubicBezTo>
                  <a:pt x="10397048" y="883498"/>
                  <a:pt x="10397048" y="883498"/>
                  <a:pt x="10363360" y="883498"/>
                </a:cubicBezTo>
                <a:cubicBezTo>
                  <a:pt x="10362994" y="883498"/>
                  <a:pt x="10362790" y="883292"/>
                  <a:pt x="10362790" y="882921"/>
                </a:cubicBezTo>
                <a:cubicBezTo>
                  <a:pt x="10362994" y="879539"/>
                  <a:pt x="10363442" y="876734"/>
                  <a:pt x="10364093" y="874548"/>
                </a:cubicBezTo>
                <a:cubicBezTo>
                  <a:pt x="10365112" y="871002"/>
                  <a:pt x="10366945" y="868156"/>
                  <a:pt x="10369715" y="866011"/>
                </a:cubicBezTo>
                <a:cubicBezTo>
                  <a:pt x="10372444" y="863867"/>
                  <a:pt x="10375947" y="862794"/>
                  <a:pt x="10380143" y="862794"/>
                </a:cubicBezTo>
                <a:close/>
                <a:moveTo>
                  <a:pt x="11472433" y="851898"/>
                </a:moveTo>
                <a:cubicBezTo>
                  <a:pt x="11471454" y="851898"/>
                  <a:pt x="11470964" y="852388"/>
                  <a:pt x="11470964" y="853369"/>
                </a:cubicBezTo>
                <a:cubicBezTo>
                  <a:pt x="11470964" y="853369"/>
                  <a:pt x="11470964" y="853369"/>
                  <a:pt x="11470964" y="925340"/>
                </a:cubicBezTo>
                <a:cubicBezTo>
                  <a:pt x="11470964" y="926321"/>
                  <a:pt x="11471454" y="926812"/>
                  <a:pt x="11472433" y="926812"/>
                </a:cubicBezTo>
                <a:cubicBezTo>
                  <a:pt x="11472433" y="926812"/>
                  <a:pt x="11472433" y="926812"/>
                  <a:pt x="11483619" y="926812"/>
                </a:cubicBezTo>
                <a:cubicBezTo>
                  <a:pt x="11484598" y="926812"/>
                  <a:pt x="11485129" y="926321"/>
                  <a:pt x="11485129" y="925340"/>
                </a:cubicBezTo>
                <a:cubicBezTo>
                  <a:pt x="11485129" y="925340"/>
                  <a:pt x="11485129" y="925340"/>
                  <a:pt x="11485129" y="853369"/>
                </a:cubicBezTo>
                <a:cubicBezTo>
                  <a:pt x="11485129" y="852388"/>
                  <a:pt x="11484598" y="851898"/>
                  <a:pt x="11483619" y="851898"/>
                </a:cubicBezTo>
                <a:cubicBezTo>
                  <a:pt x="11483619" y="851898"/>
                  <a:pt x="11483619" y="851898"/>
                  <a:pt x="11472433" y="851898"/>
                </a:cubicBezTo>
                <a:close/>
                <a:moveTo>
                  <a:pt x="11099924" y="851898"/>
                </a:moveTo>
                <a:cubicBezTo>
                  <a:pt x="11099025" y="851898"/>
                  <a:pt x="11098576" y="852225"/>
                  <a:pt x="11098576" y="852919"/>
                </a:cubicBezTo>
                <a:cubicBezTo>
                  <a:pt x="11098576" y="852919"/>
                  <a:pt x="11098576" y="852919"/>
                  <a:pt x="11098739" y="853491"/>
                </a:cubicBezTo>
                <a:cubicBezTo>
                  <a:pt x="11098739" y="853491"/>
                  <a:pt x="11098739" y="853491"/>
                  <a:pt x="11123333" y="926463"/>
                </a:cubicBezTo>
                <a:cubicBezTo>
                  <a:pt x="11123455" y="926953"/>
                  <a:pt x="11123455" y="927239"/>
                  <a:pt x="11123333" y="927362"/>
                </a:cubicBezTo>
                <a:cubicBezTo>
                  <a:pt x="11121985" y="932180"/>
                  <a:pt x="11120555" y="935774"/>
                  <a:pt x="11119084" y="938183"/>
                </a:cubicBezTo>
                <a:cubicBezTo>
                  <a:pt x="11117613" y="940592"/>
                  <a:pt x="11115734" y="942226"/>
                  <a:pt x="11113487" y="943124"/>
                </a:cubicBezTo>
                <a:cubicBezTo>
                  <a:pt x="11111199" y="944022"/>
                  <a:pt x="11108095" y="944512"/>
                  <a:pt x="11104173" y="944594"/>
                </a:cubicBezTo>
                <a:cubicBezTo>
                  <a:pt x="11104173" y="944594"/>
                  <a:pt x="11104173" y="944594"/>
                  <a:pt x="11103887" y="944594"/>
                </a:cubicBezTo>
                <a:cubicBezTo>
                  <a:pt x="11102906" y="944594"/>
                  <a:pt x="11102416" y="945084"/>
                  <a:pt x="11102416" y="946064"/>
                </a:cubicBezTo>
                <a:cubicBezTo>
                  <a:pt x="11102416" y="946064"/>
                  <a:pt x="11102416" y="946064"/>
                  <a:pt x="11102416" y="954762"/>
                </a:cubicBezTo>
                <a:cubicBezTo>
                  <a:pt x="11102416" y="954762"/>
                  <a:pt x="11102416" y="954762"/>
                  <a:pt x="11102416" y="956232"/>
                </a:cubicBezTo>
                <a:lnTo>
                  <a:pt x="11103437" y="956232"/>
                </a:lnTo>
                <a:cubicBezTo>
                  <a:pt x="11103437" y="956232"/>
                  <a:pt x="11103437" y="956232"/>
                  <a:pt x="11104459" y="956232"/>
                </a:cubicBezTo>
                <a:cubicBezTo>
                  <a:pt x="11111077" y="956232"/>
                  <a:pt x="11116183" y="955538"/>
                  <a:pt x="11119819" y="954190"/>
                </a:cubicBezTo>
                <a:cubicBezTo>
                  <a:pt x="11123455" y="952802"/>
                  <a:pt x="11126397" y="950474"/>
                  <a:pt x="11128644" y="947167"/>
                </a:cubicBezTo>
                <a:cubicBezTo>
                  <a:pt x="11130931" y="943900"/>
                  <a:pt x="11133178" y="938836"/>
                  <a:pt x="11135425" y="932058"/>
                </a:cubicBezTo>
                <a:cubicBezTo>
                  <a:pt x="11135425" y="932058"/>
                  <a:pt x="11135425" y="932058"/>
                  <a:pt x="11162307" y="853491"/>
                </a:cubicBezTo>
                <a:cubicBezTo>
                  <a:pt x="11162593" y="852429"/>
                  <a:pt x="11162184" y="851898"/>
                  <a:pt x="11161122" y="851898"/>
                </a:cubicBezTo>
                <a:cubicBezTo>
                  <a:pt x="11161122" y="851898"/>
                  <a:pt x="11161122" y="851898"/>
                  <a:pt x="11149438" y="851898"/>
                </a:cubicBezTo>
                <a:cubicBezTo>
                  <a:pt x="11148580" y="851898"/>
                  <a:pt x="11147967" y="852265"/>
                  <a:pt x="11147681" y="853041"/>
                </a:cubicBezTo>
                <a:cubicBezTo>
                  <a:pt x="11147681" y="853041"/>
                  <a:pt x="11147681" y="853041"/>
                  <a:pt x="11131177" y="908618"/>
                </a:cubicBezTo>
                <a:cubicBezTo>
                  <a:pt x="11131054" y="908822"/>
                  <a:pt x="11130931" y="908945"/>
                  <a:pt x="11130727" y="908945"/>
                </a:cubicBezTo>
                <a:cubicBezTo>
                  <a:pt x="11130523" y="908945"/>
                  <a:pt x="11130360" y="908822"/>
                  <a:pt x="11130278" y="908618"/>
                </a:cubicBezTo>
                <a:cubicBezTo>
                  <a:pt x="11130278" y="908618"/>
                  <a:pt x="11130278" y="908618"/>
                  <a:pt x="11113610" y="853041"/>
                </a:cubicBezTo>
                <a:cubicBezTo>
                  <a:pt x="11113324" y="852265"/>
                  <a:pt x="11112752" y="851898"/>
                  <a:pt x="11111853" y="851898"/>
                </a:cubicBezTo>
                <a:cubicBezTo>
                  <a:pt x="11111853" y="851898"/>
                  <a:pt x="11111853" y="851898"/>
                  <a:pt x="11099924" y="851898"/>
                </a:cubicBezTo>
                <a:close/>
                <a:moveTo>
                  <a:pt x="10137108" y="851898"/>
                </a:moveTo>
                <a:cubicBezTo>
                  <a:pt x="10136088" y="851898"/>
                  <a:pt x="10135598" y="852388"/>
                  <a:pt x="10135598" y="853367"/>
                </a:cubicBezTo>
                <a:cubicBezTo>
                  <a:pt x="10135598" y="853367"/>
                  <a:pt x="10135598" y="853367"/>
                  <a:pt x="10135598" y="903615"/>
                </a:cubicBezTo>
                <a:cubicBezTo>
                  <a:pt x="10135598" y="908798"/>
                  <a:pt x="10136822" y="913207"/>
                  <a:pt x="10139312" y="916840"/>
                </a:cubicBezTo>
                <a:cubicBezTo>
                  <a:pt x="10141760" y="920513"/>
                  <a:pt x="10145024" y="923248"/>
                  <a:pt x="10149105" y="925126"/>
                </a:cubicBezTo>
                <a:cubicBezTo>
                  <a:pt x="10153185" y="926962"/>
                  <a:pt x="10157592" y="927901"/>
                  <a:pt x="10162408" y="927901"/>
                </a:cubicBezTo>
                <a:cubicBezTo>
                  <a:pt x="10170569" y="927901"/>
                  <a:pt x="10176608" y="925207"/>
                  <a:pt x="10180525" y="919819"/>
                </a:cubicBezTo>
                <a:cubicBezTo>
                  <a:pt x="10180730" y="919615"/>
                  <a:pt x="10180893" y="919534"/>
                  <a:pt x="10181056" y="919574"/>
                </a:cubicBezTo>
                <a:cubicBezTo>
                  <a:pt x="10181219" y="919615"/>
                  <a:pt x="10181260" y="919738"/>
                  <a:pt x="10181260" y="919942"/>
                </a:cubicBezTo>
                <a:cubicBezTo>
                  <a:pt x="10181260" y="919942"/>
                  <a:pt x="10181260" y="919942"/>
                  <a:pt x="10181260" y="925411"/>
                </a:cubicBezTo>
                <a:cubicBezTo>
                  <a:pt x="10181260" y="926391"/>
                  <a:pt x="10181750" y="926881"/>
                  <a:pt x="10182770" y="926881"/>
                </a:cubicBezTo>
                <a:cubicBezTo>
                  <a:pt x="10182770" y="926881"/>
                  <a:pt x="10182770" y="926881"/>
                  <a:pt x="10193788" y="926881"/>
                </a:cubicBezTo>
                <a:cubicBezTo>
                  <a:pt x="10194767" y="926881"/>
                  <a:pt x="10195256" y="926391"/>
                  <a:pt x="10195256" y="925411"/>
                </a:cubicBezTo>
                <a:cubicBezTo>
                  <a:pt x="10195256" y="925411"/>
                  <a:pt x="10195256" y="925411"/>
                  <a:pt x="10195256" y="853367"/>
                </a:cubicBezTo>
                <a:cubicBezTo>
                  <a:pt x="10195256" y="852388"/>
                  <a:pt x="10194767" y="851898"/>
                  <a:pt x="10193788" y="851898"/>
                </a:cubicBezTo>
                <a:cubicBezTo>
                  <a:pt x="10193788" y="851898"/>
                  <a:pt x="10193788" y="851898"/>
                  <a:pt x="10182770" y="851898"/>
                </a:cubicBezTo>
                <a:cubicBezTo>
                  <a:pt x="10181750" y="851898"/>
                  <a:pt x="10181260" y="852388"/>
                  <a:pt x="10181260" y="853367"/>
                </a:cubicBezTo>
                <a:cubicBezTo>
                  <a:pt x="10181260" y="853367"/>
                  <a:pt x="10181260" y="853367"/>
                  <a:pt x="10181260" y="899165"/>
                </a:cubicBezTo>
                <a:cubicBezTo>
                  <a:pt x="10181260" y="904186"/>
                  <a:pt x="10179791" y="908186"/>
                  <a:pt x="10176853" y="911166"/>
                </a:cubicBezTo>
                <a:cubicBezTo>
                  <a:pt x="10173915" y="914186"/>
                  <a:pt x="10169997" y="915697"/>
                  <a:pt x="10165060" y="915697"/>
                </a:cubicBezTo>
                <a:cubicBezTo>
                  <a:pt x="10160164" y="915697"/>
                  <a:pt x="10156368" y="914186"/>
                  <a:pt x="10153675" y="911247"/>
                </a:cubicBezTo>
                <a:cubicBezTo>
                  <a:pt x="10150941" y="908309"/>
                  <a:pt x="10149594" y="904268"/>
                  <a:pt x="10149594" y="899165"/>
                </a:cubicBezTo>
                <a:cubicBezTo>
                  <a:pt x="10149594" y="899165"/>
                  <a:pt x="10149594" y="899165"/>
                  <a:pt x="10149594" y="853367"/>
                </a:cubicBezTo>
                <a:cubicBezTo>
                  <a:pt x="10149594" y="852388"/>
                  <a:pt x="10149105" y="851898"/>
                  <a:pt x="10148126" y="851898"/>
                </a:cubicBezTo>
                <a:cubicBezTo>
                  <a:pt x="10148126" y="851898"/>
                  <a:pt x="10148126" y="851898"/>
                  <a:pt x="10137108" y="851898"/>
                </a:cubicBezTo>
                <a:close/>
                <a:moveTo>
                  <a:pt x="11368625" y="851081"/>
                </a:moveTo>
                <a:cubicBezTo>
                  <a:pt x="11360970" y="851081"/>
                  <a:pt x="11354944" y="854549"/>
                  <a:pt x="11350546" y="861404"/>
                </a:cubicBezTo>
                <a:cubicBezTo>
                  <a:pt x="11350424" y="861608"/>
                  <a:pt x="11350302" y="861689"/>
                  <a:pt x="11350180" y="861649"/>
                </a:cubicBezTo>
                <a:cubicBezTo>
                  <a:pt x="11350017" y="861567"/>
                  <a:pt x="11349935" y="861404"/>
                  <a:pt x="11349935" y="861118"/>
                </a:cubicBezTo>
                <a:cubicBezTo>
                  <a:pt x="11349935" y="861118"/>
                  <a:pt x="11349935" y="861118"/>
                  <a:pt x="11349935" y="853325"/>
                </a:cubicBezTo>
                <a:cubicBezTo>
                  <a:pt x="11349935" y="852346"/>
                  <a:pt x="11349447" y="851856"/>
                  <a:pt x="11348469" y="851856"/>
                </a:cubicBezTo>
                <a:cubicBezTo>
                  <a:pt x="11348469" y="851856"/>
                  <a:pt x="11348469" y="851856"/>
                  <a:pt x="11337313" y="851856"/>
                </a:cubicBezTo>
                <a:cubicBezTo>
                  <a:pt x="11336336" y="851856"/>
                  <a:pt x="11335847" y="852346"/>
                  <a:pt x="11335847" y="853325"/>
                </a:cubicBezTo>
                <a:cubicBezTo>
                  <a:pt x="11335847" y="853325"/>
                  <a:pt x="11335847" y="853325"/>
                  <a:pt x="11335847" y="925343"/>
                </a:cubicBezTo>
                <a:cubicBezTo>
                  <a:pt x="11335847" y="926322"/>
                  <a:pt x="11336336" y="926811"/>
                  <a:pt x="11337313" y="926811"/>
                </a:cubicBezTo>
                <a:cubicBezTo>
                  <a:pt x="11337313" y="926811"/>
                  <a:pt x="11337313" y="926811"/>
                  <a:pt x="11348469" y="926811"/>
                </a:cubicBezTo>
                <a:cubicBezTo>
                  <a:pt x="11349447" y="926811"/>
                  <a:pt x="11349935" y="926322"/>
                  <a:pt x="11349935" y="925343"/>
                </a:cubicBezTo>
                <a:cubicBezTo>
                  <a:pt x="11349935" y="925343"/>
                  <a:pt x="11349935" y="925343"/>
                  <a:pt x="11349935" y="882336"/>
                </a:cubicBezTo>
                <a:cubicBezTo>
                  <a:pt x="11349935" y="877521"/>
                  <a:pt x="11351442" y="873604"/>
                  <a:pt x="11354414" y="870625"/>
                </a:cubicBezTo>
                <a:cubicBezTo>
                  <a:pt x="11357427" y="867606"/>
                  <a:pt x="11361214" y="866015"/>
                  <a:pt x="11365815" y="865851"/>
                </a:cubicBezTo>
                <a:cubicBezTo>
                  <a:pt x="11365815" y="865851"/>
                  <a:pt x="11365815" y="865851"/>
                  <a:pt x="11367892" y="865688"/>
                </a:cubicBezTo>
                <a:cubicBezTo>
                  <a:pt x="11370131" y="865688"/>
                  <a:pt x="11372086" y="866015"/>
                  <a:pt x="11373755" y="866708"/>
                </a:cubicBezTo>
                <a:cubicBezTo>
                  <a:pt x="11374854" y="866994"/>
                  <a:pt x="11375424" y="866708"/>
                  <a:pt x="11375506" y="865851"/>
                </a:cubicBezTo>
                <a:cubicBezTo>
                  <a:pt x="11375506" y="865851"/>
                  <a:pt x="11375506" y="865851"/>
                  <a:pt x="11377867" y="854794"/>
                </a:cubicBezTo>
                <a:cubicBezTo>
                  <a:pt x="11378071" y="853896"/>
                  <a:pt x="11377827" y="853325"/>
                  <a:pt x="11377135" y="852998"/>
                </a:cubicBezTo>
                <a:cubicBezTo>
                  <a:pt x="11374610" y="851734"/>
                  <a:pt x="11371760" y="851081"/>
                  <a:pt x="11368625" y="851081"/>
                </a:cubicBezTo>
                <a:close/>
                <a:moveTo>
                  <a:pt x="11063455" y="851081"/>
                </a:moveTo>
                <a:cubicBezTo>
                  <a:pt x="11054913" y="851081"/>
                  <a:pt x="11048047" y="853044"/>
                  <a:pt x="11042897" y="856930"/>
                </a:cubicBezTo>
                <a:cubicBezTo>
                  <a:pt x="11037706" y="860816"/>
                  <a:pt x="11035131" y="866052"/>
                  <a:pt x="11035131" y="872679"/>
                </a:cubicBezTo>
                <a:cubicBezTo>
                  <a:pt x="11035131" y="877383"/>
                  <a:pt x="11036439" y="881228"/>
                  <a:pt x="11039055" y="884255"/>
                </a:cubicBezTo>
                <a:cubicBezTo>
                  <a:pt x="11041671" y="887241"/>
                  <a:pt x="11044858" y="889573"/>
                  <a:pt x="11048619" y="891209"/>
                </a:cubicBezTo>
                <a:cubicBezTo>
                  <a:pt x="11052420" y="892804"/>
                  <a:pt x="11057120" y="894399"/>
                  <a:pt x="11062719" y="895995"/>
                </a:cubicBezTo>
                <a:cubicBezTo>
                  <a:pt x="11068441" y="897549"/>
                  <a:pt x="11072569" y="899063"/>
                  <a:pt x="11075144" y="900494"/>
                </a:cubicBezTo>
                <a:cubicBezTo>
                  <a:pt x="11077678" y="901926"/>
                  <a:pt x="11078945" y="904053"/>
                  <a:pt x="11078945" y="906917"/>
                </a:cubicBezTo>
                <a:cubicBezTo>
                  <a:pt x="11078945" y="909862"/>
                  <a:pt x="11077596" y="912316"/>
                  <a:pt x="11074817" y="914239"/>
                </a:cubicBezTo>
                <a:cubicBezTo>
                  <a:pt x="11072079" y="916161"/>
                  <a:pt x="11068482" y="917102"/>
                  <a:pt x="11064068" y="917102"/>
                </a:cubicBezTo>
                <a:cubicBezTo>
                  <a:pt x="11059450" y="917102"/>
                  <a:pt x="11055608" y="916079"/>
                  <a:pt x="11052624" y="913993"/>
                </a:cubicBezTo>
                <a:cubicBezTo>
                  <a:pt x="11049641" y="911948"/>
                  <a:pt x="11048128" y="909534"/>
                  <a:pt x="11048128" y="906753"/>
                </a:cubicBezTo>
                <a:cubicBezTo>
                  <a:pt x="11048128" y="906753"/>
                  <a:pt x="11048128" y="906753"/>
                  <a:pt x="11048128" y="906017"/>
                </a:cubicBezTo>
                <a:cubicBezTo>
                  <a:pt x="11048128" y="905035"/>
                  <a:pt x="11047638" y="904544"/>
                  <a:pt x="11046657" y="904544"/>
                </a:cubicBezTo>
                <a:cubicBezTo>
                  <a:pt x="11046657" y="904544"/>
                  <a:pt x="11046657" y="904544"/>
                  <a:pt x="11036030" y="904544"/>
                </a:cubicBezTo>
                <a:cubicBezTo>
                  <a:pt x="11035049" y="904544"/>
                  <a:pt x="11034559" y="905035"/>
                  <a:pt x="11034559" y="906017"/>
                </a:cubicBezTo>
                <a:cubicBezTo>
                  <a:pt x="11034559" y="906017"/>
                  <a:pt x="11034559" y="906017"/>
                  <a:pt x="11034559" y="907653"/>
                </a:cubicBezTo>
                <a:cubicBezTo>
                  <a:pt x="11034559" y="911375"/>
                  <a:pt x="11035785" y="914811"/>
                  <a:pt x="11038237" y="917920"/>
                </a:cubicBezTo>
                <a:cubicBezTo>
                  <a:pt x="11040690" y="921029"/>
                  <a:pt x="11044164" y="923442"/>
                  <a:pt x="11048619" y="925242"/>
                </a:cubicBezTo>
                <a:cubicBezTo>
                  <a:pt x="11053115" y="927001"/>
                  <a:pt x="11058305" y="927901"/>
                  <a:pt x="11064191" y="927901"/>
                </a:cubicBezTo>
                <a:cubicBezTo>
                  <a:pt x="11072978" y="927901"/>
                  <a:pt x="11079967" y="925897"/>
                  <a:pt x="11085239" y="921970"/>
                </a:cubicBezTo>
                <a:cubicBezTo>
                  <a:pt x="11090471" y="918043"/>
                  <a:pt x="11093128" y="912725"/>
                  <a:pt x="11093128" y="906017"/>
                </a:cubicBezTo>
                <a:cubicBezTo>
                  <a:pt x="11093128" y="901190"/>
                  <a:pt x="11091779" y="897304"/>
                  <a:pt x="11089122" y="894277"/>
                </a:cubicBezTo>
                <a:cubicBezTo>
                  <a:pt x="11086465" y="891291"/>
                  <a:pt x="11083278" y="889041"/>
                  <a:pt x="11079477" y="887486"/>
                </a:cubicBezTo>
                <a:cubicBezTo>
                  <a:pt x="11075676" y="885973"/>
                  <a:pt x="11070935" y="884419"/>
                  <a:pt x="11065253" y="882864"/>
                </a:cubicBezTo>
                <a:cubicBezTo>
                  <a:pt x="11059450" y="881187"/>
                  <a:pt x="11055240" y="879592"/>
                  <a:pt x="11052624" y="878119"/>
                </a:cubicBezTo>
                <a:cubicBezTo>
                  <a:pt x="11050008" y="876647"/>
                  <a:pt x="11048700" y="874479"/>
                  <a:pt x="11048700" y="871615"/>
                </a:cubicBezTo>
                <a:cubicBezTo>
                  <a:pt x="11048700" y="868752"/>
                  <a:pt x="11050049" y="866502"/>
                  <a:pt x="11052747" y="864825"/>
                </a:cubicBezTo>
                <a:cubicBezTo>
                  <a:pt x="11055485" y="863148"/>
                  <a:pt x="11059000" y="862330"/>
                  <a:pt x="11063332" y="862330"/>
                </a:cubicBezTo>
                <a:cubicBezTo>
                  <a:pt x="11068155" y="862330"/>
                  <a:pt x="11071956" y="863270"/>
                  <a:pt x="11074736" y="865193"/>
                </a:cubicBezTo>
                <a:cubicBezTo>
                  <a:pt x="11077556" y="867116"/>
                  <a:pt x="11078945" y="869488"/>
                  <a:pt x="11078945" y="872351"/>
                </a:cubicBezTo>
                <a:cubicBezTo>
                  <a:pt x="11078945" y="872351"/>
                  <a:pt x="11078945" y="872351"/>
                  <a:pt x="11078945" y="872801"/>
                </a:cubicBezTo>
                <a:cubicBezTo>
                  <a:pt x="11078945" y="873783"/>
                  <a:pt x="11079436" y="874274"/>
                  <a:pt x="11080417" y="874274"/>
                </a:cubicBezTo>
                <a:cubicBezTo>
                  <a:pt x="11080417" y="874274"/>
                  <a:pt x="11080417" y="874274"/>
                  <a:pt x="11090757" y="874274"/>
                </a:cubicBezTo>
                <a:cubicBezTo>
                  <a:pt x="11091738" y="874274"/>
                  <a:pt x="11092229" y="873783"/>
                  <a:pt x="11092229" y="872801"/>
                </a:cubicBezTo>
                <a:cubicBezTo>
                  <a:pt x="11092229" y="872801"/>
                  <a:pt x="11092229" y="872801"/>
                  <a:pt x="11092229" y="872351"/>
                </a:cubicBezTo>
                <a:cubicBezTo>
                  <a:pt x="11092229" y="868343"/>
                  <a:pt x="11091043" y="864661"/>
                  <a:pt x="11088713" y="861430"/>
                </a:cubicBezTo>
                <a:cubicBezTo>
                  <a:pt x="11086343" y="858198"/>
                  <a:pt x="11082951" y="855662"/>
                  <a:pt x="11078577" y="853821"/>
                </a:cubicBezTo>
                <a:cubicBezTo>
                  <a:pt x="11074204" y="852021"/>
                  <a:pt x="11069177" y="851081"/>
                  <a:pt x="11063455" y="851081"/>
                </a:cubicBezTo>
                <a:close/>
                <a:moveTo>
                  <a:pt x="10463065" y="851081"/>
                </a:moveTo>
                <a:cubicBezTo>
                  <a:pt x="10455401" y="851081"/>
                  <a:pt x="10449336" y="854549"/>
                  <a:pt x="10444869" y="861404"/>
                </a:cubicBezTo>
                <a:cubicBezTo>
                  <a:pt x="10444787" y="861608"/>
                  <a:pt x="10444665" y="861689"/>
                  <a:pt x="10444501" y="861649"/>
                </a:cubicBezTo>
                <a:cubicBezTo>
                  <a:pt x="10444378" y="861567"/>
                  <a:pt x="10444296" y="861404"/>
                  <a:pt x="10444296" y="861118"/>
                </a:cubicBezTo>
                <a:cubicBezTo>
                  <a:pt x="10444296" y="861118"/>
                  <a:pt x="10444296" y="861118"/>
                  <a:pt x="10444296" y="853325"/>
                </a:cubicBezTo>
                <a:cubicBezTo>
                  <a:pt x="10444296" y="852346"/>
                  <a:pt x="10443804" y="851856"/>
                  <a:pt x="10442821" y="851856"/>
                </a:cubicBezTo>
                <a:cubicBezTo>
                  <a:pt x="10442821" y="851856"/>
                  <a:pt x="10442821" y="851856"/>
                  <a:pt x="10431551" y="851856"/>
                </a:cubicBezTo>
                <a:cubicBezTo>
                  <a:pt x="10430567" y="851856"/>
                  <a:pt x="10430076" y="852346"/>
                  <a:pt x="10430076" y="853325"/>
                </a:cubicBezTo>
                <a:cubicBezTo>
                  <a:pt x="10430076" y="853325"/>
                  <a:pt x="10430076" y="853325"/>
                  <a:pt x="10430076" y="925343"/>
                </a:cubicBezTo>
                <a:cubicBezTo>
                  <a:pt x="10430076" y="926322"/>
                  <a:pt x="10430567" y="926811"/>
                  <a:pt x="10431551" y="926811"/>
                </a:cubicBezTo>
                <a:cubicBezTo>
                  <a:pt x="10431551" y="926811"/>
                  <a:pt x="10431551" y="926811"/>
                  <a:pt x="10442821" y="926811"/>
                </a:cubicBezTo>
                <a:cubicBezTo>
                  <a:pt x="10443804" y="926811"/>
                  <a:pt x="10444296" y="926322"/>
                  <a:pt x="10444296" y="925343"/>
                </a:cubicBezTo>
                <a:cubicBezTo>
                  <a:pt x="10444296" y="925343"/>
                  <a:pt x="10444296" y="925343"/>
                  <a:pt x="10444296" y="882336"/>
                </a:cubicBezTo>
                <a:cubicBezTo>
                  <a:pt x="10444296" y="877521"/>
                  <a:pt x="10445771" y="873604"/>
                  <a:pt x="10448804" y="870625"/>
                </a:cubicBezTo>
                <a:cubicBezTo>
                  <a:pt x="10451795" y="867606"/>
                  <a:pt x="10455647" y="866015"/>
                  <a:pt x="10460278" y="865851"/>
                </a:cubicBezTo>
                <a:cubicBezTo>
                  <a:pt x="10460278" y="865851"/>
                  <a:pt x="10460278" y="865851"/>
                  <a:pt x="10462327" y="865688"/>
                </a:cubicBezTo>
                <a:cubicBezTo>
                  <a:pt x="10464622" y="865688"/>
                  <a:pt x="10466589" y="866015"/>
                  <a:pt x="10468269" y="866708"/>
                </a:cubicBezTo>
                <a:cubicBezTo>
                  <a:pt x="10469335" y="866994"/>
                  <a:pt x="10469950" y="866708"/>
                  <a:pt x="10470031" y="865851"/>
                </a:cubicBezTo>
                <a:cubicBezTo>
                  <a:pt x="10470031" y="865851"/>
                  <a:pt x="10470031" y="865851"/>
                  <a:pt x="10472408" y="854794"/>
                </a:cubicBezTo>
                <a:cubicBezTo>
                  <a:pt x="10472572" y="853896"/>
                  <a:pt x="10472326" y="853325"/>
                  <a:pt x="10471671" y="852998"/>
                </a:cubicBezTo>
                <a:cubicBezTo>
                  <a:pt x="10469089" y="851734"/>
                  <a:pt x="10466220" y="851081"/>
                  <a:pt x="10463065" y="851081"/>
                </a:cubicBezTo>
                <a:close/>
                <a:moveTo>
                  <a:pt x="11621290" y="850808"/>
                </a:moveTo>
                <a:cubicBezTo>
                  <a:pt x="11613047" y="850808"/>
                  <a:pt x="11606803" y="853501"/>
                  <a:pt x="11602560" y="858927"/>
                </a:cubicBezTo>
                <a:cubicBezTo>
                  <a:pt x="11602478" y="859131"/>
                  <a:pt x="11602356" y="859171"/>
                  <a:pt x="11602192" y="859049"/>
                </a:cubicBezTo>
                <a:cubicBezTo>
                  <a:pt x="11602070" y="858968"/>
                  <a:pt x="11601988" y="858804"/>
                  <a:pt x="11601988" y="858641"/>
                </a:cubicBezTo>
                <a:cubicBezTo>
                  <a:pt x="11601988" y="858641"/>
                  <a:pt x="11601988" y="858641"/>
                  <a:pt x="11601988" y="853338"/>
                </a:cubicBezTo>
                <a:cubicBezTo>
                  <a:pt x="11601988" y="852358"/>
                  <a:pt x="11601499" y="851869"/>
                  <a:pt x="11600519" y="851869"/>
                </a:cubicBezTo>
                <a:cubicBezTo>
                  <a:pt x="11600519" y="851869"/>
                  <a:pt x="11600519" y="851869"/>
                  <a:pt x="11589339" y="851869"/>
                </a:cubicBezTo>
                <a:cubicBezTo>
                  <a:pt x="11588359" y="851869"/>
                  <a:pt x="11587829" y="852358"/>
                  <a:pt x="11587829" y="853338"/>
                </a:cubicBezTo>
                <a:cubicBezTo>
                  <a:pt x="11587829" y="853338"/>
                  <a:pt x="11587829" y="853338"/>
                  <a:pt x="11587829" y="925343"/>
                </a:cubicBezTo>
                <a:cubicBezTo>
                  <a:pt x="11587829" y="926322"/>
                  <a:pt x="11588359" y="926812"/>
                  <a:pt x="11589339" y="926812"/>
                </a:cubicBezTo>
                <a:cubicBezTo>
                  <a:pt x="11589339" y="926812"/>
                  <a:pt x="11589339" y="926812"/>
                  <a:pt x="11600519" y="926812"/>
                </a:cubicBezTo>
                <a:cubicBezTo>
                  <a:pt x="11601499" y="926812"/>
                  <a:pt x="11601988" y="926322"/>
                  <a:pt x="11601988" y="925343"/>
                </a:cubicBezTo>
                <a:cubicBezTo>
                  <a:pt x="11601988" y="925343"/>
                  <a:pt x="11601988" y="925343"/>
                  <a:pt x="11601988" y="879406"/>
                </a:cubicBezTo>
                <a:cubicBezTo>
                  <a:pt x="11601988" y="874592"/>
                  <a:pt x="11603457" y="870635"/>
                  <a:pt x="11606395" y="867616"/>
                </a:cubicBezTo>
                <a:cubicBezTo>
                  <a:pt x="11609374" y="864557"/>
                  <a:pt x="11613128" y="863047"/>
                  <a:pt x="11617739" y="863047"/>
                </a:cubicBezTo>
                <a:cubicBezTo>
                  <a:pt x="11622473" y="863047"/>
                  <a:pt x="11626227" y="864557"/>
                  <a:pt x="11629084" y="867616"/>
                </a:cubicBezTo>
                <a:cubicBezTo>
                  <a:pt x="11631940" y="870635"/>
                  <a:pt x="11633368" y="874633"/>
                  <a:pt x="11633368" y="879529"/>
                </a:cubicBezTo>
                <a:cubicBezTo>
                  <a:pt x="11633368" y="879529"/>
                  <a:pt x="11633368" y="879529"/>
                  <a:pt x="11633368" y="925343"/>
                </a:cubicBezTo>
                <a:cubicBezTo>
                  <a:pt x="11633368" y="926322"/>
                  <a:pt x="11633858" y="926812"/>
                  <a:pt x="11634837" y="926812"/>
                </a:cubicBezTo>
                <a:cubicBezTo>
                  <a:pt x="11634837" y="926812"/>
                  <a:pt x="11634837" y="926812"/>
                  <a:pt x="11646018" y="926812"/>
                </a:cubicBezTo>
                <a:cubicBezTo>
                  <a:pt x="11646997" y="926812"/>
                  <a:pt x="11647487" y="926322"/>
                  <a:pt x="11647487" y="925343"/>
                </a:cubicBezTo>
                <a:cubicBezTo>
                  <a:pt x="11647487" y="925343"/>
                  <a:pt x="11647487" y="925343"/>
                  <a:pt x="11647487" y="876755"/>
                </a:cubicBezTo>
                <a:cubicBezTo>
                  <a:pt x="11647487" y="868799"/>
                  <a:pt x="11645161" y="862476"/>
                  <a:pt x="11640428" y="857825"/>
                </a:cubicBezTo>
                <a:cubicBezTo>
                  <a:pt x="11635735" y="853134"/>
                  <a:pt x="11629328" y="850808"/>
                  <a:pt x="11621290" y="850808"/>
                </a:cubicBezTo>
                <a:close/>
                <a:moveTo>
                  <a:pt x="11537603" y="850808"/>
                </a:moveTo>
                <a:cubicBezTo>
                  <a:pt x="11530024" y="850808"/>
                  <a:pt x="11523626" y="852765"/>
                  <a:pt x="11518329" y="856678"/>
                </a:cubicBezTo>
                <a:cubicBezTo>
                  <a:pt x="11513032" y="860591"/>
                  <a:pt x="11509487" y="865931"/>
                  <a:pt x="11507735" y="872738"/>
                </a:cubicBezTo>
                <a:cubicBezTo>
                  <a:pt x="11506635" y="876447"/>
                  <a:pt x="11506105" y="881909"/>
                  <a:pt x="11506105" y="889043"/>
                </a:cubicBezTo>
                <a:cubicBezTo>
                  <a:pt x="11506105" y="897276"/>
                  <a:pt x="11507287" y="904287"/>
                  <a:pt x="11509650" y="910076"/>
                </a:cubicBezTo>
                <a:cubicBezTo>
                  <a:pt x="11512095" y="915863"/>
                  <a:pt x="11515762" y="920347"/>
                  <a:pt x="11520652" y="923486"/>
                </a:cubicBezTo>
                <a:cubicBezTo>
                  <a:pt x="11525582" y="926625"/>
                  <a:pt x="11531613" y="928174"/>
                  <a:pt x="11538744" y="928174"/>
                </a:cubicBezTo>
                <a:cubicBezTo>
                  <a:pt x="11545141" y="928174"/>
                  <a:pt x="11550846" y="926910"/>
                  <a:pt x="11555899" y="924342"/>
                </a:cubicBezTo>
                <a:cubicBezTo>
                  <a:pt x="11560951" y="921815"/>
                  <a:pt x="11564863" y="918350"/>
                  <a:pt x="11567593" y="913907"/>
                </a:cubicBezTo>
                <a:cubicBezTo>
                  <a:pt x="11568001" y="913214"/>
                  <a:pt x="11567837" y="912603"/>
                  <a:pt x="11567145" y="911991"/>
                </a:cubicBezTo>
                <a:cubicBezTo>
                  <a:pt x="11567145" y="911991"/>
                  <a:pt x="11567145" y="911991"/>
                  <a:pt x="11558751" y="906407"/>
                </a:cubicBezTo>
                <a:cubicBezTo>
                  <a:pt x="11557977" y="905714"/>
                  <a:pt x="11557325" y="905877"/>
                  <a:pt x="11556836" y="906855"/>
                </a:cubicBezTo>
                <a:cubicBezTo>
                  <a:pt x="11552924" y="912847"/>
                  <a:pt x="11547341" y="915823"/>
                  <a:pt x="11540088" y="915823"/>
                </a:cubicBezTo>
                <a:cubicBezTo>
                  <a:pt x="11535077" y="915823"/>
                  <a:pt x="11530961" y="914722"/>
                  <a:pt x="11527660" y="912521"/>
                </a:cubicBezTo>
                <a:cubicBezTo>
                  <a:pt x="11524360" y="910320"/>
                  <a:pt x="11522200" y="907263"/>
                  <a:pt x="11521100" y="903309"/>
                </a:cubicBezTo>
                <a:cubicBezTo>
                  <a:pt x="11520530" y="901556"/>
                  <a:pt x="11520244" y="898988"/>
                  <a:pt x="11520244" y="895687"/>
                </a:cubicBezTo>
                <a:cubicBezTo>
                  <a:pt x="11520244" y="895279"/>
                  <a:pt x="11520407" y="895075"/>
                  <a:pt x="11520815" y="895075"/>
                </a:cubicBezTo>
                <a:cubicBezTo>
                  <a:pt x="11520815" y="895075"/>
                  <a:pt x="11520815" y="895075"/>
                  <a:pt x="11567756" y="895075"/>
                </a:cubicBezTo>
                <a:cubicBezTo>
                  <a:pt x="11568734" y="895075"/>
                  <a:pt x="11569223" y="894586"/>
                  <a:pt x="11569223" y="893608"/>
                </a:cubicBezTo>
                <a:cubicBezTo>
                  <a:pt x="11569305" y="888594"/>
                  <a:pt x="11569182" y="884110"/>
                  <a:pt x="11568775" y="880075"/>
                </a:cubicBezTo>
                <a:cubicBezTo>
                  <a:pt x="11567675" y="870455"/>
                  <a:pt x="11564700" y="863200"/>
                  <a:pt x="11559810" y="858227"/>
                </a:cubicBezTo>
                <a:cubicBezTo>
                  <a:pt x="11554880" y="853254"/>
                  <a:pt x="11547505" y="850808"/>
                  <a:pt x="11537603" y="850808"/>
                </a:cubicBezTo>
                <a:close/>
                <a:moveTo>
                  <a:pt x="11415277" y="850808"/>
                </a:moveTo>
                <a:cubicBezTo>
                  <a:pt x="11408785" y="850808"/>
                  <a:pt x="11403149" y="852603"/>
                  <a:pt x="11398412" y="856153"/>
                </a:cubicBezTo>
                <a:cubicBezTo>
                  <a:pt x="11393635" y="859743"/>
                  <a:pt x="11390327" y="864476"/>
                  <a:pt x="11388448" y="870392"/>
                </a:cubicBezTo>
                <a:cubicBezTo>
                  <a:pt x="11386978" y="874798"/>
                  <a:pt x="11386243" y="881081"/>
                  <a:pt x="11386243" y="889241"/>
                </a:cubicBezTo>
                <a:cubicBezTo>
                  <a:pt x="11386243" y="896911"/>
                  <a:pt x="11386897" y="902868"/>
                  <a:pt x="11388163" y="907192"/>
                </a:cubicBezTo>
                <a:cubicBezTo>
                  <a:pt x="11390123" y="913679"/>
                  <a:pt x="11393675" y="918575"/>
                  <a:pt x="11398821" y="921920"/>
                </a:cubicBezTo>
                <a:cubicBezTo>
                  <a:pt x="11404007" y="925266"/>
                  <a:pt x="11409765" y="926939"/>
                  <a:pt x="11416176" y="926939"/>
                </a:cubicBezTo>
                <a:cubicBezTo>
                  <a:pt x="11424139" y="926939"/>
                  <a:pt x="11430182" y="924532"/>
                  <a:pt x="11434307" y="919717"/>
                </a:cubicBezTo>
                <a:cubicBezTo>
                  <a:pt x="11434511" y="919513"/>
                  <a:pt x="11434674" y="919473"/>
                  <a:pt x="11434797" y="919554"/>
                </a:cubicBezTo>
                <a:cubicBezTo>
                  <a:pt x="11434960" y="919676"/>
                  <a:pt x="11435042" y="919799"/>
                  <a:pt x="11435042" y="920003"/>
                </a:cubicBezTo>
                <a:cubicBezTo>
                  <a:pt x="11435042" y="920003"/>
                  <a:pt x="11435042" y="920003"/>
                  <a:pt x="11435042" y="922655"/>
                </a:cubicBezTo>
                <a:cubicBezTo>
                  <a:pt x="11435042" y="930039"/>
                  <a:pt x="11433163" y="935262"/>
                  <a:pt x="11429447" y="938362"/>
                </a:cubicBezTo>
                <a:cubicBezTo>
                  <a:pt x="11425690" y="941463"/>
                  <a:pt x="11419647" y="942973"/>
                  <a:pt x="11411316" y="942973"/>
                </a:cubicBezTo>
                <a:cubicBezTo>
                  <a:pt x="11408662" y="942973"/>
                  <a:pt x="11406620" y="942932"/>
                  <a:pt x="11405273" y="942850"/>
                </a:cubicBezTo>
                <a:cubicBezTo>
                  <a:pt x="11404742" y="942728"/>
                  <a:pt x="11404374" y="942850"/>
                  <a:pt x="11404088" y="943136"/>
                </a:cubicBezTo>
                <a:cubicBezTo>
                  <a:pt x="11403803" y="943421"/>
                  <a:pt x="11403639" y="943789"/>
                  <a:pt x="11403639" y="944156"/>
                </a:cubicBezTo>
                <a:cubicBezTo>
                  <a:pt x="11403639" y="944156"/>
                  <a:pt x="11403639" y="944156"/>
                  <a:pt x="11403190" y="954315"/>
                </a:cubicBezTo>
                <a:cubicBezTo>
                  <a:pt x="11403190" y="955294"/>
                  <a:pt x="11403680" y="955865"/>
                  <a:pt x="11404660" y="955947"/>
                </a:cubicBezTo>
                <a:cubicBezTo>
                  <a:pt x="11408009" y="956151"/>
                  <a:pt x="11410459" y="956232"/>
                  <a:pt x="11412051" y="956232"/>
                </a:cubicBezTo>
                <a:cubicBezTo>
                  <a:pt x="11423322" y="956232"/>
                  <a:pt x="11432347" y="953703"/>
                  <a:pt x="11439084" y="948603"/>
                </a:cubicBezTo>
                <a:cubicBezTo>
                  <a:pt x="11445822" y="943462"/>
                  <a:pt x="11449171" y="934976"/>
                  <a:pt x="11449171" y="923104"/>
                </a:cubicBezTo>
                <a:cubicBezTo>
                  <a:pt x="11449171" y="923104"/>
                  <a:pt x="11449171" y="923104"/>
                  <a:pt x="11449171" y="853460"/>
                </a:cubicBezTo>
                <a:cubicBezTo>
                  <a:pt x="11449171" y="852481"/>
                  <a:pt x="11448681" y="851991"/>
                  <a:pt x="11447701" y="851991"/>
                </a:cubicBezTo>
                <a:cubicBezTo>
                  <a:pt x="11447701" y="851991"/>
                  <a:pt x="11447701" y="851991"/>
                  <a:pt x="11436512" y="851991"/>
                </a:cubicBezTo>
                <a:cubicBezTo>
                  <a:pt x="11435532" y="851991"/>
                  <a:pt x="11435042" y="852481"/>
                  <a:pt x="11435042" y="853460"/>
                </a:cubicBezTo>
                <a:cubicBezTo>
                  <a:pt x="11435042" y="853460"/>
                  <a:pt x="11435042" y="853460"/>
                  <a:pt x="11435042" y="858030"/>
                </a:cubicBezTo>
                <a:cubicBezTo>
                  <a:pt x="11435042" y="858193"/>
                  <a:pt x="11434960" y="858315"/>
                  <a:pt x="11434797" y="858397"/>
                </a:cubicBezTo>
                <a:cubicBezTo>
                  <a:pt x="11434674" y="858438"/>
                  <a:pt x="11434511" y="858356"/>
                  <a:pt x="11434307" y="858152"/>
                </a:cubicBezTo>
                <a:cubicBezTo>
                  <a:pt x="11429692" y="853256"/>
                  <a:pt x="11423322" y="850808"/>
                  <a:pt x="11415277" y="850808"/>
                </a:cubicBezTo>
                <a:close/>
                <a:moveTo>
                  <a:pt x="11285716" y="850808"/>
                </a:moveTo>
                <a:cubicBezTo>
                  <a:pt x="11278145" y="850808"/>
                  <a:pt x="11271720" y="852765"/>
                  <a:pt x="11266400" y="856678"/>
                </a:cubicBezTo>
                <a:cubicBezTo>
                  <a:pt x="11261080" y="860591"/>
                  <a:pt x="11257520" y="865931"/>
                  <a:pt x="11255760" y="872738"/>
                </a:cubicBezTo>
                <a:cubicBezTo>
                  <a:pt x="11254655" y="876447"/>
                  <a:pt x="11254123" y="881909"/>
                  <a:pt x="11254123" y="889043"/>
                </a:cubicBezTo>
                <a:cubicBezTo>
                  <a:pt x="11254123" y="897276"/>
                  <a:pt x="11255310" y="904287"/>
                  <a:pt x="11257684" y="910076"/>
                </a:cubicBezTo>
                <a:cubicBezTo>
                  <a:pt x="11260139" y="915863"/>
                  <a:pt x="11263822" y="920347"/>
                  <a:pt x="11268733" y="923486"/>
                </a:cubicBezTo>
                <a:cubicBezTo>
                  <a:pt x="11273685" y="926625"/>
                  <a:pt x="11279741" y="928174"/>
                  <a:pt x="11286903" y="928174"/>
                </a:cubicBezTo>
                <a:cubicBezTo>
                  <a:pt x="11293328" y="928174"/>
                  <a:pt x="11299057" y="926910"/>
                  <a:pt x="11304132" y="924342"/>
                </a:cubicBezTo>
                <a:cubicBezTo>
                  <a:pt x="11309206" y="921815"/>
                  <a:pt x="11313135" y="918350"/>
                  <a:pt x="11315877" y="913907"/>
                </a:cubicBezTo>
                <a:cubicBezTo>
                  <a:pt x="11316245" y="913214"/>
                  <a:pt x="11316122" y="912603"/>
                  <a:pt x="11315427" y="911991"/>
                </a:cubicBezTo>
                <a:cubicBezTo>
                  <a:pt x="11315427" y="911991"/>
                  <a:pt x="11315427" y="911991"/>
                  <a:pt x="11306996" y="906407"/>
                </a:cubicBezTo>
                <a:cubicBezTo>
                  <a:pt x="11306219" y="905714"/>
                  <a:pt x="11305564" y="905877"/>
                  <a:pt x="11305073" y="906855"/>
                </a:cubicBezTo>
                <a:cubicBezTo>
                  <a:pt x="11301144" y="912847"/>
                  <a:pt x="11295538" y="915823"/>
                  <a:pt x="11288253" y="915823"/>
                </a:cubicBezTo>
                <a:cubicBezTo>
                  <a:pt x="11283220" y="915823"/>
                  <a:pt x="11279046" y="914722"/>
                  <a:pt x="11275772" y="912521"/>
                </a:cubicBezTo>
                <a:cubicBezTo>
                  <a:pt x="11272457" y="910320"/>
                  <a:pt x="11270288" y="907263"/>
                  <a:pt x="11269183" y="903309"/>
                </a:cubicBezTo>
                <a:cubicBezTo>
                  <a:pt x="11268610" y="901556"/>
                  <a:pt x="11268324" y="898988"/>
                  <a:pt x="11268324" y="895687"/>
                </a:cubicBezTo>
                <a:cubicBezTo>
                  <a:pt x="11268324" y="895279"/>
                  <a:pt x="11268487" y="895075"/>
                  <a:pt x="11268897" y="895075"/>
                </a:cubicBezTo>
                <a:cubicBezTo>
                  <a:pt x="11268897" y="895075"/>
                  <a:pt x="11268897" y="895075"/>
                  <a:pt x="11315999" y="895075"/>
                </a:cubicBezTo>
                <a:cubicBezTo>
                  <a:pt x="11316982" y="895075"/>
                  <a:pt x="11317514" y="894586"/>
                  <a:pt x="11317514" y="893608"/>
                </a:cubicBezTo>
                <a:cubicBezTo>
                  <a:pt x="11317595" y="888594"/>
                  <a:pt x="11317432" y="884110"/>
                  <a:pt x="11317064" y="880075"/>
                </a:cubicBezTo>
                <a:cubicBezTo>
                  <a:pt x="11315959" y="870455"/>
                  <a:pt x="11312971" y="863200"/>
                  <a:pt x="11308060" y="858227"/>
                </a:cubicBezTo>
                <a:cubicBezTo>
                  <a:pt x="11303109" y="853254"/>
                  <a:pt x="11295701" y="850808"/>
                  <a:pt x="11285716" y="850808"/>
                </a:cubicBezTo>
                <a:close/>
                <a:moveTo>
                  <a:pt x="11209906" y="850808"/>
                </a:moveTo>
                <a:cubicBezTo>
                  <a:pt x="11201663" y="850808"/>
                  <a:pt x="11195420" y="853501"/>
                  <a:pt x="11191217" y="858927"/>
                </a:cubicBezTo>
                <a:cubicBezTo>
                  <a:pt x="11191094" y="859131"/>
                  <a:pt x="11190972" y="859171"/>
                  <a:pt x="11190849" y="859049"/>
                </a:cubicBezTo>
                <a:cubicBezTo>
                  <a:pt x="11190686" y="858968"/>
                  <a:pt x="11190605" y="858804"/>
                  <a:pt x="11190605" y="858641"/>
                </a:cubicBezTo>
                <a:cubicBezTo>
                  <a:pt x="11190605" y="858641"/>
                  <a:pt x="11190605" y="858641"/>
                  <a:pt x="11190605" y="853338"/>
                </a:cubicBezTo>
                <a:cubicBezTo>
                  <a:pt x="11190605" y="852358"/>
                  <a:pt x="11190115" y="851869"/>
                  <a:pt x="11189136" y="851869"/>
                </a:cubicBezTo>
                <a:cubicBezTo>
                  <a:pt x="11189136" y="851869"/>
                  <a:pt x="11189136" y="851869"/>
                  <a:pt x="11177955" y="851869"/>
                </a:cubicBezTo>
                <a:cubicBezTo>
                  <a:pt x="11176975" y="851869"/>
                  <a:pt x="11176486" y="852358"/>
                  <a:pt x="11176486" y="853338"/>
                </a:cubicBezTo>
                <a:cubicBezTo>
                  <a:pt x="11176486" y="853338"/>
                  <a:pt x="11176486" y="853338"/>
                  <a:pt x="11176486" y="925343"/>
                </a:cubicBezTo>
                <a:cubicBezTo>
                  <a:pt x="11176486" y="926322"/>
                  <a:pt x="11176975" y="926812"/>
                  <a:pt x="11177955" y="926812"/>
                </a:cubicBezTo>
                <a:cubicBezTo>
                  <a:pt x="11177955" y="926812"/>
                  <a:pt x="11177955" y="926812"/>
                  <a:pt x="11189136" y="926812"/>
                </a:cubicBezTo>
                <a:cubicBezTo>
                  <a:pt x="11190115" y="926812"/>
                  <a:pt x="11190605" y="926322"/>
                  <a:pt x="11190605" y="925343"/>
                </a:cubicBezTo>
                <a:cubicBezTo>
                  <a:pt x="11190605" y="925343"/>
                  <a:pt x="11190605" y="925343"/>
                  <a:pt x="11190605" y="879406"/>
                </a:cubicBezTo>
                <a:cubicBezTo>
                  <a:pt x="11190605" y="874592"/>
                  <a:pt x="11192073" y="870635"/>
                  <a:pt x="11195012" y="867616"/>
                </a:cubicBezTo>
                <a:cubicBezTo>
                  <a:pt x="11197990" y="864557"/>
                  <a:pt x="11201745" y="863047"/>
                  <a:pt x="11206356" y="863047"/>
                </a:cubicBezTo>
                <a:cubicBezTo>
                  <a:pt x="11211089" y="863047"/>
                  <a:pt x="11214843" y="864557"/>
                  <a:pt x="11217700" y="867616"/>
                </a:cubicBezTo>
                <a:cubicBezTo>
                  <a:pt x="11220556" y="870635"/>
                  <a:pt x="11221984" y="874633"/>
                  <a:pt x="11221984" y="879529"/>
                </a:cubicBezTo>
                <a:cubicBezTo>
                  <a:pt x="11221984" y="879529"/>
                  <a:pt x="11221984" y="879529"/>
                  <a:pt x="11221984" y="925343"/>
                </a:cubicBezTo>
                <a:cubicBezTo>
                  <a:pt x="11221984" y="926322"/>
                  <a:pt x="11222474" y="926812"/>
                  <a:pt x="11223453" y="926812"/>
                </a:cubicBezTo>
                <a:cubicBezTo>
                  <a:pt x="11223453" y="926812"/>
                  <a:pt x="11223453" y="926812"/>
                  <a:pt x="11234634" y="926812"/>
                </a:cubicBezTo>
                <a:cubicBezTo>
                  <a:pt x="11235654" y="926812"/>
                  <a:pt x="11236144" y="926322"/>
                  <a:pt x="11236144" y="925343"/>
                </a:cubicBezTo>
                <a:cubicBezTo>
                  <a:pt x="11236144" y="925343"/>
                  <a:pt x="11236144" y="925343"/>
                  <a:pt x="11236144" y="876755"/>
                </a:cubicBezTo>
                <a:cubicBezTo>
                  <a:pt x="11236144" y="868799"/>
                  <a:pt x="11233777" y="862476"/>
                  <a:pt x="11229044" y="857825"/>
                </a:cubicBezTo>
                <a:cubicBezTo>
                  <a:pt x="11224351" y="853134"/>
                  <a:pt x="11217945" y="850808"/>
                  <a:pt x="11209906" y="850808"/>
                </a:cubicBezTo>
                <a:close/>
                <a:moveTo>
                  <a:pt x="10960417" y="850808"/>
                </a:moveTo>
                <a:cubicBezTo>
                  <a:pt x="10952174" y="850808"/>
                  <a:pt x="10945931" y="853501"/>
                  <a:pt x="10941687" y="858927"/>
                </a:cubicBezTo>
                <a:cubicBezTo>
                  <a:pt x="10941605" y="859131"/>
                  <a:pt x="10941483" y="859171"/>
                  <a:pt x="10941319" y="859049"/>
                </a:cubicBezTo>
                <a:cubicBezTo>
                  <a:pt x="10941197" y="858968"/>
                  <a:pt x="10941115" y="858804"/>
                  <a:pt x="10941115" y="858641"/>
                </a:cubicBezTo>
                <a:cubicBezTo>
                  <a:pt x="10941115" y="858641"/>
                  <a:pt x="10941115" y="858641"/>
                  <a:pt x="10941115" y="853338"/>
                </a:cubicBezTo>
                <a:cubicBezTo>
                  <a:pt x="10941115" y="852358"/>
                  <a:pt x="10940626" y="851869"/>
                  <a:pt x="10939647" y="851869"/>
                </a:cubicBezTo>
                <a:cubicBezTo>
                  <a:pt x="10939647" y="851869"/>
                  <a:pt x="10939647" y="851869"/>
                  <a:pt x="10928425" y="851869"/>
                </a:cubicBezTo>
                <a:cubicBezTo>
                  <a:pt x="10927446" y="851869"/>
                  <a:pt x="10926956" y="852358"/>
                  <a:pt x="10926956" y="853338"/>
                </a:cubicBezTo>
                <a:cubicBezTo>
                  <a:pt x="10926956" y="853338"/>
                  <a:pt x="10926956" y="853338"/>
                  <a:pt x="10926956" y="925343"/>
                </a:cubicBezTo>
                <a:cubicBezTo>
                  <a:pt x="10926956" y="926322"/>
                  <a:pt x="10927446" y="926812"/>
                  <a:pt x="10928425" y="926812"/>
                </a:cubicBezTo>
                <a:cubicBezTo>
                  <a:pt x="10928425" y="926812"/>
                  <a:pt x="10928425" y="926812"/>
                  <a:pt x="10939647" y="926812"/>
                </a:cubicBezTo>
                <a:cubicBezTo>
                  <a:pt x="10940626" y="926812"/>
                  <a:pt x="10941115" y="926322"/>
                  <a:pt x="10941115" y="925343"/>
                </a:cubicBezTo>
                <a:cubicBezTo>
                  <a:pt x="10941115" y="925343"/>
                  <a:pt x="10941115" y="925343"/>
                  <a:pt x="10941115" y="879406"/>
                </a:cubicBezTo>
                <a:cubicBezTo>
                  <a:pt x="10941115" y="874592"/>
                  <a:pt x="10942585" y="870635"/>
                  <a:pt x="10945523" y="867616"/>
                </a:cubicBezTo>
                <a:cubicBezTo>
                  <a:pt x="10948461" y="864557"/>
                  <a:pt x="10952256" y="863047"/>
                  <a:pt x="10956867" y="863047"/>
                </a:cubicBezTo>
                <a:cubicBezTo>
                  <a:pt x="10961600" y="863047"/>
                  <a:pt x="10965354" y="864557"/>
                  <a:pt x="10968211" y="867616"/>
                </a:cubicBezTo>
                <a:cubicBezTo>
                  <a:pt x="10971067" y="870635"/>
                  <a:pt x="10972495" y="874633"/>
                  <a:pt x="10972495" y="879529"/>
                </a:cubicBezTo>
                <a:cubicBezTo>
                  <a:pt x="10972495" y="879529"/>
                  <a:pt x="10972495" y="879529"/>
                  <a:pt x="10972495" y="925343"/>
                </a:cubicBezTo>
                <a:cubicBezTo>
                  <a:pt x="10972495" y="926322"/>
                  <a:pt x="10972985" y="926812"/>
                  <a:pt x="10973964" y="926812"/>
                </a:cubicBezTo>
                <a:cubicBezTo>
                  <a:pt x="10973964" y="926812"/>
                  <a:pt x="10973964" y="926812"/>
                  <a:pt x="10985145" y="926812"/>
                </a:cubicBezTo>
                <a:cubicBezTo>
                  <a:pt x="10986125" y="926812"/>
                  <a:pt x="10986614" y="926322"/>
                  <a:pt x="10986614" y="925343"/>
                </a:cubicBezTo>
                <a:cubicBezTo>
                  <a:pt x="10986614" y="925343"/>
                  <a:pt x="10986614" y="925343"/>
                  <a:pt x="10986614" y="876755"/>
                </a:cubicBezTo>
                <a:cubicBezTo>
                  <a:pt x="10986614" y="868799"/>
                  <a:pt x="10984288" y="862476"/>
                  <a:pt x="10979555" y="857825"/>
                </a:cubicBezTo>
                <a:cubicBezTo>
                  <a:pt x="10974821" y="853134"/>
                  <a:pt x="10968456" y="850808"/>
                  <a:pt x="10960417" y="850808"/>
                </a:cubicBezTo>
                <a:close/>
                <a:moveTo>
                  <a:pt x="10876982" y="850808"/>
                </a:moveTo>
                <a:cubicBezTo>
                  <a:pt x="10869439" y="850808"/>
                  <a:pt x="10862997" y="852765"/>
                  <a:pt x="10857696" y="856678"/>
                </a:cubicBezTo>
                <a:cubicBezTo>
                  <a:pt x="10852396" y="860591"/>
                  <a:pt x="10848889" y="865931"/>
                  <a:pt x="10847095" y="872738"/>
                </a:cubicBezTo>
                <a:cubicBezTo>
                  <a:pt x="10846035" y="876447"/>
                  <a:pt x="10845505" y="881909"/>
                  <a:pt x="10845505" y="889043"/>
                </a:cubicBezTo>
                <a:cubicBezTo>
                  <a:pt x="10845505" y="897276"/>
                  <a:pt x="10846647" y="904287"/>
                  <a:pt x="10849012" y="910076"/>
                </a:cubicBezTo>
                <a:cubicBezTo>
                  <a:pt x="10851458" y="915863"/>
                  <a:pt x="10855168" y="920347"/>
                  <a:pt x="10860061" y="923486"/>
                </a:cubicBezTo>
                <a:cubicBezTo>
                  <a:pt x="10864954" y="926625"/>
                  <a:pt x="10870989" y="928174"/>
                  <a:pt x="10878165" y="928174"/>
                </a:cubicBezTo>
                <a:cubicBezTo>
                  <a:pt x="10884526" y="928174"/>
                  <a:pt x="10890234" y="926910"/>
                  <a:pt x="10895290" y="924342"/>
                </a:cubicBezTo>
                <a:cubicBezTo>
                  <a:pt x="10900346" y="921815"/>
                  <a:pt x="10904260" y="918350"/>
                  <a:pt x="10907033" y="913907"/>
                </a:cubicBezTo>
                <a:cubicBezTo>
                  <a:pt x="10907399" y="913214"/>
                  <a:pt x="10907236" y="912603"/>
                  <a:pt x="10906584" y="911991"/>
                </a:cubicBezTo>
                <a:cubicBezTo>
                  <a:pt x="10906584" y="911991"/>
                  <a:pt x="10906584" y="911991"/>
                  <a:pt x="10898185" y="906407"/>
                </a:cubicBezTo>
                <a:cubicBezTo>
                  <a:pt x="10897369" y="905714"/>
                  <a:pt x="10896757" y="905877"/>
                  <a:pt x="10896268" y="906855"/>
                </a:cubicBezTo>
                <a:cubicBezTo>
                  <a:pt x="10892354" y="912847"/>
                  <a:pt x="10886727" y="915823"/>
                  <a:pt x="10879470" y="915823"/>
                </a:cubicBezTo>
                <a:cubicBezTo>
                  <a:pt x="10874495" y="915823"/>
                  <a:pt x="10870336" y="914722"/>
                  <a:pt x="10867033" y="912521"/>
                </a:cubicBezTo>
                <a:cubicBezTo>
                  <a:pt x="10863772" y="910320"/>
                  <a:pt x="10861570" y="907263"/>
                  <a:pt x="10860510" y="903309"/>
                </a:cubicBezTo>
                <a:cubicBezTo>
                  <a:pt x="10859898" y="901556"/>
                  <a:pt x="10859613" y="898988"/>
                  <a:pt x="10859613" y="895687"/>
                </a:cubicBezTo>
                <a:cubicBezTo>
                  <a:pt x="10859613" y="895279"/>
                  <a:pt x="10859817" y="895075"/>
                  <a:pt x="10860224" y="895075"/>
                </a:cubicBezTo>
                <a:cubicBezTo>
                  <a:pt x="10860224" y="895075"/>
                  <a:pt x="10860224" y="895075"/>
                  <a:pt x="10907155" y="895075"/>
                </a:cubicBezTo>
                <a:cubicBezTo>
                  <a:pt x="10908133" y="895075"/>
                  <a:pt x="10908623" y="894586"/>
                  <a:pt x="10908623" y="893608"/>
                </a:cubicBezTo>
                <a:cubicBezTo>
                  <a:pt x="10908704" y="888594"/>
                  <a:pt x="10908582" y="884110"/>
                  <a:pt x="10908174" y="880075"/>
                </a:cubicBezTo>
                <a:cubicBezTo>
                  <a:pt x="10907114" y="870455"/>
                  <a:pt x="10904097" y="863200"/>
                  <a:pt x="10899204" y="858227"/>
                </a:cubicBezTo>
                <a:cubicBezTo>
                  <a:pt x="10894311" y="853254"/>
                  <a:pt x="10886891" y="850808"/>
                  <a:pt x="10876982" y="850808"/>
                </a:cubicBezTo>
                <a:close/>
                <a:moveTo>
                  <a:pt x="10759409" y="850808"/>
                </a:moveTo>
                <a:cubicBezTo>
                  <a:pt x="10751162" y="850808"/>
                  <a:pt x="10744874" y="853419"/>
                  <a:pt x="10740546" y="858641"/>
                </a:cubicBezTo>
                <a:cubicBezTo>
                  <a:pt x="10740342" y="858804"/>
                  <a:pt x="10740179" y="858886"/>
                  <a:pt x="10740015" y="858764"/>
                </a:cubicBezTo>
                <a:cubicBezTo>
                  <a:pt x="10739893" y="858682"/>
                  <a:pt x="10739811" y="858519"/>
                  <a:pt x="10739811" y="858315"/>
                </a:cubicBezTo>
                <a:cubicBezTo>
                  <a:pt x="10739811" y="858315"/>
                  <a:pt x="10739811" y="858315"/>
                  <a:pt x="10739811" y="853338"/>
                </a:cubicBezTo>
                <a:cubicBezTo>
                  <a:pt x="10739811" y="852358"/>
                  <a:pt x="10739321" y="851869"/>
                  <a:pt x="10738341" y="851869"/>
                </a:cubicBezTo>
                <a:cubicBezTo>
                  <a:pt x="10738341" y="851869"/>
                  <a:pt x="10738341" y="851869"/>
                  <a:pt x="10727154" y="851869"/>
                </a:cubicBezTo>
                <a:cubicBezTo>
                  <a:pt x="10726133" y="851869"/>
                  <a:pt x="10725643" y="852358"/>
                  <a:pt x="10725643" y="853338"/>
                </a:cubicBezTo>
                <a:cubicBezTo>
                  <a:pt x="10725643" y="853338"/>
                  <a:pt x="10725643" y="853338"/>
                  <a:pt x="10725643" y="925343"/>
                </a:cubicBezTo>
                <a:cubicBezTo>
                  <a:pt x="10725643" y="926322"/>
                  <a:pt x="10726133" y="926812"/>
                  <a:pt x="10727154" y="926812"/>
                </a:cubicBezTo>
                <a:cubicBezTo>
                  <a:pt x="10727154" y="926812"/>
                  <a:pt x="10727154" y="926812"/>
                  <a:pt x="10738341" y="926812"/>
                </a:cubicBezTo>
                <a:cubicBezTo>
                  <a:pt x="10739321" y="926812"/>
                  <a:pt x="10739811" y="926322"/>
                  <a:pt x="10739811" y="925343"/>
                </a:cubicBezTo>
                <a:cubicBezTo>
                  <a:pt x="10739811" y="925343"/>
                  <a:pt x="10739811" y="925343"/>
                  <a:pt x="10739811" y="878794"/>
                </a:cubicBezTo>
                <a:cubicBezTo>
                  <a:pt x="10739811" y="873981"/>
                  <a:pt x="10741159" y="870146"/>
                  <a:pt x="10743853" y="867331"/>
                </a:cubicBezTo>
                <a:cubicBezTo>
                  <a:pt x="10746548" y="864475"/>
                  <a:pt x="10750182" y="863047"/>
                  <a:pt x="10754714" y="863047"/>
                </a:cubicBezTo>
                <a:cubicBezTo>
                  <a:pt x="10759205" y="863047"/>
                  <a:pt x="10762839" y="864475"/>
                  <a:pt x="10765534" y="867371"/>
                </a:cubicBezTo>
                <a:cubicBezTo>
                  <a:pt x="10768228" y="870268"/>
                  <a:pt x="10769576" y="874184"/>
                  <a:pt x="10769576" y="879080"/>
                </a:cubicBezTo>
                <a:cubicBezTo>
                  <a:pt x="10769576" y="879080"/>
                  <a:pt x="10769576" y="879080"/>
                  <a:pt x="10769576" y="925343"/>
                </a:cubicBezTo>
                <a:cubicBezTo>
                  <a:pt x="10769576" y="926322"/>
                  <a:pt x="10770066" y="926812"/>
                  <a:pt x="10771046" y="926812"/>
                </a:cubicBezTo>
                <a:cubicBezTo>
                  <a:pt x="10771046" y="926812"/>
                  <a:pt x="10771046" y="926812"/>
                  <a:pt x="10782110" y="926812"/>
                </a:cubicBezTo>
                <a:cubicBezTo>
                  <a:pt x="10783090" y="926812"/>
                  <a:pt x="10783580" y="926322"/>
                  <a:pt x="10783580" y="925343"/>
                </a:cubicBezTo>
                <a:cubicBezTo>
                  <a:pt x="10783580" y="925343"/>
                  <a:pt x="10783580" y="925343"/>
                  <a:pt x="10783580" y="878794"/>
                </a:cubicBezTo>
                <a:cubicBezTo>
                  <a:pt x="10783580" y="873981"/>
                  <a:pt x="10785009" y="870146"/>
                  <a:pt x="10787867" y="867331"/>
                </a:cubicBezTo>
                <a:cubicBezTo>
                  <a:pt x="10790725" y="864475"/>
                  <a:pt x="10794400" y="863047"/>
                  <a:pt x="10798891" y="863047"/>
                </a:cubicBezTo>
                <a:cubicBezTo>
                  <a:pt x="10803423" y="863047"/>
                  <a:pt x="10807057" y="864475"/>
                  <a:pt x="10809752" y="867371"/>
                </a:cubicBezTo>
                <a:cubicBezTo>
                  <a:pt x="10812447" y="870268"/>
                  <a:pt x="10813794" y="874184"/>
                  <a:pt x="10813794" y="879080"/>
                </a:cubicBezTo>
                <a:cubicBezTo>
                  <a:pt x="10813794" y="879080"/>
                  <a:pt x="10813794" y="879080"/>
                  <a:pt x="10813794" y="925343"/>
                </a:cubicBezTo>
                <a:cubicBezTo>
                  <a:pt x="10813794" y="926322"/>
                  <a:pt x="10814284" y="926812"/>
                  <a:pt x="10815264" y="926812"/>
                </a:cubicBezTo>
                <a:cubicBezTo>
                  <a:pt x="10815264" y="926812"/>
                  <a:pt x="10815264" y="926812"/>
                  <a:pt x="10826328" y="926812"/>
                </a:cubicBezTo>
                <a:cubicBezTo>
                  <a:pt x="10827308" y="926812"/>
                  <a:pt x="10827798" y="926322"/>
                  <a:pt x="10827798" y="925343"/>
                </a:cubicBezTo>
                <a:cubicBezTo>
                  <a:pt x="10827798" y="925343"/>
                  <a:pt x="10827798" y="925343"/>
                  <a:pt x="10827798" y="876143"/>
                </a:cubicBezTo>
                <a:cubicBezTo>
                  <a:pt x="10827798" y="868187"/>
                  <a:pt x="10825634" y="861987"/>
                  <a:pt x="10821306" y="857540"/>
                </a:cubicBezTo>
                <a:cubicBezTo>
                  <a:pt x="10816978" y="853052"/>
                  <a:pt x="10811099" y="850808"/>
                  <a:pt x="10803627" y="850808"/>
                </a:cubicBezTo>
                <a:cubicBezTo>
                  <a:pt x="10798891" y="850808"/>
                  <a:pt x="10794604" y="851746"/>
                  <a:pt x="10790725" y="853623"/>
                </a:cubicBezTo>
                <a:cubicBezTo>
                  <a:pt x="10786846" y="855459"/>
                  <a:pt x="10783743" y="858315"/>
                  <a:pt x="10781375" y="862150"/>
                </a:cubicBezTo>
                <a:cubicBezTo>
                  <a:pt x="10781090" y="862558"/>
                  <a:pt x="10780763" y="862558"/>
                  <a:pt x="10780477" y="862150"/>
                </a:cubicBezTo>
                <a:cubicBezTo>
                  <a:pt x="10778517" y="858437"/>
                  <a:pt x="10775782" y="855622"/>
                  <a:pt x="10772230" y="853705"/>
                </a:cubicBezTo>
                <a:cubicBezTo>
                  <a:pt x="10768677" y="851787"/>
                  <a:pt x="10764431" y="850808"/>
                  <a:pt x="10759409" y="850808"/>
                </a:cubicBezTo>
                <a:close/>
                <a:moveTo>
                  <a:pt x="10594919" y="850808"/>
                </a:moveTo>
                <a:cubicBezTo>
                  <a:pt x="10587349" y="850808"/>
                  <a:pt x="10580883" y="852765"/>
                  <a:pt x="10575563" y="856678"/>
                </a:cubicBezTo>
                <a:cubicBezTo>
                  <a:pt x="10570243" y="860591"/>
                  <a:pt x="10566682" y="865931"/>
                  <a:pt x="10564923" y="872738"/>
                </a:cubicBezTo>
                <a:cubicBezTo>
                  <a:pt x="10563859" y="876447"/>
                  <a:pt x="10563286" y="881909"/>
                  <a:pt x="10563286" y="889043"/>
                </a:cubicBezTo>
                <a:cubicBezTo>
                  <a:pt x="10563286" y="897276"/>
                  <a:pt x="10564472" y="904287"/>
                  <a:pt x="10566846" y="910076"/>
                </a:cubicBezTo>
                <a:cubicBezTo>
                  <a:pt x="10569301" y="915863"/>
                  <a:pt x="10572985" y="920347"/>
                  <a:pt x="10577936" y="923486"/>
                </a:cubicBezTo>
                <a:cubicBezTo>
                  <a:pt x="10582847" y="926625"/>
                  <a:pt x="10588904" y="928174"/>
                  <a:pt x="10596106" y="928174"/>
                </a:cubicBezTo>
                <a:cubicBezTo>
                  <a:pt x="10602490" y="928174"/>
                  <a:pt x="10608220" y="926910"/>
                  <a:pt x="10613294" y="924342"/>
                </a:cubicBezTo>
                <a:cubicBezTo>
                  <a:pt x="10618369" y="921815"/>
                  <a:pt x="10622297" y="918350"/>
                  <a:pt x="10625039" y="913907"/>
                </a:cubicBezTo>
                <a:cubicBezTo>
                  <a:pt x="10625448" y="913214"/>
                  <a:pt x="10625285" y="912603"/>
                  <a:pt x="10624589" y="911991"/>
                </a:cubicBezTo>
                <a:cubicBezTo>
                  <a:pt x="10624589" y="911991"/>
                  <a:pt x="10624589" y="911991"/>
                  <a:pt x="10616200" y="906407"/>
                </a:cubicBezTo>
                <a:cubicBezTo>
                  <a:pt x="10615381" y="905714"/>
                  <a:pt x="10614767" y="905877"/>
                  <a:pt x="10614276" y="906855"/>
                </a:cubicBezTo>
                <a:cubicBezTo>
                  <a:pt x="10610347" y="912847"/>
                  <a:pt x="10604700" y="915823"/>
                  <a:pt x="10597416" y="915823"/>
                </a:cubicBezTo>
                <a:cubicBezTo>
                  <a:pt x="10592423" y="915823"/>
                  <a:pt x="10588249" y="914722"/>
                  <a:pt x="10584934" y="912521"/>
                </a:cubicBezTo>
                <a:cubicBezTo>
                  <a:pt x="10581660" y="910320"/>
                  <a:pt x="10579450" y="907263"/>
                  <a:pt x="10578386" y="903309"/>
                </a:cubicBezTo>
                <a:cubicBezTo>
                  <a:pt x="10577772" y="901556"/>
                  <a:pt x="10577486" y="898988"/>
                  <a:pt x="10577486" y="895687"/>
                </a:cubicBezTo>
                <a:cubicBezTo>
                  <a:pt x="10577486" y="895279"/>
                  <a:pt x="10577691" y="895075"/>
                  <a:pt x="10578059" y="895075"/>
                </a:cubicBezTo>
                <a:cubicBezTo>
                  <a:pt x="10578059" y="895075"/>
                  <a:pt x="10578059" y="895075"/>
                  <a:pt x="10625203" y="895075"/>
                </a:cubicBezTo>
                <a:cubicBezTo>
                  <a:pt x="10626185" y="895075"/>
                  <a:pt x="10626676" y="894586"/>
                  <a:pt x="10626676" y="893608"/>
                </a:cubicBezTo>
                <a:cubicBezTo>
                  <a:pt x="10626758" y="888594"/>
                  <a:pt x="10626635" y="884110"/>
                  <a:pt x="10626226" y="880075"/>
                </a:cubicBezTo>
                <a:cubicBezTo>
                  <a:pt x="10625162" y="870455"/>
                  <a:pt x="10622134" y="863200"/>
                  <a:pt x="10617223" y="858227"/>
                </a:cubicBezTo>
                <a:cubicBezTo>
                  <a:pt x="10612312" y="853254"/>
                  <a:pt x="10604864" y="850808"/>
                  <a:pt x="10594919" y="850808"/>
                </a:cubicBezTo>
                <a:close/>
                <a:moveTo>
                  <a:pt x="10519109" y="850808"/>
                </a:moveTo>
                <a:cubicBezTo>
                  <a:pt x="10510866" y="850808"/>
                  <a:pt x="10504623" y="853501"/>
                  <a:pt x="10500379" y="858927"/>
                </a:cubicBezTo>
                <a:cubicBezTo>
                  <a:pt x="10500297" y="859131"/>
                  <a:pt x="10500175" y="859171"/>
                  <a:pt x="10500053" y="859049"/>
                </a:cubicBezTo>
                <a:cubicBezTo>
                  <a:pt x="10499889" y="858968"/>
                  <a:pt x="10499808" y="858804"/>
                  <a:pt x="10499808" y="858641"/>
                </a:cubicBezTo>
                <a:cubicBezTo>
                  <a:pt x="10499808" y="858641"/>
                  <a:pt x="10499808" y="858641"/>
                  <a:pt x="10499808" y="853338"/>
                </a:cubicBezTo>
                <a:cubicBezTo>
                  <a:pt x="10499808" y="852358"/>
                  <a:pt x="10499318" y="851869"/>
                  <a:pt x="10498339" y="851869"/>
                </a:cubicBezTo>
                <a:cubicBezTo>
                  <a:pt x="10498339" y="851869"/>
                  <a:pt x="10498339" y="851869"/>
                  <a:pt x="10487158" y="851869"/>
                </a:cubicBezTo>
                <a:cubicBezTo>
                  <a:pt x="10486179" y="851869"/>
                  <a:pt x="10485648" y="852358"/>
                  <a:pt x="10485648" y="853338"/>
                </a:cubicBezTo>
                <a:cubicBezTo>
                  <a:pt x="10485648" y="853338"/>
                  <a:pt x="10485648" y="853338"/>
                  <a:pt x="10485648" y="925343"/>
                </a:cubicBezTo>
                <a:cubicBezTo>
                  <a:pt x="10485648" y="926322"/>
                  <a:pt x="10486179" y="926812"/>
                  <a:pt x="10487158" y="926812"/>
                </a:cubicBezTo>
                <a:cubicBezTo>
                  <a:pt x="10487158" y="926812"/>
                  <a:pt x="10487158" y="926812"/>
                  <a:pt x="10498339" y="926812"/>
                </a:cubicBezTo>
                <a:cubicBezTo>
                  <a:pt x="10499318" y="926812"/>
                  <a:pt x="10499808" y="926322"/>
                  <a:pt x="10499808" y="925343"/>
                </a:cubicBezTo>
                <a:cubicBezTo>
                  <a:pt x="10499808" y="925343"/>
                  <a:pt x="10499808" y="925343"/>
                  <a:pt x="10499808" y="879406"/>
                </a:cubicBezTo>
                <a:cubicBezTo>
                  <a:pt x="10499808" y="874592"/>
                  <a:pt x="10501277" y="870635"/>
                  <a:pt x="10504215" y="867616"/>
                </a:cubicBezTo>
                <a:cubicBezTo>
                  <a:pt x="10507194" y="864557"/>
                  <a:pt x="10510948" y="863047"/>
                  <a:pt x="10515559" y="863047"/>
                </a:cubicBezTo>
                <a:cubicBezTo>
                  <a:pt x="10520292" y="863047"/>
                  <a:pt x="10524047" y="864557"/>
                  <a:pt x="10526903" y="867616"/>
                </a:cubicBezTo>
                <a:cubicBezTo>
                  <a:pt x="10529759" y="870635"/>
                  <a:pt x="10531188" y="874633"/>
                  <a:pt x="10531188" y="879529"/>
                </a:cubicBezTo>
                <a:cubicBezTo>
                  <a:pt x="10531188" y="879529"/>
                  <a:pt x="10531188" y="879529"/>
                  <a:pt x="10531188" y="925343"/>
                </a:cubicBezTo>
                <a:cubicBezTo>
                  <a:pt x="10531188" y="926322"/>
                  <a:pt x="10531677" y="926812"/>
                  <a:pt x="10532657" y="926812"/>
                </a:cubicBezTo>
                <a:cubicBezTo>
                  <a:pt x="10532657" y="926812"/>
                  <a:pt x="10532657" y="926812"/>
                  <a:pt x="10543837" y="926812"/>
                </a:cubicBezTo>
                <a:cubicBezTo>
                  <a:pt x="10544817" y="926812"/>
                  <a:pt x="10545307" y="926322"/>
                  <a:pt x="10545307" y="925343"/>
                </a:cubicBezTo>
                <a:cubicBezTo>
                  <a:pt x="10545307" y="925343"/>
                  <a:pt x="10545307" y="925343"/>
                  <a:pt x="10545307" y="876755"/>
                </a:cubicBezTo>
                <a:cubicBezTo>
                  <a:pt x="10545307" y="868799"/>
                  <a:pt x="10542981" y="862476"/>
                  <a:pt x="10538247" y="857825"/>
                </a:cubicBezTo>
                <a:cubicBezTo>
                  <a:pt x="10533554" y="853134"/>
                  <a:pt x="10527148" y="850808"/>
                  <a:pt x="10519109" y="850808"/>
                </a:cubicBezTo>
                <a:close/>
                <a:moveTo>
                  <a:pt x="10380102" y="850808"/>
                </a:moveTo>
                <a:cubicBezTo>
                  <a:pt x="10372559" y="850808"/>
                  <a:pt x="10366116" y="852765"/>
                  <a:pt x="10360816" y="856678"/>
                </a:cubicBezTo>
                <a:cubicBezTo>
                  <a:pt x="10355515" y="860591"/>
                  <a:pt x="10352009" y="865931"/>
                  <a:pt x="10350215" y="872738"/>
                </a:cubicBezTo>
                <a:cubicBezTo>
                  <a:pt x="10349154" y="876447"/>
                  <a:pt x="10348625" y="881909"/>
                  <a:pt x="10348625" y="889043"/>
                </a:cubicBezTo>
                <a:cubicBezTo>
                  <a:pt x="10348625" y="897276"/>
                  <a:pt x="10349766" y="904287"/>
                  <a:pt x="10352131" y="910076"/>
                </a:cubicBezTo>
                <a:cubicBezTo>
                  <a:pt x="10354577" y="915863"/>
                  <a:pt x="10358247" y="920347"/>
                  <a:pt x="10363181" y="923486"/>
                </a:cubicBezTo>
                <a:cubicBezTo>
                  <a:pt x="10368074" y="926625"/>
                  <a:pt x="10374108" y="928174"/>
                  <a:pt x="10381284" y="928174"/>
                </a:cubicBezTo>
                <a:cubicBezTo>
                  <a:pt x="10387645" y="928174"/>
                  <a:pt x="10393354" y="926910"/>
                  <a:pt x="10398409" y="924342"/>
                </a:cubicBezTo>
                <a:cubicBezTo>
                  <a:pt x="10403465" y="921815"/>
                  <a:pt x="10407380" y="918350"/>
                  <a:pt x="10410112" y="913907"/>
                </a:cubicBezTo>
                <a:cubicBezTo>
                  <a:pt x="10410519" y="913214"/>
                  <a:pt x="10410356" y="912603"/>
                  <a:pt x="10409663" y="911991"/>
                </a:cubicBezTo>
                <a:cubicBezTo>
                  <a:pt x="10409663" y="911991"/>
                  <a:pt x="10409663" y="911991"/>
                  <a:pt x="10401305" y="906407"/>
                </a:cubicBezTo>
                <a:cubicBezTo>
                  <a:pt x="10400489" y="905714"/>
                  <a:pt x="10399877" y="905877"/>
                  <a:pt x="10399388" y="906855"/>
                </a:cubicBezTo>
                <a:cubicBezTo>
                  <a:pt x="10395474" y="912847"/>
                  <a:pt x="10389847" y="915823"/>
                  <a:pt x="10382589" y="915823"/>
                </a:cubicBezTo>
                <a:cubicBezTo>
                  <a:pt x="10377615" y="915823"/>
                  <a:pt x="10373456" y="914722"/>
                  <a:pt x="10370153" y="912521"/>
                </a:cubicBezTo>
                <a:cubicBezTo>
                  <a:pt x="10366891" y="910320"/>
                  <a:pt x="10364690" y="907263"/>
                  <a:pt x="10363629" y="903309"/>
                </a:cubicBezTo>
                <a:cubicBezTo>
                  <a:pt x="10363018" y="901556"/>
                  <a:pt x="10362732" y="898988"/>
                  <a:pt x="10362732" y="895687"/>
                </a:cubicBezTo>
                <a:cubicBezTo>
                  <a:pt x="10362732" y="895279"/>
                  <a:pt x="10362936" y="895075"/>
                  <a:pt x="10363303" y="895075"/>
                </a:cubicBezTo>
                <a:cubicBezTo>
                  <a:pt x="10363303" y="895075"/>
                  <a:pt x="10363303" y="895075"/>
                  <a:pt x="10410275" y="895075"/>
                </a:cubicBezTo>
                <a:cubicBezTo>
                  <a:pt x="10411253" y="895075"/>
                  <a:pt x="10411743" y="894586"/>
                  <a:pt x="10411743" y="893608"/>
                </a:cubicBezTo>
                <a:cubicBezTo>
                  <a:pt x="10411824" y="888594"/>
                  <a:pt x="10411702" y="884110"/>
                  <a:pt x="10411294" y="880075"/>
                </a:cubicBezTo>
                <a:cubicBezTo>
                  <a:pt x="10410234" y="870455"/>
                  <a:pt x="10407217" y="863200"/>
                  <a:pt x="10402324" y="858227"/>
                </a:cubicBezTo>
                <a:cubicBezTo>
                  <a:pt x="10397431" y="853254"/>
                  <a:pt x="10390010" y="850808"/>
                  <a:pt x="10380102" y="850808"/>
                </a:cubicBezTo>
                <a:close/>
                <a:moveTo>
                  <a:pt x="10249965" y="850808"/>
                </a:moveTo>
                <a:cubicBezTo>
                  <a:pt x="10241723" y="850808"/>
                  <a:pt x="10235479" y="853501"/>
                  <a:pt x="10231235" y="858927"/>
                </a:cubicBezTo>
                <a:cubicBezTo>
                  <a:pt x="10231154" y="859131"/>
                  <a:pt x="10231031" y="859171"/>
                  <a:pt x="10230868" y="859049"/>
                </a:cubicBezTo>
                <a:cubicBezTo>
                  <a:pt x="10230705" y="858968"/>
                  <a:pt x="10230664" y="858804"/>
                  <a:pt x="10230664" y="858641"/>
                </a:cubicBezTo>
                <a:cubicBezTo>
                  <a:pt x="10230664" y="858641"/>
                  <a:pt x="10230664" y="858641"/>
                  <a:pt x="10230664" y="853338"/>
                </a:cubicBezTo>
                <a:cubicBezTo>
                  <a:pt x="10230664" y="852358"/>
                  <a:pt x="10230175" y="851869"/>
                  <a:pt x="10229195" y="851869"/>
                </a:cubicBezTo>
                <a:cubicBezTo>
                  <a:pt x="10229195" y="851869"/>
                  <a:pt x="10229195" y="851869"/>
                  <a:pt x="10217973" y="851869"/>
                </a:cubicBezTo>
                <a:cubicBezTo>
                  <a:pt x="10216994" y="851869"/>
                  <a:pt x="10216504" y="852358"/>
                  <a:pt x="10216504" y="853338"/>
                </a:cubicBezTo>
                <a:cubicBezTo>
                  <a:pt x="10216504" y="853338"/>
                  <a:pt x="10216504" y="853338"/>
                  <a:pt x="10216504" y="925343"/>
                </a:cubicBezTo>
                <a:cubicBezTo>
                  <a:pt x="10216504" y="926322"/>
                  <a:pt x="10216994" y="926812"/>
                  <a:pt x="10217973" y="926812"/>
                </a:cubicBezTo>
                <a:cubicBezTo>
                  <a:pt x="10217973" y="926812"/>
                  <a:pt x="10217973" y="926812"/>
                  <a:pt x="10229195" y="926812"/>
                </a:cubicBezTo>
                <a:cubicBezTo>
                  <a:pt x="10230175" y="926812"/>
                  <a:pt x="10230664" y="926322"/>
                  <a:pt x="10230664" y="925343"/>
                </a:cubicBezTo>
                <a:cubicBezTo>
                  <a:pt x="10230664" y="925343"/>
                  <a:pt x="10230664" y="925343"/>
                  <a:pt x="10230664" y="879406"/>
                </a:cubicBezTo>
                <a:cubicBezTo>
                  <a:pt x="10230664" y="874592"/>
                  <a:pt x="10232133" y="870635"/>
                  <a:pt x="10235071" y="867616"/>
                </a:cubicBezTo>
                <a:cubicBezTo>
                  <a:pt x="10238009" y="864557"/>
                  <a:pt x="10241804" y="863047"/>
                  <a:pt x="10246415" y="863047"/>
                </a:cubicBezTo>
                <a:cubicBezTo>
                  <a:pt x="10251149" y="863047"/>
                  <a:pt x="10254903" y="864557"/>
                  <a:pt x="10257759" y="867616"/>
                </a:cubicBezTo>
                <a:cubicBezTo>
                  <a:pt x="10260616" y="870635"/>
                  <a:pt x="10262044" y="874633"/>
                  <a:pt x="10262044" y="879529"/>
                </a:cubicBezTo>
                <a:cubicBezTo>
                  <a:pt x="10262044" y="879529"/>
                  <a:pt x="10262044" y="879529"/>
                  <a:pt x="10262044" y="925343"/>
                </a:cubicBezTo>
                <a:cubicBezTo>
                  <a:pt x="10262044" y="926322"/>
                  <a:pt x="10262533" y="926812"/>
                  <a:pt x="10263513" y="926812"/>
                </a:cubicBezTo>
                <a:cubicBezTo>
                  <a:pt x="10263513" y="926812"/>
                  <a:pt x="10263513" y="926812"/>
                  <a:pt x="10274694" y="926812"/>
                </a:cubicBezTo>
                <a:cubicBezTo>
                  <a:pt x="10275673" y="926812"/>
                  <a:pt x="10276163" y="926322"/>
                  <a:pt x="10276163" y="925343"/>
                </a:cubicBezTo>
                <a:cubicBezTo>
                  <a:pt x="10276163" y="925343"/>
                  <a:pt x="10276163" y="925343"/>
                  <a:pt x="10276163" y="876755"/>
                </a:cubicBezTo>
                <a:cubicBezTo>
                  <a:pt x="10276163" y="868799"/>
                  <a:pt x="10273796" y="862476"/>
                  <a:pt x="10269103" y="857825"/>
                </a:cubicBezTo>
                <a:cubicBezTo>
                  <a:pt x="10264370" y="853134"/>
                  <a:pt x="10258004" y="850808"/>
                  <a:pt x="10249965" y="850808"/>
                </a:cubicBezTo>
                <a:close/>
                <a:moveTo>
                  <a:pt x="10303994" y="832284"/>
                </a:moveTo>
                <a:cubicBezTo>
                  <a:pt x="10303011" y="832284"/>
                  <a:pt x="10302520" y="832774"/>
                  <a:pt x="10302520" y="833755"/>
                </a:cubicBezTo>
                <a:cubicBezTo>
                  <a:pt x="10302520" y="833755"/>
                  <a:pt x="10302520" y="833755"/>
                  <a:pt x="10302520" y="851154"/>
                </a:cubicBezTo>
                <a:cubicBezTo>
                  <a:pt x="10302520" y="851563"/>
                  <a:pt x="10302315" y="851726"/>
                  <a:pt x="10301946" y="851726"/>
                </a:cubicBezTo>
                <a:cubicBezTo>
                  <a:pt x="10301946" y="851726"/>
                  <a:pt x="10301946" y="851726"/>
                  <a:pt x="10292934" y="851726"/>
                </a:cubicBezTo>
                <a:cubicBezTo>
                  <a:pt x="10291950" y="851726"/>
                  <a:pt x="10291418" y="852257"/>
                  <a:pt x="10291418" y="853237"/>
                </a:cubicBezTo>
                <a:cubicBezTo>
                  <a:pt x="10291418" y="853237"/>
                  <a:pt x="10291418" y="853237"/>
                  <a:pt x="10291418" y="861937"/>
                </a:cubicBezTo>
                <a:cubicBezTo>
                  <a:pt x="10291418" y="862917"/>
                  <a:pt x="10291950" y="863408"/>
                  <a:pt x="10292934" y="863408"/>
                </a:cubicBezTo>
                <a:cubicBezTo>
                  <a:pt x="10292934" y="863408"/>
                  <a:pt x="10292934" y="863408"/>
                  <a:pt x="10301946" y="863408"/>
                </a:cubicBezTo>
                <a:cubicBezTo>
                  <a:pt x="10302315" y="863408"/>
                  <a:pt x="10302520" y="863612"/>
                  <a:pt x="10302520" y="863979"/>
                </a:cubicBezTo>
                <a:cubicBezTo>
                  <a:pt x="10302520" y="863979"/>
                  <a:pt x="10302520" y="863979"/>
                  <a:pt x="10302520" y="908050"/>
                </a:cubicBezTo>
                <a:cubicBezTo>
                  <a:pt x="10302520" y="915362"/>
                  <a:pt x="10304445" y="920345"/>
                  <a:pt x="10308214" y="923040"/>
                </a:cubicBezTo>
                <a:cubicBezTo>
                  <a:pt x="10312024" y="925736"/>
                  <a:pt x="10317677" y="927084"/>
                  <a:pt x="10325174" y="927084"/>
                </a:cubicBezTo>
                <a:cubicBezTo>
                  <a:pt x="10326526" y="927084"/>
                  <a:pt x="10328820" y="927002"/>
                  <a:pt x="10331975" y="926798"/>
                </a:cubicBezTo>
                <a:cubicBezTo>
                  <a:pt x="10332958" y="926798"/>
                  <a:pt x="10333449" y="926308"/>
                  <a:pt x="10333449" y="925328"/>
                </a:cubicBezTo>
                <a:cubicBezTo>
                  <a:pt x="10333449" y="925328"/>
                  <a:pt x="10333449" y="925328"/>
                  <a:pt x="10333449" y="916178"/>
                </a:cubicBezTo>
                <a:cubicBezTo>
                  <a:pt x="10333449" y="915198"/>
                  <a:pt x="10332958" y="914708"/>
                  <a:pt x="10331975" y="914708"/>
                </a:cubicBezTo>
                <a:cubicBezTo>
                  <a:pt x="10331975" y="914708"/>
                  <a:pt x="10331975" y="914708"/>
                  <a:pt x="10327673" y="914708"/>
                </a:cubicBezTo>
                <a:cubicBezTo>
                  <a:pt x="10323740" y="914708"/>
                  <a:pt x="10320832" y="913810"/>
                  <a:pt x="10318947" y="911971"/>
                </a:cubicBezTo>
                <a:cubicBezTo>
                  <a:pt x="10317063" y="910174"/>
                  <a:pt x="10316120" y="907193"/>
                  <a:pt x="10316120" y="903067"/>
                </a:cubicBezTo>
                <a:cubicBezTo>
                  <a:pt x="10316120" y="903067"/>
                  <a:pt x="10316120" y="903067"/>
                  <a:pt x="10316120" y="863979"/>
                </a:cubicBezTo>
                <a:cubicBezTo>
                  <a:pt x="10316120" y="863612"/>
                  <a:pt x="10316326" y="863408"/>
                  <a:pt x="10316735" y="863408"/>
                </a:cubicBezTo>
                <a:cubicBezTo>
                  <a:pt x="10316735" y="863408"/>
                  <a:pt x="10316735" y="863408"/>
                  <a:pt x="10332712" y="863408"/>
                </a:cubicBezTo>
                <a:cubicBezTo>
                  <a:pt x="10333695" y="863408"/>
                  <a:pt x="10334187" y="862917"/>
                  <a:pt x="10334187" y="861937"/>
                </a:cubicBezTo>
                <a:cubicBezTo>
                  <a:pt x="10334187" y="861937"/>
                  <a:pt x="10334187" y="861937"/>
                  <a:pt x="10334187" y="853237"/>
                </a:cubicBezTo>
                <a:cubicBezTo>
                  <a:pt x="10334187" y="852257"/>
                  <a:pt x="10333695" y="851726"/>
                  <a:pt x="10332712" y="851726"/>
                </a:cubicBezTo>
                <a:cubicBezTo>
                  <a:pt x="10332712" y="851726"/>
                  <a:pt x="10332712" y="851726"/>
                  <a:pt x="10316735" y="851726"/>
                </a:cubicBezTo>
                <a:cubicBezTo>
                  <a:pt x="10316326" y="851726"/>
                  <a:pt x="10316120" y="851563"/>
                  <a:pt x="10316120" y="851154"/>
                </a:cubicBezTo>
                <a:cubicBezTo>
                  <a:pt x="10316120" y="851154"/>
                  <a:pt x="10316120" y="851154"/>
                  <a:pt x="10316120" y="833755"/>
                </a:cubicBezTo>
                <a:cubicBezTo>
                  <a:pt x="10316120" y="832774"/>
                  <a:pt x="10315629" y="832284"/>
                  <a:pt x="10314646" y="832284"/>
                </a:cubicBezTo>
                <a:cubicBezTo>
                  <a:pt x="10314646" y="832284"/>
                  <a:pt x="10314646" y="832284"/>
                  <a:pt x="10303994" y="832284"/>
                </a:cubicBezTo>
                <a:close/>
                <a:moveTo>
                  <a:pt x="10646751" y="823839"/>
                </a:moveTo>
                <a:cubicBezTo>
                  <a:pt x="10645771" y="823839"/>
                  <a:pt x="10645282" y="824328"/>
                  <a:pt x="10645282" y="825306"/>
                </a:cubicBezTo>
                <a:cubicBezTo>
                  <a:pt x="10645282" y="825306"/>
                  <a:pt x="10645282" y="825306"/>
                  <a:pt x="10645282" y="925344"/>
                </a:cubicBezTo>
                <a:cubicBezTo>
                  <a:pt x="10645282" y="926323"/>
                  <a:pt x="10645771" y="926811"/>
                  <a:pt x="10646751" y="926811"/>
                </a:cubicBezTo>
                <a:cubicBezTo>
                  <a:pt x="10646751" y="926811"/>
                  <a:pt x="10646751" y="926811"/>
                  <a:pt x="10657932" y="926811"/>
                </a:cubicBezTo>
                <a:cubicBezTo>
                  <a:pt x="10658911" y="926811"/>
                  <a:pt x="10659401" y="926323"/>
                  <a:pt x="10659401" y="925344"/>
                </a:cubicBezTo>
                <a:cubicBezTo>
                  <a:pt x="10659401" y="925344"/>
                  <a:pt x="10659401" y="925344"/>
                  <a:pt x="10659401" y="879461"/>
                </a:cubicBezTo>
                <a:cubicBezTo>
                  <a:pt x="10659401" y="874653"/>
                  <a:pt x="10660910" y="870700"/>
                  <a:pt x="10663848" y="867685"/>
                </a:cubicBezTo>
                <a:cubicBezTo>
                  <a:pt x="10666787" y="864629"/>
                  <a:pt x="10670581" y="863121"/>
                  <a:pt x="10675193" y="863121"/>
                </a:cubicBezTo>
                <a:cubicBezTo>
                  <a:pt x="10679885" y="863121"/>
                  <a:pt x="10683680" y="864629"/>
                  <a:pt x="10686537" y="867685"/>
                </a:cubicBezTo>
                <a:cubicBezTo>
                  <a:pt x="10689352" y="870700"/>
                  <a:pt x="10690781" y="874694"/>
                  <a:pt x="10690781" y="879584"/>
                </a:cubicBezTo>
                <a:cubicBezTo>
                  <a:pt x="10690781" y="879584"/>
                  <a:pt x="10690781" y="879584"/>
                  <a:pt x="10690781" y="925344"/>
                </a:cubicBezTo>
                <a:cubicBezTo>
                  <a:pt x="10690781" y="926323"/>
                  <a:pt x="10691270" y="926811"/>
                  <a:pt x="10692250" y="926811"/>
                </a:cubicBezTo>
                <a:cubicBezTo>
                  <a:pt x="10692250" y="926811"/>
                  <a:pt x="10692250" y="926811"/>
                  <a:pt x="10703471" y="926811"/>
                </a:cubicBezTo>
                <a:cubicBezTo>
                  <a:pt x="10704451" y="926811"/>
                  <a:pt x="10704940" y="926323"/>
                  <a:pt x="10704940" y="925344"/>
                </a:cubicBezTo>
                <a:cubicBezTo>
                  <a:pt x="10704940" y="925344"/>
                  <a:pt x="10704940" y="925344"/>
                  <a:pt x="10704940" y="876813"/>
                </a:cubicBezTo>
                <a:cubicBezTo>
                  <a:pt x="10704940" y="868867"/>
                  <a:pt x="10702573" y="862551"/>
                  <a:pt x="10697881" y="857905"/>
                </a:cubicBezTo>
                <a:cubicBezTo>
                  <a:pt x="10693147" y="853219"/>
                  <a:pt x="10686781" y="850896"/>
                  <a:pt x="10678702" y="850896"/>
                </a:cubicBezTo>
                <a:cubicBezTo>
                  <a:pt x="10670459" y="850896"/>
                  <a:pt x="10664216" y="853586"/>
                  <a:pt x="10660013" y="859006"/>
                </a:cubicBezTo>
                <a:cubicBezTo>
                  <a:pt x="10659890" y="859209"/>
                  <a:pt x="10659768" y="859250"/>
                  <a:pt x="10659645" y="859128"/>
                </a:cubicBezTo>
                <a:cubicBezTo>
                  <a:pt x="10659482" y="859046"/>
                  <a:pt x="10659401" y="858883"/>
                  <a:pt x="10659401" y="858720"/>
                </a:cubicBezTo>
                <a:cubicBezTo>
                  <a:pt x="10659401" y="858720"/>
                  <a:pt x="10659401" y="858720"/>
                  <a:pt x="10659401" y="825306"/>
                </a:cubicBezTo>
                <a:cubicBezTo>
                  <a:pt x="10659401" y="824328"/>
                  <a:pt x="10658911" y="823839"/>
                  <a:pt x="10657932" y="823839"/>
                </a:cubicBezTo>
                <a:cubicBezTo>
                  <a:pt x="10657932" y="823839"/>
                  <a:pt x="10657932" y="823839"/>
                  <a:pt x="10646751" y="823839"/>
                </a:cubicBezTo>
                <a:close/>
                <a:moveTo>
                  <a:pt x="11478319" y="821115"/>
                </a:moveTo>
                <a:cubicBezTo>
                  <a:pt x="11475553" y="821115"/>
                  <a:pt x="11473283" y="821982"/>
                  <a:pt x="11471467" y="823798"/>
                </a:cubicBezTo>
                <a:cubicBezTo>
                  <a:pt x="11469693" y="825573"/>
                  <a:pt x="11468784" y="827843"/>
                  <a:pt x="11468784" y="830650"/>
                </a:cubicBezTo>
                <a:cubicBezTo>
                  <a:pt x="11468784" y="833415"/>
                  <a:pt x="11469693" y="835685"/>
                  <a:pt x="11471467" y="837501"/>
                </a:cubicBezTo>
                <a:cubicBezTo>
                  <a:pt x="11473283" y="839276"/>
                  <a:pt x="11475553" y="840184"/>
                  <a:pt x="11478319" y="840184"/>
                </a:cubicBezTo>
                <a:cubicBezTo>
                  <a:pt x="11481125" y="840184"/>
                  <a:pt x="11483396" y="839276"/>
                  <a:pt x="11485212" y="837501"/>
                </a:cubicBezTo>
                <a:cubicBezTo>
                  <a:pt x="11486987" y="835685"/>
                  <a:pt x="11487853" y="833415"/>
                  <a:pt x="11487853" y="830650"/>
                </a:cubicBezTo>
                <a:cubicBezTo>
                  <a:pt x="11487853" y="827843"/>
                  <a:pt x="11486987" y="825573"/>
                  <a:pt x="11485212" y="823798"/>
                </a:cubicBezTo>
                <a:cubicBezTo>
                  <a:pt x="11483396" y="821982"/>
                  <a:pt x="11481125" y="821115"/>
                  <a:pt x="11478319" y="821115"/>
                </a:cubicBezTo>
                <a:close/>
                <a:moveTo>
                  <a:pt x="9630163" y="615716"/>
                </a:moveTo>
                <a:cubicBezTo>
                  <a:pt x="9630163" y="615716"/>
                  <a:pt x="9630163" y="615716"/>
                  <a:pt x="9667927" y="615716"/>
                </a:cubicBezTo>
                <a:cubicBezTo>
                  <a:pt x="9671142" y="615716"/>
                  <a:pt x="9672769" y="617187"/>
                  <a:pt x="9672769" y="620168"/>
                </a:cubicBezTo>
                <a:cubicBezTo>
                  <a:pt x="9672769" y="620168"/>
                  <a:pt x="9672769" y="620168"/>
                  <a:pt x="9672769" y="716582"/>
                </a:cubicBezTo>
                <a:cubicBezTo>
                  <a:pt x="9672769" y="720298"/>
                  <a:pt x="9669717" y="723319"/>
                  <a:pt x="9665974" y="723238"/>
                </a:cubicBezTo>
                <a:cubicBezTo>
                  <a:pt x="9658282" y="723115"/>
                  <a:pt x="9660195" y="722993"/>
                  <a:pt x="9645016" y="722993"/>
                </a:cubicBezTo>
                <a:cubicBezTo>
                  <a:pt x="9645016" y="722993"/>
                  <a:pt x="9645016" y="722993"/>
                  <a:pt x="9630163" y="722993"/>
                </a:cubicBezTo>
                <a:cubicBezTo>
                  <a:pt x="9621577" y="722993"/>
                  <a:pt x="9615554" y="721237"/>
                  <a:pt x="9612095" y="717725"/>
                </a:cubicBezTo>
                <a:cubicBezTo>
                  <a:pt x="9608595" y="714254"/>
                  <a:pt x="9606846" y="708210"/>
                  <a:pt x="9606846" y="699594"/>
                </a:cubicBezTo>
                <a:cubicBezTo>
                  <a:pt x="9606846" y="699594"/>
                  <a:pt x="9606846" y="699594"/>
                  <a:pt x="9606846" y="639524"/>
                </a:cubicBezTo>
                <a:cubicBezTo>
                  <a:pt x="9606846" y="630908"/>
                  <a:pt x="9608595" y="624782"/>
                  <a:pt x="9612095" y="621148"/>
                </a:cubicBezTo>
                <a:cubicBezTo>
                  <a:pt x="9615554" y="617554"/>
                  <a:pt x="9621577" y="615716"/>
                  <a:pt x="9630163" y="615716"/>
                </a:cubicBezTo>
                <a:close/>
                <a:moveTo>
                  <a:pt x="10565693" y="598282"/>
                </a:moveTo>
                <a:cubicBezTo>
                  <a:pt x="10565693" y="598282"/>
                  <a:pt x="10565693" y="598282"/>
                  <a:pt x="10593840" y="598282"/>
                </a:cubicBezTo>
                <a:cubicBezTo>
                  <a:pt x="10616316" y="598282"/>
                  <a:pt x="10627575" y="609799"/>
                  <a:pt x="10627575" y="632833"/>
                </a:cubicBezTo>
                <a:cubicBezTo>
                  <a:pt x="10627575" y="632833"/>
                  <a:pt x="10627575" y="632833"/>
                  <a:pt x="10627575" y="717331"/>
                </a:cubicBezTo>
                <a:cubicBezTo>
                  <a:pt x="10627575" y="740405"/>
                  <a:pt x="10616316" y="751922"/>
                  <a:pt x="10593840" y="751922"/>
                </a:cubicBezTo>
                <a:cubicBezTo>
                  <a:pt x="10593840" y="751922"/>
                  <a:pt x="10593840" y="751922"/>
                  <a:pt x="10565693" y="751922"/>
                </a:cubicBezTo>
                <a:cubicBezTo>
                  <a:pt x="10543217" y="751922"/>
                  <a:pt x="10531958" y="740405"/>
                  <a:pt x="10531958" y="717331"/>
                </a:cubicBezTo>
                <a:cubicBezTo>
                  <a:pt x="10531958" y="717331"/>
                  <a:pt x="10531958" y="717331"/>
                  <a:pt x="10531958" y="632833"/>
                </a:cubicBezTo>
                <a:cubicBezTo>
                  <a:pt x="10531958" y="609799"/>
                  <a:pt x="10543217" y="598282"/>
                  <a:pt x="10565693" y="598282"/>
                </a:cubicBezTo>
                <a:close/>
                <a:moveTo>
                  <a:pt x="11163849" y="598009"/>
                </a:moveTo>
                <a:cubicBezTo>
                  <a:pt x="11163849" y="598009"/>
                  <a:pt x="11163849" y="598009"/>
                  <a:pt x="11220157" y="598009"/>
                </a:cubicBezTo>
                <a:cubicBezTo>
                  <a:pt x="11222852" y="598009"/>
                  <a:pt x="11224158" y="599237"/>
                  <a:pt x="11224158" y="601650"/>
                </a:cubicBezTo>
                <a:cubicBezTo>
                  <a:pt x="11224158" y="601650"/>
                  <a:pt x="11224158" y="601650"/>
                  <a:pt x="11224158" y="714866"/>
                </a:cubicBezTo>
                <a:cubicBezTo>
                  <a:pt x="11224158" y="726686"/>
                  <a:pt x="11220973" y="735807"/>
                  <a:pt x="11214522" y="742270"/>
                </a:cubicBezTo>
                <a:cubicBezTo>
                  <a:pt x="11208070" y="748691"/>
                  <a:pt x="11198842" y="751922"/>
                  <a:pt x="11186756" y="751922"/>
                </a:cubicBezTo>
                <a:cubicBezTo>
                  <a:pt x="11186756" y="751922"/>
                  <a:pt x="11186756" y="751922"/>
                  <a:pt x="11163849" y="751922"/>
                </a:cubicBezTo>
                <a:cubicBezTo>
                  <a:pt x="11141595" y="751922"/>
                  <a:pt x="11130448" y="740225"/>
                  <a:pt x="11130448" y="716870"/>
                </a:cubicBezTo>
                <a:cubicBezTo>
                  <a:pt x="11130448" y="716870"/>
                  <a:pt x="11130448" y="716870"/>
                  <a:pt x="11130448" y="633062"/>
                </a:cubicBezTo>
                <a:cubicBezTo>
                  <a:pt x="11130448" y="609707"/>
                  <a:pt x="11141595" y="598009"/>
                  <a:pt x="11163849" y="598009"/>
                </a:cubicBezTo>
                <a:close/>
                <a:moveTo>
                  <a:pt x="11617220" y="572403"/>
                </a:moveTo>
                <a:cubicBezTo>
                  <a:pt x="11612403" y="572403"/>
                  <a:pt x="11609177" y="574159"/>
                  <a:pt x="11607585" y="577630"/>
                </a:cubicBezTo>
                <a:cubicBezTo>
                  <a:pt x="11607585" y="577630"/>
                  <a:pt x="11607585" y="577630"/>
                  <a:pt x="11550466" y="667717"/>
                </a:cubicBezTo>
                <a:cubicBezTo>
                  <a:pt x="11548874" y="670699"/>
                  <a:pt x="11548874" y="673516"/>
                  <a:pt x="11550466" y="676171"/>
                </a:cubicBezTo>
                <a:cubicBezTo>
                  <a:pt x="11550466" y="676171"/>
                  <a:pt x="11550466" y="676171"/>
                  <a:pt x="11612403" y="771894"/>
                </a:cubicBezTo>
                <a:cubicBezTo>
                  <a:pt x="11614811" y="775692"/>
                  <a:pt x="11618567" y="777529"/>
                  <a:pt x="11623671" y="777529"/>
                </a:cubicBezTo>
                <a:cubicBezTo>
                  <a:pt x="11623671" y="777529"/>
                  <a:pt x="11623671" y="777529"/>
                  <a:pt x="11642534" y="777529"/>
                </a:cubicBezTo>
                <a:cubicBezTo>
                  <a:pt x="11644698" y="777529"/>
                  <a:pt x="11646167" y="776957"/>
                  <a:pt x="11646984" y="775732"/>
                </a:cubicBezTo>
                <a:cubicBezTo>
                  <a:pt x="11647760" y="774548"/>
                  <a:pt x="11647637" y="772996"/>
                  <a:pt x="11646576" y="771118"/>
                </a:cubicBezTo>
                <a:cubicBezTo>
                  <a:pt x="11646576" y="771118"/>
                  <a:pt x="11646576" y="771118"/>
                  <a:pt x="11581414" y="672169"/>
                </a:cubicBezTo>
                <a:cubicBezTo>
                  <a:pt x="11581414" y="672169"/>
                  <a:pt x="11581414" y="672169"/>
                  <a:pt x="11581414" y="670535"/>
                </a:cubicBezTo>
                <a:cubicBezTo>
                  <a:pt x="11581414" y="670535"/>
                  <a:pt x="11581414" y="670535"/>
                  <a:pt x="11640533" y="578855"/>
                </a:cubicBezTo>
                <a:cubicBezTo>
                  <a:pt x="11641881" y="576977"/>
                  <a:pt x="11642207" y="575425"/>
                  <a:pt x="11641554" y="574200"/>
                </a:cubicBezTo>
                <a:cubicBezTo>
                  <a:pt x="11640901" y="573015"/>
                  <a:pt x="11639472" y="572403"/>
                  <a:pt x="11637308" y="572403"/>
                </a:cubicBezTo>
                <a:cubicBezTo>
                  <a:pt x="11637308" y="572403"/>
                  <a:pt x="11637308" y="572403"/>
                  <a:pt x="11617220" y="572403"/>
                </a:cubicBezTo>
                <a:close/>
                <a:moveTo>
                  <a:pt x="11438881" y="572403"/>
                </a:moveTo>
                <a:cubicBezTo>
                  <a:pt x="11435403" y="572403"/>
                  <a:pt x="11433643" y="574281"/>
                  <a:pt x="11433643" y="578038"/>
                </a:cubicBezTo>
                <a:cubicBezTo>
                  <a:pt x="11433643" y="578038"/>
                  <a:pt x="11433643" y="578038"/>
                  <a:pt x="11433643" y="771935"/>
                </a:cubicBezTo>
                <a:cubicBezTo>
                  <a:pt x="11433643" y="775692"/>
                  <a:pt x="11435525" y="777529"/>
                  <a:pt x="11439290" y="777529"/>
                </a:cubicBezTo>
                <a:cubicBezTo>
                  <a:pt x="11439290" y="777529"/>
                  <a:pt x="11439290" y="777529"/>
                  <a:pt x="11457458" y="777529"/>
                </a:cubicBezTo>
                <a:cubicBezTo>
                  <a:pt x="11461181" y="777529"/>
                  <a:pt x="11463064" y="775692"/>
                  <a:pt x="11463064" y="771935"/>
                </a:cubicBezTo>
                <a:cubicBezTo>
                  <a:pt x="11463064" y="771935"/>
                  <a:pt x="11463064" y="771935"/>
                  <a:pt x="11463064" y="578038"/>
                </a:cubicBezTo>
                <a:cubicBezTo>
                  <a:pt x="11463064" y="574281"/>
                  <a:pt x="11461181" y="572403"/>
                  <a:pt x="11457458" y="572403"/>
                </a:cubicBezTo>
                <a:cubicBezTo>
                  <a:pt x="11457458" y="572403"/>
                  <a:pt x="11457458" y="572403"/>
                  <a:pt x="11438881" y="572403"/>
                </a:cubicBezTo>
                <a:close/>
                <a:moveTo>
                  <a:pt x="11160610" y="572403"/>
                </a:moveTo>
                <a:cubicBezTo>
                  <a:pt x="11142098" y="572403"/>
                  <a:pt x="11127549" y="577630"/>
                  <a:pt x="11116965" y="588084"/>
                </a:cubicBezTo>
                <a:cubicBezTo>
                  <a:pt x="11106340" y="598539"/>
                  <a:pt x="11101028" y="613159"/>
                  <a:pt x="11101028" y="631944"/>
                </a:cubicBezTo>
                <a:cubicBezTo>
                  <a:pt x="11101028" y="631944"/>
                  <a:pt x="11101028" y="631944"/>
                  <a:pt x="11101028" y="718029"/>
                </a:cubicBezTo>
                <a:cubicBezTo>
                  <a:pt x="11101028" y="736773"/>
                  <a:pt x="11106340" y="751393"/>
                  <a:pt x="11116965" y="761848"/>
                </a:cubicBezTo>
                <a:cubicBezTo>
                  <a:pt x="11127549" y="772302"/>
                  <a:pt x="11142098" y="777529"/>
                  <a:pt x="11160610" y="777529"/>
                </a:cubicBezTo>
                <a:cubicBezTo>
                  <a:pt x="11160610" y="777529"/>
                  <a:pt x="11160610" y="777529"/>
                  <a:pt x="11181533" y="777529"/>
                </a:cubicBezTo>
                <a:cubicBezTo>
                  <a:pt x="11202211" y="777529"/>
                  <a:pt x="11215901" y="770424"/>
                  <a:pt x="11222603" y="756212"/>
                </a:cubicBezTo>
                <a:cubicBezTo>
                  <a:pt x="11222603" y="756212"/>
                  <a:pt x="11222603" y="756212"/>
                  <a:pt x="11224196" y="756212"/>
                </a:cubicBezTo>
                <a:cubicBezTo>
                  <a:pt x="11224196" y="756212"/>
                  <a:pt x="11224196" y="756212"/>
                  <a:pt x="11224196" y="771935"/>
                </a:cubicBezTo>
                <a:cubicBezTo>
                  <a:pt x="11224196" y="775692"/>
                  <a:pt x="11226076" y="777529"/>
                  <a:pt x="11229836" y="777529"/>
                </a:cubicBezTo>
                <a:cubicBezTo>
                  <a:pt x="11229836" y="777529"/>
                  <a:pt x="11229836" y="777529"/>
                  <a:pt x="11247980" y="777529"/>
                </a:cubicBezTo>
                <a:cubicBezTo>
                  <a:pt x="11251699" y="777529"/>
                  <a:pt x="11253579" y="775692"/>
                  <a:pt x="11253579" y="771935"/>
                </a:cubicBezTo>
                <a:cubicBezTo>
                  <a:pt x="11253579" y="771935"/>
                  <a:pt x="11253579" y="771935"/>
                  <a:pt x="11253579" y="578038"/>
                </a:cubicBezTo>
                <a:cubicBezTo>
                  <a:pt x="11253579" y="574281"/>
                  <a:pt x="11251699" y="572403"/>
                  <a:pt x="11247980" y="572403"/>
                </a:cubicBezTo>
                <a:cubicBezTo>
                  <a:pt x="11247980" y="572403"/>
                  <a:pt x="11247980" y="572403"/>
                  <a:pt x="11160610" y="572403"/>
                </a:cubicBezTo>
                <a:close/>
                <a:moveTo>
                  <a:pt x="10815177" y="572403"/>
                </a:moveTo>
                <a:cubicBezTo>
                  <a:pt x="10811423" y="572403"/>
                  <a:pt x="10809546" y="574281"/>
                  <a:pt x="10809546" y="578038"/>
                </a:cubicBezTo>
                <a:cubicBezTo>
                  <a:pt x="10809546" y="578038"/>
                  <a:pt x="10809546" y="578038"/>
                  <a:pt x="10809546" y="771894"/>
                </a:cubicBezTo>
                <a:cubicBezTo>
                  <a:pt x="10809546" y="775692"/>
                  <a:pt x="10811423" y="777529"/>
                  <a:pt x="10815177" y="777529"/>
                </a:cubicBezTo>
                <a:cubicBezTo>
                  <a:pt x="10815177" y="777529"/>
                  <a:pt x="10815177" y="777529"/>
                  <a:pt x="10833251" y="777529"/>
                </a:cubicBezTo>
                <a:cubicBezTo>
                  <a:pt x="10837005" y="777529"/>
                  <a:pt x="10838881" y="775692"/>
                  <a:pt x="10838881" y="771894"/>
                </a:cubicBezTo>
                <a:cubicBezTo>
                  <a:pt x="10838881" y="771894"/>
                  <a:pt x="10838881" y="771894"/>
                  <a:pt x="10838881" y="635170"/>
                </a:cubicBezTo>
                <a:cubicBezTo>
                  <a:pt x="10838881" y="623368"/>
                  <a:pt x="10842104" y="614261"/>
                  <a:pt x="10848510" y="607809"/>
                </a:cubicBezTo>
                <a:cubicBezTo>
                  <a:pt x="10854956" y="601356"/>
                  <a:pt x="10864177" y="598171"/>
                  <a:pt x="10876254" y="598171"/>
                </a:cubicBezTo>
                <a:cubicBezTo>
                  <a:pt x="10876254" y="598171"/>
                  <a:pt x="10876254" y="598171"/>
                  <a:pt x="10891105" y="598171"/>
                </a:cubicBezTo>
                <a:cubicBezTo>
                  <a:pt x="10913626" y="598171"/>
                  <a:pt x="10924887" y="609810"/>
                  <a:pt x="10924887" y="633128"/>
                </a:cubicBezTo>
                <a:cubicBezTo>
                  <a:pt x="10924887" y="633128"/>
                  <a:pt x="10924887" y="633128"/>
                  <a:pt x="10924887" y="771894"/>
                </a:cubicBezTo>
                <a:cubicBezTo>
                  <a:pt x="10924887" y="775692"/>
                  <a:pt x="10926764" y="777529"/>
                  <a:pt x="10930517" y="777529"/>
                </a:cubicBezTo>
                <a:cubicBezTo>
                  <a:pt x="10930517" y="777529"/>
                  <a:pt x="10930517" y="777529"/>
                  <a:pt x="10948591" y="777529"/>
                </a:cubicBezTo>
                <a:cubicBezTo>
                  <a:pt x="10952345" y="777529"/>
                  <a:pt x="10954222" y="775692"/>
                  <a:pt x="10954222" y="771894"/>
                </a:cubicBezTo>
                <a:cubicBezTo>
                  <a:pt x="10954222" y="771894"/>
                  <a:pt x="10954222" y="771894"/>
                  <a:pt x="10954222" y="636354"/>
                </a:cubicBezTo>
                <a:cubicBezTo>
                  <a:pt x="10954222" y="624552"/>
                  <a:pt x="10957486" y="615241"/>
                  <a:pt x="10964054" y="608421"/>
                </a:cubicBezTo>
                <a:cubicBezTo>
                  <a:pt x="10970623" y="601561"/>
                  <a:pt x="10979926" y="598171"/>
                  <a:pt x="10992002" y="598171"/>
                </a:cubicBezTo>
                <a:cubicBezTo>
                  <a:pt x="10992002" y="598171"/>
                  <a:pt x="10992002" y="598171"/>
                  <a:pt x="11005262" y="598171"/>
                </a:cubicBezTo>
                <a:cubicBezTo>
                  <a:pt x="11027743" y="598171"/>
                  <a:pt x="11039003" y="609810"/>
                  <a:pt x="11039003" y="633128"/>
                </a:cubicBezTo>
                <a:cubicBezTo>
                  <a:pt x="11039003" y="633128"/>
                  <a:pt x="11039003" y="633128"/>
                  <a:pt x="11039003" y="771894"/>
                </a:cubicBezTo>
                <a:cubicBezTo>
                  <a:pt x="11039003" y="775692"/>
                  <a:pt x="11040880" y="777529"/>
                  <a:pt x="11044634" y="777529"/>
                </a:cubicBezTo>
                <a:cubicBezTo>
                  <a:pt x="11044634" y="777529"/>
                  <a:pt x="11044634" y="777529"/>
                  <a:pt x="11062708" y="777529"/>
                </a:cubicBezTo>
                <a:cubicBezTo>
                  <a:pt x="11066461" y="777529"/>
                  <a:pt x="11068338" y="775692"/>
                  <a:pt x="11068338" y="771894"/>
                </a:cubicBezTo>
                <a:cubicBezTo>
                  <a:pt x="11068338" y="771894"/>
                  <a:pt x="11068338" y="771894"/>
                  <a:pt x="11068338" y="631944"/>
                </a:cubicBezTo>
                <a:cubicBezTo>
                  <a:pt x="11068338" y="613159"/>
                  <a:pt x="11063238" y="598539"/>
                  <a:pt x="11053079" y="588084"/>
                </a:cubicBezTo>
                <a:cubicBezTo>
                  <a:pt x="11042879" y="577630"/>
                  <a:pt x="11028681" y="572403"/>
                  <a:pt x="11010484" y="572403"/>
                </a:cubicBezTo>
                <a:cubicBezTo>
                  <a:pt x="11010484" y="572403"/>
                  <a:pt x="11010484" y="572403"/>
                  <a:pt x="10996408" y="572403"/>
                </a:cubicBezTo>
                <a:cubicBezTo>
                  <a:pt x="10986209" y="572403"/>
                  <a:pt x="10976498" y="574771"/>
                  <a:pt x="10967277" y="579427"/>
                </a:cubicBezTo>
                <a:cubicBezTo>
                  <a:pt x="10958016" y="584123"/>
                  <a:pt x="10951243" y="590902"/>
                  <a:pt x="10947000" y="599764"/>
                </a:cubicBezTo>
                <a:cubicBezTo>
                  <a:pt x="10937861" y="581509"/>
                  <a:pt x="10921500" y="572403"/>
                  <a:pt x="10897959" y="572403"/>
                </a:cubicBezTo>
                <a:cubicBezTo>
                  <a:pt x="10897959" y="572403"/>
                  <a:pt x="10897959" y="572403"/>
                  <a:pt x="10883067" y="572403"/>
                </a:cubicBezTo>
                <a:cubicBezTo>
                  <a:pt x="10862178" y="572403"/>
                  <a:pt x="10847980" y="579509"/>
                  <a:pt x="10840473" y="593720"/>
                </a:cubicBezTo>
                <a:cubicBezTo>
                  <a:pt x="10840473" y="593720"/>
                  <a:pt x="10840473" y="593720"/>
                  <a:pt x="10838881" y="593720"/>
                </a:cubicBezTo>
                <a:cubicBezTo>
                  <a:pt x="10838881" y="593720"/>
                  <a:pt x="10838881" y="593720"/>
                  <a:pt x="10838881" y="578038"/>
                </a:cubicBezTo>
                <a:cubicBezTo>
                  <a:pt x="10838881" y="574281"/>
                  <a:pt x="10837005" y="572403"/>
                  <a:pt x="10833251" y="572403"/>
                </a:cubicBezTo>
                <a:cubicBezTo>
                  <a:pt x="10833251" y="572403"/>
                  <a:pt x="10833251" y="572403"/>
                  <a:pt x="10815177" y="572403"/>
                </a:cubicBezTo>
                <a:close/>
                <a:moveTo>
                  <a:pt x="10694173" y="572403"/>
                </a:moveTo>
                <a:cubicBezTo>
                  <a:pt x="10690427" y="572403"/>
                  <a:pt x="10688595" y="574281"/>
                  <a:pt x="10688595" y="578038"/>
                </a:cubicBezTo>
                <a:cubicBezTo>
                  <a:pt x="10688595" y="578038"/>
                  <a:pt x="10688595" y="578038"/>
                  <a:pt x="10688595" y="771894"/>
                </a:cubicBezTo>
                <a:cubicBezTo>
                  <a:pt x="10688595" y="775692"/>
                  <a:pt x="10690427" y="777529"/>
                  <a:pt x="10694173" y="777529"/>
                </a:cubicBezTo>
                <a:cubicBezTo>
                  <a:pt x="10694173" y="777529"/>
                  <a:pt x="10694173" y="777529"/>
                  <a:pt x="10712250" y="777529"/>
                </a:cubicBezTo>
                <a:cubicBezTo>
                  <a:pt x="10715955" y="777529"/>
                  <a:pt x="10717828" y="775692"/>
                  <a:pt x="10717828" y="771894"/>
                </a:cubicBezTo>
                <a:cubicBezTo>
                  <a:pt x="10717828" y="771894"/>
                  <a:pt x="10717828" y="771894"/>
                  <a:pt x="10717828" y="638764"/>
                </a:cubicBezTo>
                <a:cubicBezTo>
                  <a:pt x="10717828" y="626186"/>
                  <a:pt x="10721044" y="616262"/>
                  <a:pt x="10727477" y="609034"/>
                </a:cubicBezTo>
                <a:cubicBezTo>
                  <a:pt x="10733909" y="601765"/>
                  <a:pt x="10743111" y="598171"/>
                  <a:pt x="10755162" y="598171"/>
                </a:cubicBezTo>
                <a:cubicBezTo>
                  <a:pt x="10755162" y="598171"/>
                  <a:pt x="10755162" y="598171"/>
                  <a:pt x="10776821" y="598171"/>
                </a:cubicBezTo>
                <a:cubicBezTo>
                  <a:pt x="10778654" y="598416"/>
                  <a:pt x="10779997" y="598090"/>
                  <a:pt x="10780811" y="597150"/>
                </a:cubicBezTo>
                <a:cubicBezTo>
                  <a:pt x="10781626" y="596211"/>
                  <a:pt x="10782033" y="594782"/>
                  <a:pt x="10782033" y="592903"/>
                </a:cubicBezTo>
                <a:cubicBezTo>
                  <a:pt x="10782033" y="592903"/>
                  <a:pt x="10782033" y="592903"/>
                  <a:pt x="10782033" y="578038"/>
                </a:cubicBezTo>
                <a:cubicBezTo>
                  <a:pt x="10782033" y="574281"/>
                  <a:pt x="10780282" y="572403"/>
                  <a:pt x="10776821" y="572403"/>
                </a:cubicBezTo>
                <a:cubicBezTo>
                  <a:pt x="10776821" y="572403"/>
                  <a:pt x="10776821" y="572403"/>
                  <a:pt x="10761147" y="572403"/>
                </a:cubicBezTo>
                <a:cubicBezTo>
                  <a:pt x="10751009" y="572403"/>
                  <a:pt x="10742174" y="574567"/>
                  <a:pt x="10734683" y="578855"/>
                </a:cubicBezTo>
                <a:cubicBezTo>
                  <a:pt x="10727192" y="583143"/>
                  <a:pt x="10722143" y="588248"/>
                  <a:pt x="10719456" y="594128"/>
                </a:cubicBezTo>
                <a:cubicBezTo>
                  <a:pt x="10719456" y="594128"/>
                  <a:pt x="10719456" y="594128"/>
                  <a:pt x="10717828" y="594128"/>
                </a:cubicBezTo>
                <a:cubicBezTo>
                  <a:pt x="10717828" y="594128"/>
                  <a:pt x="10717828" y="594128"/>
                  <a:pt x="10717828" y="578038"/>
                </a:cubicBezTo>
                <a:cubicBezTo>
                  <a:pt x="10717828" y="574281"/>
                  <a:pt x="10715955" y="572403"/>
                  <a:pt x="10712250" y="572403"/>
                </a:cubicBezTo>
                <a:cubicBezTo>
                  <a:pt x="10712250" y="572403"/>
                  <a:pt x="10712250" y="572403"/>
                  <a:pt x="10694173" y="572403"/>
                </a:cubicBezTo>
                <a:close/>
                <a:moveTo>
                  <a:pt x="10562481" y="572403"/>
                </a:moveTo>
                <a:cubicBezTo>
                  <a:pt x="10544013" y="572403"/>
                  <a:pt x="10529500" y="577630"/>
                  <a:pt x="10518941" y="588084"/>
                </a:cubicBezTo>
                <a:cubicBezTo>
                  <a:pt x="10508341" y="598539"/>
                  <a:pt x="10503082" y="613159"/>
                  <a:pt x="10503082" y="631944"/>
                </a:cubicBezTo>
                <a:cubicBezTo>
                  <a:pt x="10503082" y="631944"/>
                  <a:pt x="10503082" y="631944"/>
                  <a:pt x="10503082" y="718029"/>
                </a:cubicBezTo>
                <a:cubicBezTo>
                  <a:pt x="10503082" y="736773"/>
                  <a:pt x="10508341" y="751393"/>
                  <a:pt x="10518941" y="761848"/>
                </a:cubicBezTo>
                <a:cubicBezTo>
                  <a:pt x="10529500" y="772302"/>
                  <a:pt x="10544013" y="777529"/>
                  <a:pt x="10562481" y="777529"/>
                </a:cubicBezTo>
                <a:cubicBezTo>
                  <a:pt x="10562481" y="777529"/>
                  <a:pt x="10562481" y="777529"/>
                  <a:pt x="10597011" y="777529"/>
                </a:cubicBezTo>
                <a:cubicBezTo>
                  <a:pt x="10615479" y="777529"/>
                  <a:pt x="10630033" y="772302"/>
                  <a:pt x="10640592" y="761848"/>
                </a:cubicBezTo>
                <a:cubicBezTo>
                  <a:pt x="10651151" y="751393"/>
                  <a:pt x="10656451" y="736773"/>
                  <a:pt x="10656451" y="718029"/>
                </a:cubicBezTo>
                <a:cubicBezTo>
                  <a:pt x="10656451" y="718029"/>
                  <a:pt x="10656451" y="718029"/>
                  <a:pt x="10656451" y="631944"/>
                </a:cubicBezTo>
                <a:cubicBezTo>
                  <a:pt x="10656451" y="613159"/>
                  <a:pt x="10651151" y="598539"/>
                  <a:pt x="10640592" y="588084"/>
                </a:cubicBezTo>
                <a:cubicBezTo>
                  <a:pt x="10630033" y="577630"/>
                  <a:pt x="10615479" y="572403"/>
                  <a:pt x="10597011" y="572403"/>
                </a:cubicBezTo>
                <a:cubicBezTo>
                  <a:pt x="10597011" y="572403"/>
                  <a:pt x="10597011" y="572403"/>
                  <a:pt x="10562481" y="572403"/>
                </a:cubicBezTo>
                <a:close/>
                <a:moveTo>
                  <a:pt x="10209875" y="572403"/>
                </a:moveTo>
                <a:cubicBezTo>
                  <a:pt x="10206122" y="572403"/>
                  <a:pt x="10204246" y="574281"/>
                  <a:pt x="10204246" y="578038"/>
                </a:cubicBezTo>
                <a:cubicBezTo>
                  <a:pt x="10204246" y="578038"/>
                  <a:pt x="10204246" y="578038"/>
                  <a:pt x="10204246" y="771894"/>
                </a:cubicBezTo>
                <a:cubicBezTo>
                  <a:pt x="10204246" y="775692"/>
                  <a:pt x="10206122" y="777529"/>
                  <a:pt x="10209875" y="777529"/>
                </a:cubicBezTo>
                <a:cubicBezTo>
                  <a:pt x="10209875" y="777529"/>
                  <a:pt x="10209875" y="777529"/>
                  <a:pt x="10227946" y="777529"/>
                </a:cubicBezTo>
                <a:cubicBezTo>
                  <a:pt x="10231699" y="777529"/>
                  <a:pt x="10233576" y="775692"/>
                  <a:pt x="10233576" y="771894"/>
                </a:cubicBezTo>
                <a:cubicBezTo>
                  <a:pt x="10233576" y="771894"/>
                  <a:pt x="10233576" y="771894"/>
                  <a:pt x="10233576" y="635170"/>
                </a:cubicBezTo>
                <a:cubicBezTo>
                  <a:pt x="10233576" y="623368"/>
                  <a:pt x="10236799" y="614261"/>
                  <a:pt x="10243203" y="607809"/>
                </a:cubicBezTo>
                <a:cubicBezTo>
                  <a:pt x="10249648" y="601356"/>
                  <a:pt x="10258867" y="598171"/>
                  <a:pt x="10270942" y="598171"/>
                </a:cubicBezTo>
                <a:cubicBezTo>
                  <a:pt x="10270942" y="598171"/>
                  <a:pt x="10270942" y="598171"/>
                  <a:pt x="10293459" y="598171"/>
                </a:cubicBezTo>
                <a:cubicBezTo>
                  <a:pt x="10315936" y="598171"/>
                  <a:pt x="10327195" y="609810"/>
                  <a:pt x="10327195" y="633128"/>
                </a:cubicBezTo>
                <a:cubicBezTo>
                  <a:pt x="10327195" y="633128"/>
                  <a:pt x="10327195" y="633128"/>
                  <a:pt x="10327195" y="771894"/>
                </a:cubicBezTo>
                <a:cubicBezTo>
                  <a:pt x="10327195" y="775692"/>
                  <a:pt x="10329071" y="777529"/>
                  <a:pt x="10332824" y="777529"/>
                </a:cubicBezTo>
                <a:cubicBezTo>
                  <a:pt x="10332824" y="777529"/>
                  <a:pt x="10332824" y="777529"/>
                  <a:pt x="10350895" y="777529"/>
                </a:cubicBezTo>
                <a:cubicBezTo>
                  <a:pt x="10354648" y="777529"/>
                  <a:pt x="10356524" y="775692"/>
                  <a:pt x="10356524" y="771894"/>
                </a:cubicBezTo>
                <a:cubicBezTo>
                  <a:pt x="10356524" y="771894"/>
                  <a:pt x="10356524" y="771894"/>
                  <a:pt x="10356524" y="631944"/>
                </a:cubicBezTo>
                <a:cubicBezTo>
                  <a:pt x="10356524" y="613159"/>
                  <a:pt x="10351426" y="598539"/>
                  <a:pt x="10341268" y="588084"/>
                </a:cubicBezTo>
                <a:cubicBezTo>
                  <a:pt x="10331070" y="577630"/>
                  <a:pt x="10316874" y="572403"/>
                  <a:pt x="10298681" y="572403"/>
                </a:cubicBezTo>
                <a:cubicBezTo>
                  <a:pt x="10298681" y="572403"/>
                  <a:pt x="10298681" y="572403"/>
                  <a:pt x="10276163" y="572403"/>
                </a:cubicBezTo>
                <a:cubicBezTo>
                  <a:pt x="10255522" y="572403"/>
                  <a:pt x="10241857" y="579509"/>
                  <a:pt x="10235167" y="593720"/>
                </a:cubicBezTo>
                <a:cubicBezTo>
                  <a:pt x="10235167" y="593720"/>
                  <a:pt x="10235167" y="593720"/>
                  <a:pt x="10233576" y="593720"/>
                </a:cubicBezTo>
                <a:cubicBezTo>
                  <a:pt x="10233576" y="593720"/>
                  <a:pt x="10233576" y="593720"/>
                  <a:pt x="10233576" y="578038"/>
                </a:cubicBezTo>
                <a:cubicBezTo>
                  <a:pt x="10233576" y="574281"/>
                  <a:pt x="10231699" y="572403"/>
                  <a:pt x="10227946" y="572403"/>
                </a:cubicBezTo>
                <a:cubicBezTo>
                  <a:pt x="10227946" y="572403"/>
                  <a:pt x="10227946" y="572403"/>
                  <a:pt x="10209875" y="572403"/>
                </a:cubicBezTo>
                <a:close/>
                <a:moveTo>
                  <a:pt x="10142198" y="572403"/>
                </a:moveTo>
                <a:cubicBezTo>
                  <a:pt x="10138679" y="572403"/>
                  <a:pt x="10136960" y="574281"/>
                  <a:pt x="10136960" y="578038"/>
                </a:cubicBezTo>
                <a:cubicBezTo>
                  <a:pt x="10136960" y="578038"/>
                  <a:pt x="10136960" y="578038"/>
                  <a:pt x="10136960" y="771935"/>
                </a:cubicBezTo>
                <a:cubicBezTo>
                  <a:pt x="10136960" y="775692"/>
                  <a:pt x="10138842" y="777529"/>
                  <a:pt x="10142607" y="777529"/>
                </a:cubicBezTo>
                <a:cubicBezTo>
                  <a:pt x="10142607" y="777529"/>
                  <a:pt x="10142607" y="777529"/>
                  <a:pt x="10160734" y="777529"/>
                </a:cubicBezTo>
                <a:cubicBezTo>
                  <a:pt x="10164498" y="777529"/>
                  <a:pt x="10166381" y="775692"/>
                  <a:pt x="10166381" y="771935"/>
                </a:cubicBezTo>
                <a:cubicBezTo>
                  <a:pt x="10166381" y="771935"/>
                  <a:pt x="10166381" y="771935"/>
                  <a:pt x="10166381" y="578038"/>
                </a:cubicBezTo>
                <a:cubicBezTo>
                  <a:pt x="10166381" y="574281"/>
                  <a:pt x="10164498" y="572403"/>
                  <a:pt x="10160734" y="572403"/>
                </a:cubicBezTo>
                <a:cubicBezTo>
                  <a:pt x="10160734" y="572403"/>
                  <a:pt x="10160734" y="572403"/>
                  <a:pt x="10142198" y="572403"/>
                </a:cubicBezTo>
                <a:close/>
                <a:moveTo>
                  <a:pt x="9865644" y="571313"/>
                </a:moveTo>
                <a:cubicBezTo>
                  <a:pt x="9860010" y="571313"/>
                  <a:pt x="9858010" y="574131"/>
                  <a:pt x="9859602" y="579767"/>
                </a:cubicBezTo>
                <a:cubicBezTo>
                  <a:pt x="9859602" y="579767"/>
                  <a:pt x="9859602" y="579767"/>
                  <a:pt x="9910020" y="768122"/>
                </a:cubicBezTo>
                <a:cubicBezTo>
                  <a:pt x="9911612" y="774044"/>
                  <a:pt x="9915245" y="776985"/>
                  <a:pt x="9920879" y="776985"/>
                </a:cubicBezTo>
                <a:cubicBezTo>
                  <a:pt x="9920879" y="776985"/>
                  <a:pt x="9920879" y="776985"/>
                  <a:pt x="9972073" y="776985"/>
                </a:cubicBezTo>
                <a:cubicBezTo>
                  <a:pt x="9978278" y="776985"/>
                  <a:pt x="9981871" y="774044"/>
                  <a:pt x="9982973" y="768122"/>
                </a:cubicBezTo>
                <a:cubicBezTo>
                  <a:pt x="9982973" y="768122"/>
                  <a:pt x="9982973" y="768122"/>
                  <a:pt x="10033758" y="579767"/>
                </a:cubicBezTo>
                <a:cubicBezTo>
                  <a:pt x="10035350" y="574131"/>
                  <a:pt x="10033350" y="571313"/>
                  <a:pt x="10027716" y="571313"/>
                </a:cubicBezTo>
                <a:cubicBezTo>
                  <a:pt x="10027716" y="571313"/>
                  <a:pt x="10027716" y="571313"/>
                  <a:pt x="9992240" y="571313"/>
                </a:cubicBezTo>
                <a:cubicBezTo>
                  <a:pt x="9986606" y="571313"/>
                  <a:pt x="9983218" y="574131"/>
                  <a:pt x="9982156" y="579767"/>
                </a:cubicBezTo>
                <a:cubicBezTo>
                  <a:pt x="9982156" y="579767"/>
                  <a:pt x="9982156" y="579767"/>
                  <a:pt x="9948313" y="731407"/>
                </a:cubicBezTo>
                <a:cubicBezTo>
                  <a:pt x="9948313" y="731407"/>
                  <a:pt x="9948313" y="731407"/>
                  <a:pt x="9945455" y="731407"/>
                </a:cubicBezTo>
                <a:cubicBezTo>
                  <a:pt x="9945455" y="731407"/>
                  <a:pt x="9945455" y="731407"/>
                  <a:pt x="9910796" y="579767"/>
                </a:cubicBezTo>
                <a:cubicBezTo>
                  <a:pt x="9909734" y="574131"/>
                  <a:pt x="9906509" y="571313"/>
                  <a:pt x="9901120" y="571313"/>
                </a:cubicBezTo>
                <a:cubicBezTo>
                  <a:pt x="9901120" y="571313"/>
                  <a:pt x="9901120" y="571313"/>
                  <a:pt x="9865644" y="571313"/>
                </a:cubicBezTo>
                <a:close/>
                <a:moveTo>
                  <a:pt x="9801839" y="571313"/>
                </a:moveTo>
                <a:cubicBezTo>
                  <a:pt x="9795674" y="571313"/>
                  <a:pt x="9791101" y="574009"/>
                  <a:pt x="9788161" y="579359"/>
                </a:cubicBezTo>
                <a:cubicBezTo>
                  <a:pt x="9788161" y="579359"/>
                  <a:pt x="9788161" y="579359"/>
                  <a:pt x="9739781" y="665287"/>
                </a:cubicBezTo>
                <a:cubicBezTo>
                  <a:pt x="9737331" y="669861"/>
                  <a:pt x="9737331" y="674272"/>
                  <a:pt x="9739781" y="678601"/>
                </a:cubicBezTo>
                <a:cubicBezTo>
                  <a:pt x="9739781" y="678601"/>
                  <a:pt x="9739781" y="678601"/>
                  <a:pt x="9790979" y="768490"/>
                </a:cubicBezTo>
                <a:cubicBezTo>
                  <a:pt x="9793102" y="772002"/>
                  <a:pt x="9795225" y="774289"/>
                  <a:pt x="9797225" y="775351"/>
                </a:cubicBezTo>
                <a:cubicBezTo>
                  <a:pt x="9799226" y="776454"/>
                  <a:pt x="9802533" y="776985"/>
                  <a:pt x="9807105" y="776985"/>
                </a:cubicBezTo>
                <a:cubicBezTo>
                  <a:pt x="9807105" y="776985"/>
                  <a:pt x="9807105" y="776985"/>
                  <a:pt x="9841768" y="776985"/>
                </a:cubicBezTo>
                <a:cubicBezTo>
                  <a:pt x="9845238" y="776985"/>
                  <a:pt x="9847688" y="775964"/>
                  <a:pt x="9849035" y="773963"/>
                </a:cubicBezTo>
                <a:cubicBezTo>
                  <a:pt x="9850382" y="771921"/>
                  <a:pt x="9850219" y="769593"/>
                  <a:pt x="9848627" y="766897"/>
                </a:cubicBezTo>
                <a:cubicBezTo>
                  <a:pt x="9848627" y="766897"/>
                  <a:pt x="9848627" y="766897"/>
                  <a:pt x="9792571" y="671331"/>
                </a:cubicBezTo>
                <a:cubicBezTo>
                  <a:pt x="9792571" y="671331"/>
                  <a:pt x="9792571" y="671331"/>
                  <a:pt x="9792571" y="669698"/>
                </a:cubicBezTo>
                <a:cubicBezTo>
                  <a:pt x="9792571" y="669698"/>
                  <a:pt x="9792571" y="669698"/>
                  <a:pt x="9846218" y="581401"/>
                </a:cubicBezTo>
                <a:cubicBezTo>
                  <a:pt x="9848055" y="578460"/>
                  <a:pt x="9848463" y="576010"/>
                  <a:pt x="9847402" y="574131"/>
                </a:cubicBezTo>
                <a:cubicBezTo>
                  <a:pt x="9846340" y="572253"/>
                  <a:pt x="9844177" y="571313"/>
                  <a:pt x="9840951" y="571313"/>
                </a:cubicBezTo>
                <a:cubicBezTo>
                  <a:pt x="9840951" y="571313"/>
                  <a:pt x="9840951" y="571313"/>
                  <a:pt x="9801839" y="571313"/>
                </a:cubicBezTo>
                <a:close/>
                <a:moveTo>
                  <a:pt x="9622083" y="571313"/>
                </a:moveTo>
                <a:cubicBezTo>
                  <a:pt x="9600871" y="571313"/>
                  <a:pt x="9584472" y="576951"/>
                  <a:pt x="9572928" y="588267"/>
                </a:cubicBezTo>
                <a:cubicBezTo>
                  <a:pt x="9561384" y="599542"/>
                  <a:pt x="9555632" y="615842"/>
                  <a:pt x="9555632" y="637044"/>
                </a:cubicBezTo>
                <a:cubicBezTo>
                  <a:pt x="9555632" y="637044"/>
                  <a:pt x="9555632" y="637044"/>
                  <a:pt x="9555632" y="701998"/>
                </a:cubicBezTo>
                <a:cubicBezTo>
                  <a:pt x="9555632" y="723241"/>
                  <a:pt x="9560894" y="739500"/>
                  <a:pt x="9571500" y="750816"/>
                </a:cubicBezTo>
                <a:cubicBezTo>
                  <a:pt x="9582106" y="762091"/>
                  <a:pt x="9597771" y="767769"/>
                  <a:pt x="9618452" y="767769"/>
                </a:cubicBezTo>
                <a:cubicBezTo>
                  <a:pt x="9618452" y="767769"/>
                  <a:pt x="9618452" y="767769"/>
                  <a:pt x="9631751" y="767932"/>
                </a:cubicBezTo>
                <a:cubicBezTo>
                  <a:pt x="9640154" y="767810"/>
                  <a:pt x="9647089" y="767973"/>
                  <a:pt x="9655492" y="767932"/>
                </a:cubicBezTo>
                <a:cubicBezTo>
                  <a:pt x="9661611" y="767892"/>
                  <a:pt x="9664303" y="767932"/>
                  <a:pt x="9671197" y="767892"/>
                </a:cubicBezTo>
                <a:cubicBezTo>
                  <a:pt x="9671197" y="767892"/>
                  <a:pt x="9671197" y="767892"/>
                  <a:pt x="9672829" y="767892"/>
                </a:cubicBezTo>
                <a:cubicBezTo>
                  <a:pt x="9672829" y="767892"/>
                  <a:pt x="9672829" y="767892"/>
                  <a:pt x="9672829" y="776225"/>
                </a:cubicBezTo>
                <a:cubicBezTo>
                  <a:pt x="9672829" y="784559"/>
                  <a:pt x="9670993" y="790564"/>
                  <a:pt x="9667404" y="794200"/>
                </a:cubicBezTo>
                <a:cubicBezTo>
                  <a:pt x="9663732" y="797795"/>
                  <a:pt x="9657654" y="799633"/>
                  <a:pt x="9649047" y="799633"/>
                </a:cubicBezTo>
                <a:cubicBezTo>
                  <a:pt x="9649047" y="799633"/>
                  <a:pt x="9649047" y="799633"/>
                  <a:pt x="9580189" y="799633"/>
                </a:cubicBezTo>
                <a:cubicBezTo>
                  <a:pt x="9574519" y="799633"/>
                  <a:pt x="9571704" y="802452"/>
                  <a:pt x="9571704" y="808090"/>
                </a:cubicBezTo>
                <a:cubicBezTo>
                  <a:pt x="9571704" y="808090"/>
                  <a:pt x="9571704" y="808090"/>
                  <a:pt x="9571704" y="835910"/>
                </a:cubicBezTo>
                <a:cubicBezTo>
                  <a:pt x="9571704" y="838892"/>
                  <a:pt x="9572316" y="840975"/>
                  <a:pt x="9573540" y="842160"/>
                </a:cubicBezTo>
                <a:cubicBezTo>
                  <a:pt x="9574723" y="843386"/>
                  <a:pt x="9576966" y="843998"/>
                  <a:pt x="9580189" y="843998"/>
                </a:cubicBezTo>
                <a:cubicBezTo>
                  <a:pt x="9580189" y="843998"/>
                  <a:pt x="9580189" y="843998"/>
                  <a:pt x="9657532" y="843998"/>
                </a:cubicBezTo>
                <a:cubicBezTo>
                  <a:pt x="9678458" y="843998"/>
                  <a:pt x="9694775" y="838361"/>
                  <a:pt x="9706442" y="827045"/>
                </a:cubicBezTo>
                <a:cubicBezTo>
                  <a:pt x="9718109" y="815770"/>
                  <a:pt x="9723983" y="799633"/>
                  <a:pt x="9723983" y="778636"/>
                </a:cubicBezTo>
                <a:cubicBezTo>
                  <a:pt x="9723983" y="778636"/>
                  <a:pt x="9723983" y="778636"/>
                  <a:pt x="9723983" y="579770"/>
                </a:cubicBezTo>
                <a:cubicBezTo>
                  <a:pt x="9723983" y="574132"/>
                  <a:pt x="9721005" y="571313"/>
                  <a:pt x="9715090" y="571313"/>
                </a:cubicBezTo>
                <a:cubicBezTo>
                  <a:pt x="9715090" y="571313"/>
                  <a:pt x="9715090" y="571313"/>
                  <a:pt x="9622083" y="571313"/>
                </a:cubicBezTo>
                <a:close/>
                <a:moveTo>
                  <a:pt x="11320152" y="528544"/>
                </a:moveTo>
                <a:cubicBezTo>
                  <a:pt x="11316393" y="528544"/>
                  <a:pt x="11314555" y="530464"/>
                  <a:pt x="11314555" y="534180"/>
                </a:cubicBezTo>
                <a:cubicBezTo>
                  <a:pt x="11314555" y="534180"/>
                  <a:pt x="11314555" y="534180"/>
                  <a:pt x="11314555" y="568769"/>
                </a:cubicBezTo>
                <a:cubicBezTo>
                  <a:pt x="11314555" y="571219"/>
                  <a:pt x="11313206" y="572404"/>
                  <a:pt x="11310510" y="572404"/>
                </a:cubicBezTo>
                <a:cubicBezTo>
                  <a:pt x="11310510" y="572404"/>
                  <a:pt x="11310510" y="572404"/>
                  <a:pt x="11288365" y="572404"/>
                </a:cubicBezTo>
                <a:cubicBezTo>
                  <a:pt x="11284606" y="572404"/>
                  <a:pt x="11282727" y="574282"/>
                  <a:pt x="11282727" y="578039"/>
                </a:cubicBezTo>
                <a:cubicBezTo>
                  <a:pt x="11282727" y="578039"/>
                  <a:pt x="11282727" y="578039"/>
                  <a:pt x="11282727" y="592904"/>
                </a:cubicBezTo>
                <a:cubicBezTo>
                  <a:pt x="11282727" y="596416"/>
                  <a:pt x="11284606" y="598131"/>
                  <a:pt x="11288365" y="598131"/>
                </a:cubicBezTo>
                <a:cubicBezTo>
                  <a:pt x="11288365" y="598131"/>
                  <a:pt x="11288365" y="598131"/>
                  <a:pt x="11310510" y="598131"/>
                </a:cubicBezTo>
                <a:cubicBezTo>
                  <a:pt x="11313206" y="598131"/>
                  <a:pt x="11314555" y="599356"/>
                  <a:pt x="11314555" y="601765"/>
                </a:cubicBezTo>
                <a:cubicBezTo>
                  <a:pt x="11314555" y="601765"/>
                  <a:pt x="11314555" y="601765"/>
                  <a:pt x="11314555" y="718805"/>
                </a:cubicBezTo>
                <a:cubicBezTo>
                  <a:pt x="11314555" y="737345"/>
                  <a:pt x="11320029" y="751720"/>
                  <a:pt x="11331061" y="762052"/>
                </a:cubicBezTo>
                <a:cubicBezTo>
                  <a:pt x="11342011" y="772383"/>
                  <a:pt x="11356801" y="777529"/>
                  <a:pt x="11375309" y="777529"/>
                </a:cubicBezTo>
                <a:cubicBezTo>
                  <a:pt x="11375309" y="777529"/>
                  <a:pt x="11375309" y="777529"/>
                  <a:pt x="11394635" y="777529"/>
                </a:cubicBezTo>
                <a:cubicBezTo>
                  <a:pt x="11398639" y="777529"/>
                  <a:pt x="11400681" y="775814"/>
                  <a:pt x="11400681" y="772302"/>
                </a:cubicBezTo>
                <a:cubicBezTo>
                  <a:pt x="11400681" y="772302"/>
                  <a:pt x="11400681" y="772302"/>
                  <a:pt x="11400681" y="757437"/>
                </a:cubicBezTo>
                <a:cubicBezTo>
                  <a:pt x="11400681" y="753680"/>
                  <a:pt x="11398639" y="751802"/>
                  <a:pt x="11394635" y="751802"/>
                </a:cubicBezTo>
                <a:cubicBezTo>
                  <a:pt x="11394635" y="751802"/>
                  <a:pt x="11394635" y="751802"/>
                  <a:pt x="11378945" y="751802"/>
                </a:cubicBezTo>
                <a:cubicBezTo>
                  <a:pt x="11355330" y="751802"/>
                  <a:pt x="11343522" y="740408"/>
                  <a:pt x="11343522" y="717621"/>
                </a:cubicBezTo>
                <a:cubicBezTo>
                  <a:pt x="11343522" y="717621"/>
                  <a:pt x="11343522" y="717621"/>
                  <a:pt x="11343522" y="601765"/>
                </a:cubicBezTo>
                <a:cubicBezTo>
                  <a:pt x="11343522" y="599356"/>
                  <a:pt x="11344993" y="598131"/>
                  <a:pt x="11347935" y="598131"/>
                </a:cubicBezTo>
                <a:cubicBezTo>
                  <a:pt x="11347935" y="598131"/>
                  <a:pt x="11347935" y="598131"/>
                  <a:pt x="11390590" y="598131"/>
                </a:cubicBezTo>
                <a:cubicBezTo>
                  <a:pt x="11394635" y="598131"/>
                  <a:pt x="11396637" y="596416"/>
                  <a:pt x="11396637" y="592904"/>
                </a:cubicBezTo>
                <a:cubicBezTo>
                  <a:pt x="11396637" y="592904"/>
                  <a:pt x="11396637" y="592904"/>
                  <a:pt x="11396637" y="578039"/>
                </a:cubicBezTo>
                <a:cubicBezTo>
                  <a:pt x="11396637" y="574282"/>
                  <a:pt x="11394635" y="572404"/>
                  <a:pt x="11390590" y="572404"/>
                </a:cubicBezTo>
                <a:cubicBezTo>
                  <a:pt x="11390590" y="572404"/>
                  <a:pt x="11390590" y="572404"/>
                  <a:pt x="11347935" y="572404"/>
                </a:cubicBezTo>
                <a:cubicBezTo>
                  <a:pt x="11344993" y="572404"/>
                  <a:pt x="11343522" y="571219"/>
                  <a:pt x="11343522" y="568769"/>
                </a:cubicBezTo>
                <a:cubicBezTo>
                  <a:pt x="11343522" y="568769"/>
                  <a:pt x="11343522" y="568769"/>
                  <a:pt x="11343522" y="534180"/>
                </a:cubicBezTo>
                <a:cubicBezTo>
                  <a:pt x="11343522" y="530464"/>
                  <a:pt x="11341765" y="528544"/>
                  <a:pt x="11338293" y="528544"/>
                </a:cubicBezTo>
                <a:cubicBezTo>
                  <a:pt x="11338293" y="528544"/>
                  <a:pt x="11338293" y="528544"/>
                  <a:pt x="11320152" y="528544"/>
                </a:cubicBezTo>
                <a:close/>
                <a:moveTo>
                  <a:pt x="11438881" y="495038"/>
                </a:moveTo>
                <a:cubicBezTo>
                  <a:pt x="11435403" y="495038"/>
                  <a:pt x="11433643" y="496925"/>
                  <a:pt x="11433643" y="500699"/>
                </a:cubicBezTo>
                <a:cubicBezTo>
                  <a:pt x="11433643" y="500699"/>
                  <a:pt x="11433643" y="500699"/>
                  <a:pt x="11433643" y="538684"/>
                </a:cubicBezTo>
                <a:cubicBezTo>
                  <a:pt x="11433643" y="542458"/>
                  <a:pt x="11435403" y="544344"/>
                  <a:pt x="11438881" y="544344"/>
                </a:cubicBezTo>
                <a:cubicBezTo>
                  <a:pt x="11438881" y="544344"/>
                  <a:pt x="11438881" y="544344"/>
                  <a:pt x="11457458" y="544344"/>
                </a:cubicBezTo>
                <a:cubicBezTo>
                  <a:pt x="11461181" y="544344"/>
                  <a:pt x="11463064" y="542458"/>
                  <a:pt x="11463064" y="538684"/>
                </a:cubicBezTo>
                <a:cubicBezTo>
                  <a:pt x="11463064" y="538684"/>
                  <a:pt x="11463064" y="538684"/>
                  <a:pt x="11463064" y="500699"/>
                </a:cubicBezTo>
                <a:cubicBezTo>
                  <a:pt x="11463064" y="496925"/>
                  <a:pt x="11461181" y="495038"/>
                  <a:pt x="11457458" y="495038"/>
                </a:cubicBezTo>
                <a:cubicBezTo>
                  <a:pt x="11457458" y="495038"/>
                  <a:pt x="11457458" y="495038"/>
                  <a:pt x="11438881" y="495038"/>
                </a:cubicBezTo>
                <a:close/>
                <a:moveTo>
                  <a:pt x="10142198" y="495038"/>
                </a:moveTo>
                <a:cubicBezTo>
                  <a:pt x="10138679" y="495038"/>
                  <a:pt x="10136960" y="496925"/>
                  <a:pt x="10136960" y="500699"/>
                </a:cubicBezTo>
                <a:cubicBezTo>
                  <a:pt x="10136960" y="500699"/>
                  <a:pt x="10136960" y="500699"/>
                  <a:pt x="10136960" y="538684"/>
                </a:cubicBezTo>
                <a:cubicBezTo>
                  <a:pt x="10136960" y="542458"/>
                  <a:pt x="10138679" y="544344"/>
                  <a:pt x="10142198" y="544344"/>
                </a:cubicBezTo>
                <a:cubicBezTo>
                  <a:pt x="10142198" y="544344"/>
                  <a:pt x="10142198" y="544344"/>
                  <a:pt x="10160734" y="544344"/>
                </a:cubicBezTo>
                <a:cubicBezTo>
                  <a:pt x="10164498" y="544344"/>
                  <a:pt x="10166381" y="542458"/>
                  <a:pt x="10166381" y="538684"/>
                </a:cubicBezTo>
                <a:cubicBezTo>
                  <a:pt x="10166381" y="538684"/>
                  <a:pt x="10166381" y="538684"/>
                  <a:pt x="10166381" y="500699"/>
                </a:cubicBezTo>
                <a:cubicBezTo>
                  <a:pt x="10166381" y="496925"/>
                  <a:pt x="10164498" y="495038"/>
                  <a:pt x="10160734" y="495038"/>
                </a:cubicBezTo>
                <a:cubicBezTo>
                  <a:pt x="10160734" y="495038"/>
                  <a:pt x="10160734" y="495038"/>
                  <a:pt x="10142198" y="495038"/>
                </a:cubicBezTo>
                <a:close/>
                <a:moveTo>
                  <a:pt x="11506576" y="494765"/>
                </a:moveTo>
                <a:cubicBezTo>
                  <a:pt x="11502811" y="494765"/>
                  <a:pt x="11500929" y="496644"/>
                  <a:pt x="11500929" y="500401"/>
                </a:cubicBezTo>
                <a:cubicBezTo>
                  <a:pt x="11500929" y="500401"/>
                  <a:pt x="11500929" y="500401"/>
                  <a:pt x="11500929" y="771893"/>
                </a:cubicBezTo>
                <a:cubicBezTo>
                  <a:pt x="11500929" y="775691"/>
                  <a:pt x="11502811" y="777529"/>
                  <a:pt x="11506576" y="777529"/>
                </a:cubicBezTo>
                <a:cubicBezTo>
                  <a:pt x="11506576" y="777529"/>
                  <a:pt x="11506576" y="777529"/>
                  <a:pt x="11524744" y="777529"/>
                </a:cubicBezTo>
                <a:cubicBezTo>
                  <a:pt x="11528467" y="777529"/>
                  <a:pt x="11530350" y="775691"/>
                  <a:pt x="11530350" y="771893"/>
                </a:cubicBezTo>
                <a:cubicBezTo>
                  <a:pt x="11530350" y="771893"/>
                  <a:pt x="11530350" y="771893"/>
                  <a:pt x="11530350" y="500401"/>
                </a:cubicBezTo>
                <a:cubicBezTo>
                  <a:pt x="11530350" y="496644"/>
                  <a:pt x="11528467" y="494765"/>
                  <a:pt x="11524744" y="494765"/>
                </a:cubicBezTo>
                <a:cubicBezTo>
                  <a:pt x="11524744" y="494765"/>
                  <a:pt x="11524744" y="494765"/>
                  <a:pt x="11506576" y="494765"/>
                </a:cubicBezTo>
                <a:close/>
                <a:moveTo>
                  <a:pt x="10466865" y="494765"/>
                </a:moveTo>
                <a:cubicBezTo>
                  <a:pt x="10448886" y="494765"/>
                  <a:pt x="10435238" y="499870"/>
                  <a:pt x="10425799" y="510039"/>
                </a:cubicBezTo>
                <a:cubicBezTo>
                  <a:pt x="10416441" y="520248"/>
                  <a:pt x="10411742" y="534868"/>
                  <a:pt x="10411742" y="553899"/>
                </a:cubicBezTo>
                <a:cubicBezTo>
                  <a:pt x="10411742" y="553899"/>
                  <a:pt x="10411742" y="553899"/>
                  <a:pt x="10411742" y="568764"/>
                </a:cubicBezTo>
                <a:cubicBezTo>
                  <a:pt x="10411742" y="571174"/>
                  <a:pt x="10410394" y="572399"/>
                  <a:pt x="10407697" y="572399"/>
                </a:cubicBezTo>
                <a:cubicBezTo>
                  <a:pt x="10407697" y="572399"/>
                  <a:pt x="10407697" y="572399"/>
                  <a:pt x="10383956" y="572399"/>
                </a:cubicBezTo>
                <a:cubicBezTo>
                  <a:pt x="10380197" y="572399"/>
                  <a:pt x="10378317" y="574155"/>
                  <a:pt x="10378317" y="577626"/>
                </a:cubicBezTo>
                <a:cubicBezTo>
                  <a:pt x="10378317" y="577626"/>
                  <a:pt x="10378317" y="577626"/>
                  <a:pt x="10378317" y="592532"/>
                </a:cubicBezTo>
                <a:cubicBezTo>
                  <a:pt x="10378317" y="596289"/>
                  <a:pt x="10380197" y="598127"/>
                  <a:pt x="10383956" y="598127"/>
                </a:cubicBezTo>
                <a:cubicBezTo>
                  <a:pt x="10383956" y="598127"/>
                  <a:pt x="10383956" y="598127"/>
                  <a:pt x="10407697" y="598127"/>
                </a:cubicBezTo>
                <a:cubicBezTo>
                  <a:pt x="10410394" y="598127"/>
                  <a:pt x="10411742" y="599352"/>
                  <a:pt x="10411742" y="601761"/>
                </a:cubicBezTo>
                <a:cubicBezTo>
                  <a:pt x="10411742" y="601761"/>
                  <a:pt x="10411742" y="601761"/>
                  <a:pt x="10411742" y="771893"/>
                </a:cubicBezTo>
                <a:cubicBezTo>
                  <a:pt x="10411742" y="775691"/>
                  <a:pt x="10413622" y="777529"/>
                  <a:pt x="10417381" y="777529"/>
                </a:cubicBezTo>
                <a:cubicBezTo>
                  <a:pt x="10417381" y="777529"/>
                  <a:pt x="10417381" y="777529"/>
                  <a:pt x="10435075" y="777529"/>
                </a:cubicBezTo>
                <a:cubicBezTo>
                  <a:pt x="10439120" y="777529"/>
                  <a:pt x="10441122" y="775691"/>
                  <a:pt x="10441122" y="771893"/>
                </a:cubicBezTo>
                <a:cubicBezTo>
                  <a:pt x="10441122" y="771893"/>
                  <a:pt x="10441122" y="771893"/>
                  <a:pt x="10441122" y="601761"/>
                </a:cubicBezTo>
                <a:cubicBezTo>
                  <a:pt x="10441122" y="599352"/>
                  <a:pt x="10442307" y="598127"/>
                  <a:pt x="10444718" y="598127"/>
                </a:cubicBezTo>
                <a:cubicBezTo>
                  <a:pt x="10444718" y="598127"/>
                  <a:pt x="10444718" y="598127"/>
                  <a:pt x="10480145" y="598127"/>
                </a:cubicBezTo>
                <a:cubicBezTo>
                  <a:pt x="10484191" y="598127"/>
                  <a:pt x="10486193" y="596289"/>
                  <a:pt x="10486193" y="592532"/>
                </a:cubicBezTo>
                <a:cubicBezTo>
                  <a:pt x="10486193" y="592532"/>
                  <a:pt x="10486193" y="592532"/>
                  <a:pt x="10486193" y="577626"/>
                </a:cubicBezTo>
                <a:cubicBezTo>
                  <a:pt x="10486193" y="574155"/>
                  <a:pt x="10484191" y="572399"/>
                  <a:pt x="10480145" y="572399"/>
                </a:cubicBezTo>
                <a:cubicBezTo>
                  <a:pt x="10480145" y="572399"/>
                  <a:pt x="10480145" y="572399"/>
                  <a:pt x="10444718" y="572399"/>
                </a:cubicBezTo>
                <a:cubicBezTo>
                  <a:pt x="10442307" y="572399"/>
                  <a:pt x="10441122" y="571174"/>
                  <a:pt x="10441122" y="568764"/>
                </a:cubicBezTo>
                <a:cubicBezTo>
                  <a:pt x="10441122" y="568764"/>
                  <a:pt x="10441122" y="568764"/>
                  <a:pt x="10441122" y="555124"/>
                </a:cubicBezTo>
                <a:cubicBezTo>
                  <a:pt x="10441122" y="543036"/>
                  <a:pt x="10443247" y="534256"/>
                  <a:pt x="10447537" y="528743"/>
                </a:cubicBezTo>
                <a:cubicBezTo>
                  <a:pt x="10451869" y="523270"/>
                  <a:pt x="10459510" y="520493"/>
                  <a:pt x="10470502" y="520493"/>
                </a:cubicBezTo>
                <a:cubicBezTo>
                  <a:pt x="10470502" y="520493"/>
                  <a:pt x="10470502" y="520493"/>
                  <a:pt x="10480554" y="520493"/>
                </a:cubicBezTo>
                <a:cubicBezTo>
                  <a:pt x="10484313" y="520493"/>
                  <a:pt x="10486193" y="518656"/>
                  <a:pt x="10486193" y="514899"/>
                </a:cubicBezTo>
                <a:cubicBezTo>
                  <a:pt x="10486193" y="514899"/>
                  <a:pt x="10486193" y="514899"/>
                  <a:pt x="10486193" y="499993"/>
                </a:cubicBezTo>
                <a:cubicBezTo>
                  <a:pt x="10486193" y="496521"/>
                  <a:pt x="10484313" y="494765"/>
                  <a:pt x="10480554" y="494765"/>
                </a:cubicBezTo>
                <a:cubicBezTo>
                  <a:pt x="10480554" y="494765"/>
                  <a:pt x="10480554" y="494765"/>
                  <a:pt x="10466865" y="494765"/>
                </a:cubicBezTo>
                <a:close/>
                <a:moveTo>
                  <a:pt x="0" y="0"/>
                </a:moveTo>
                <a:lnTo>
                  <a:pt x="12190411" y="0"/>
                </a:lnTo>
                <a:lnTo>
                  <a:pt x="12190411" y="6858000"/>
                </a:lnTo>
                <a:lnTo>
                  <a:pt x="11354118" y="6858000"/>
                </a:lnTo>
                <a:lnTo>
                  <a:pt x="11374926" y="6823699"/>
                </a:lnTo>
                <a:cubicBezTo>
                  <a:pt x="11431753" y="6730025"/>
                  <a:pt x="11514409" y="6593771"/>
                  <a:pt x="11634637" y="6395584"/>
                </a:cubicBezTo>
                <a:cubicBezTo>
                  <a:pt x="11648049" y="6374359"/>
                  <a:pt x="11650986" y="6356970"/>
                  <a:pt x="11643323" y="6343544"/>
                </a:cubicBezTo>
                <a:cubicBezTo>
                  <a:pt x="11635531" y="6329991"/>
                  <a:pt x="11620203" y="6323214"/>
                  <a:pt x="11597084" y="6323214"/>
                </a:cubicBezTo>
                <a:cubicBezTo>
                  <a:pt x="11597084" y="6323214"/>
                  <a:pt x="11597084" y="6323214"/>
                  <a:pt x="11316457" y="6323214"/>
                </a:cubicBezTo>
                <a:cubicBezTo>
                  <a:pt x="11272006" y="6323214"/>
                  <a:pt x="11239306" y="6342522"/>
                  <a:pt x="11218103" y="6381136"/>
                </a:cubicBezTo>
                <a:cubicBezTo>
                  <a:pt x="11218103" y="6381136"/>
                  <a:pt x="11218103" y="6381136"/>
                  <a:pt x="10985523" y="6794350"/>
                </a:cubicBezTo>
                <a:lnTo>
                  <a:pt x="10949697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40000">
                <a:srgbClr val="FFFFFF"/>
              </a:gs>
              <a:gs pos="0">
                <a:schemeClr val="bg1"/>
              </a:gs>
              <a:gs pos="72000">
                <a:schemeClr val="bg1">
                  <a:alpha val="44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</p:spPr>
        <p:txBody>
          <a:bodyPr wrap="square" lIns="3816000" tIns="3312000" rIns="108000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4400"/>
            </a:lvl1pPr>
          </a:lstStyle>
          <a:p>
            <a:pPr lvl="0"/>
            <a:r>
              <a:rPr lang="de-DE"/>
              <a:t>Bitte Zitat einfü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3D9417C-6714-4741-BFA2-1EC4B7CF7F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50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-24680" y="0"/>
            <a:ext cx="12240000" cy="6871859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5399178 h 6858000"/>
              <a:gd name="connsiteX12" fmla="*/ 100965 w 12192000"/>
              <a:gd name="connsiteY12" fmla="*/ 6047839 h 6858000"/>
              <a:gd name="connsiteX13" fmla="*/ 0 w 12192000"/>
              <a:gd name="connsiteY13" fmla="*/ 6058043 h 6858000"/>
              <a:gd name="connsiteX14" fmla="*/ 0 w 12192000"/>
              <a:gd name="connsiteY1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628750 w 12192000"/>
              <a:gd name="connsiteY10" fmla="*/ 5399178 h 6858000"/>
              <a:gd name="connsiteX11" fmla="*/ 100965 w 12192000"/>
              <a:gd name="connsiteY11" fmla="*/ 6047839 h 6858000"/>
              <a:gd name="connsiteX12" fmla="*/ 0 w 12192000"/>
              <a:gd name="connsiteY12" fmla="*/ 6058043 h 6858000"/>
              <a:gd name="connsiteX13" fmla="*/ 0 w 12192000"/>
              <a:gd name="connsiteY13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628750 w 12192000"/>
              <a:gd name="connsiteY9" fmla="*/ 5399178 h 6858000"/>
              <a:gd name="connsiteX10" fmla="*/ 100965 w 12192000"/>
              <a:gd name="connsiteY10" fmla="*/ 6047839 h 6858000"/>
              <a:gd name="connsiteX11" fmla="*/ 0 w 12192000"/>
              <a:gd name="connsiteY11" fmla="*/ 6058043 h 6858000"/>
              <a:gd name="connsiteX12" fmla="*/ 0 w 12192000"/>
              <a:gd name="connsiteY12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147119 h 6858000"/>
              <a:gd name="connsiteX8" fmla="*/ 628750 w 12192000"/>
              <a:gd name="connsiteY8" fmla="*/ 5399178 h 6858000"/>
              <a:gd name="connsiteX9" fmla="*/ 100965 w 12192000"/>
              <a:gd name="connsiteY9" fmla="*/ 6047839 h 6858000"/>
              <a:gd name="connsiteX10" fmla="*/ 0 w 12192000"/>
              <a:gd name="connsiteY10" fmla="*/ 6058043 h 6858000"/>
              <a:gd name="connsiteX11" fmla="*/ 0 w 12192000"/>
              <a:gd name="connsiteY11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628750 w 12192000"/>
              <a:gd name="connsiteY7" fmla="*/ 5399178 h 6858000"/>
              <a:gd name="connsiteX8" fmla="*/ 100965 w 12192000"/>
              <a:gd name="connsiteY8" fmla="*/ 6047839 h 6858000"/>
              <a:gd name="connsiteX9" fmla="*/ 0 w 12192000"/>
              <a:gd name="connsiteY9" fmla="*/ 6058043 h 6858000"/>
              <a:gd name="connsiteX10" fmla="*/ 0 w 12192000"/>
              <a:gd name="connsiteY10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628750 w 12192000"/>
              <a:gd name="connsiteY6" fmla="*/ 5399178 h 6858000"/>
              <a:gd name="connsiteX7" fmla="*/ 100965 w 12192000"/>
              <a:gd name="connsiteY7" fmla="*/ 6047839 h 6858000"/>
              <a:gd name="connsiteX8" fmla="*/ 0 w 12192000"/>
              <a:gd name="connsiteY8" fmla="*/ 6058043 h 6858000"/>
              <a:gd name="connsiteX9" fmla="*/ 0 w 12192000"/>
              <a:gd name="connsiteY9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28750 w 12192000"/>
              <a:gd name="connsiteY5" fmla="*/ 5399178 h 6858000"/>
              <a:gd name="connsiteX6" fmla="*/ 100965 w 12192000"/>
              <a:gd name="connsiteY6" fmla="*/ 6047839 h 6858000"/>
              <a:gd name="connsiteX7" fmla="*/ 0 w 12192000"/>
              <a:gd name="connsiteY7" fmla="*/ 6058043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628750 w 12192000"/>
              <a:gd name="connsiteY4" fmla="*/ 5399178 h 6858000"/>
              <a:gd name="connsiteX5" fmla="*/ 100965 w 12192000"/>
              <a:gd name="connsiteY5" fmla="*/ 6047839 h 6858000"/>
              <a:gd name="connsiteX6" fmla="*/ 0 w 12192000"/>
              <a:gd name="connsiteY6" fmla="*/ 6058043 h 6858000"/>
              <a:gd name="connsiteX7" fmla="*/ 0 w 12192000"/>
              <a:gd name="connsiteY7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100965 w 12192000"/>
              <a:gd name="connsiteY4" fmla="*/ 6047839 h 6858000"/>
              <a:gd name="connsiteX5" fmla="*/ 0 w 12192000"/>
              <a:gd name="connsiteY5" fmla="*/ 6058043 h 6858000"/>
              <a:gd name="connsiteX6" fmla="*/ 0 w 12192000"/>
              <a:gd name="connsiteY6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0 w 12192000"/>
              <a:gd name="connsiteY4" fmla="*/ 6058043 h 6858000"/>
              <a:gd name="connsiteX5" fmla="*/ 0 w 12192000"/>
              <a:gd name="connsiteY5" fmla="*/ 0 h 6858000"/>
              <a:gd name="connsiteX0" fmla="*/ 0 w 12192000"/>
              <a:gd name="connsiteY0" fmla="*/ 0 h 6862715"/>
              <a:gd name="connsiteX1" fmla="*/ 12192000 w 12192000"/>
              <a:gd name="connsiteY1" fmla="*/ 0 h 6862715"/>
              <a:gd name="connsiteX2" fmla="*/ 12192000 w 12192000"/>
              <a:gd name="connsiteY2" fmla="*/ 6858000 h 6862715"/>
              <a:gd name="connsiteX3" fmla="*/ 7434300 w 12192000"/>
              <a:gd name="connsiteY3" fmla="*/ 6858000 h 6862715"/>
              <a:gd name="connsiteX4" fmla="*/ 0 w 12192000"/>
              <a:gd name="connsiteY4" fmla="*/ 6862715 h 6862715"/>
              <a:gd name="connsiteX5" fmla="*/ 0 w 12192000"/>
              <a:gd name="connsiteY5" fmla="*/ 0 h 6862715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274320 w 12192000"/>
              <a:gd name="connsiteY4" fmla="*/ 6533531 h 6858000"/>
              <a:gd name="connsiteX5" fmla="*/ 0 w 12192000"/>
              <a:gd name="connsiteY5" fmla="*/ 0 h 6858000"/>
              <a:gd name="connsiteX0" fmla="*/ 64008 w 12256008"/>
              <a:gd name="connsiteY0" fmla="*/ 0 h 6862715"/>
              <a:gd name="connsiteX1" fmla="*/ 12256008 w 12256008"/>
              <a:gd name="connsiteY1" fmla="*/ 0 h 6862715"/>
              <a:gd name="connsiteX2" fmla="*/ 12256008 w 12256008"/>
              <a:gd name="connsiteY2" fmla="*/ 6858000 h 6862715"/>
              <a:gd name="connsiteX3" fmla="*/ 7498308 w 12256008"/>
              <a:gd name="connsiteY3" fmla="*/ 6858000 h 6862715"/>
              <a:gd name="connsiteX4" fmla="*/ 0 w 12256008"/>
              <a:gd name="connsiteY4" fmla="*/ 6862715 h 6862715"/>
              <a:gd name="connsiteX5" fmla="*/ 64008 w 12256008"/>
              <a:gd name="connsiteY5" fmla="*/ 0 h 6862715"/>
              <a:gd name="connsiteX0" fmla="*/ 64008 w 12256008"/>
              <a:gd name="connsiteY0" fmla="*/ 0 h 6862715"/>
              <a:gd name="connsiteX1" fmla="*/ 12256008 w 12256008"/>
              <a:gd name="connsiteY1" fmla="*/ 0 h 6862715"/>
              <a:gd name="connsiteX2" fmla="*/ 12256008 w 12256008"/>
              <a:gd name="connsiteY2" fmla="*/ 6858000 h 6862715"/>
              <a:gd name="connsiteX3" fmla="*/ 0 w 12256008"/>
              <a:gd name="connsiteY3" fmla="*/ 6862715 h 6862715"/>
              <a:gd name="connsiteX4" fmla="*/ 64008 w 12256008"/>
              <a:gd name="connsiteY4" fmla="*/ 0 h 6862715"/>
              <a:gd name="connsiteX0" fmla="*/ 27432 w 12256008"/>
              <a:gd name="connsiteY0" fmla="*/ 0 h 6871859"/>
              <a:gd name="connsiteX1" fmla="*/ 12256008 w 12256008"/>
              <a:gd name="connsiteY1" fmla="*/ 9144 h 6871859"/>
              <a:gd name="connsiteX2" fmla="*/ 12256008 w 12256008"/>
              <a:gd name="connsiteY2" fmla="*/ 6867144 h 6871859"/>
              <a:gd name="connsiteX3" fmla="*/ 0 w 12256008"/>
              <a:gd name="connsiteY3" fmla="*/ 6871859 h 6871859"/>
              <a:gd name="connsiteX4" fmla="*/ 27432 w 12256008"/>
              <a:gd name="connsiteY4" fmla="*/ 0 h 6871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56008" h="6871859">
                <a:moveTo>
                  <a:pt x="27432" y="0"/>
                </a:moveTo>
                <a:lnTo>
                  <a:pt x="12256008" y="9144"/>
                </a:lnTo>
                <a:lnTo>
                  <a:pt x="12256008" y="6867144"/>
                </a:lnTo>
                <a:lnTo>
                  <a:pt x="0" y="6871859"/>
                </a:lnTo>
                <a:lnTo>
                  <a:pt x="2743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58E97A73-6FE8-0E45-8970-E6FAEF62D4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2984" y="44624"/>
            <a:ext cx="7459200" cy="650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3BE9DEF6-C39B-A24D-99CB-8E38B72128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5833675"/>
            <a:ext cx="4126711" cy="466711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3888" y="3429000"/>
            <a:ext cx="5544000" cy="122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master</a:t>
            </a:r>
            <a:br>
              <a:rPr lang="de-DE" dirty="0"/>
            </a:b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3888" y="4816050"/>
            <a:ext cx="554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de-DE" dirty="0" err="1"/>
              <a:t>Subtitle</a:t>
            </a:r>
            <a:r>
              <a:rPr lang="de-DE" dirty="0"/>
              <a:t> | </a:t>
            </a:r>
            <a:r>
              <a:rPr lang="de-DE" dirty="0" err="1"/>
              <a:t>Author</a:t>
            </a:r>
            <a:r>
              <a:rPr lang="de-DE" dirty="0"/>
              <a:t>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3074748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hteck 52">
            <a:extLst>
              <a:ext uri="{FF2B5EF4-FFF2-40B4-BE49-F238E27FC236}">
                <a16:creationId xmlns:a16="http://schemas.microsoft.com/office/drawing/2014/main" id="{10A4EF59-17CB-4C60-8AC0-59DD96D06D9A}"/>
              </a:ext>
            </a:extLst>
          </p:cNvPr>
          <p:cNvSpPr/>
          <p:nvPr userDrawn="1"/>
        </p:nvSpPr>
        <p:spPr>
          <a:xfrm>
            <a:off x="10924527" y="6305384"/>
            <a:ext cx="763424" cy="5526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E445CCF4-ECCA-4FC2-A9DA-CDA708E907AD}"/>
              </a:ext>
            </a:extLst>
          </p:cNvPr>
          <p:cNvSpPr/>
          <p:nvPr userDrawn="1"/>
        </p:nvSpPr>
        <p:spPr>
          <a:xfrm>
            <a:off x="9442942" y="308345"/>
            <a:ext cx="2392636" cy="9675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352C366C-2268-47C0-A403-ED73C1DC5AB1}"/>
              </a:ext>
            </a:extLst>
          </p:cNvPr>
          <p:cNvSpPr/>
          <p:nvPr userDrawn="1"/>
        </p:nvSpPr>
        <p:spPr>
          <a:xfrm>
            <a:off x="4517189" y="0"/>
            <a:ext cx="5078558" cy="6858000"/>
          </a:xfrm>
          <a:custGeom>
            <a:avLst/>
            <a:gdLst>
              <a:gd name="connsiteX0" fmla="*/ 1812734 w 5077897"/>
              <a:gd name="connsiteY0" fmla="*/ 0 h 6858000"/>
              <a:gd name="connsiteX1" fmla="*/ 4969945 w 5077897"/>
              <a:gd name="connsiteY1" fmla="*/ 0 h 6858000"/>
              <a:gd name="connsiteX2" fmla="*/ 4964035 w 5077897"/>
              <a:gd name="connsiteY2" fmla="*/ 10500 h 6858000"/>
              <a:gd name="connsiteX3" fmla="*/ 3226064 w 5077897"/>
              <a:gd name="connsiteY3" fmla="*/ 3098262 h 6858000"/>
              <a:gd name="connsiteX4" fmla="*/ 3226064 w 5077897"/>
              <a:gd name="connsiteY4" fmla="*/ 3603022 h 6858000"/>
              <a:gd name="connsiteX5" fmla="*/ 4991066 w 5077897"/>
              <a:gd name="connsiteY5" fmla="*/ 6705376 h 6858000"/>
              <a:gd name="connsiteX6" fmla="*/ 5077897 w 5077897"/>
              <a:gd name="connsiteY6" fmla="*/ 6858000 h 6858000"/>
              <a:gd name="connsiteX7" fmla="*/ 1920687 w 5077897"/>
              <a:gd name="connsiteY7" fmla="*/ 6858000 h 6858000"/>
              <a:gd name="connsiteX8" fmla="*/ 1833856 w 5077897"/>
              <a:gd name="connsiteY8" fmla="*/ 6705376 h 6858000"/>
              <a:gd name="connsiteX9" fmla="*/ 68853 w 5077897"/>
              <a:gd name="connsiteY9" fmla="*/ 3603022 h 6858000"/>
              <a:gd name="connsiteX10" fmla="*/ 68853 w 5077897"/>
              <a:gd name="connsiteY10" fmla="*/ 3098262 h 6858000"/>
              <a:gd name="connsiteX11" fmla="*/ 1806824 w 5077897"/>
              <a:gd name="connsiteY11" fmla="*/ 105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077897" h="6858000">
                <a:moveTo>
                  <a:pt x="1812734" y="0"/>
                </a:moveTo>
                <a:lnTo>
                  <a:pt x="4969945" y="0"/>
                </a:lnTo>
                <a:lnTo>
                  <a:pt x="4964035" y="10500"/>
                </a:lnTo>
                <a:cubicBezTo>
                  <a:pt x="4802780" y="296994"/>
                  <a:pt x="4372767" y="1060976"/>
                  <a:pt x="3226064" y="3098262"/>
                </a:cubicBezTo>
                <a:cubicBezTo>
                  <a:pt x="3134261" y="3271921"/>
                  <a:pt x="3134261" y="3440175"/>
                  <a:pt x="3226064" y="3603022"/>
                </a:cubicBezTo>
                <a:cubicBezTo>
                  <a:pt x="3226064" y="3603022"/>
                  <a:pt x="3226064" y="3603022"/>
                  <a:pt x="4991066" y="6705376"/>
                </a:cubicBezTo>
                <a:lnTo>
                  <a:pt x="5077897" y="6858000"/>
                </a:lnTo>
                <a:lnTo>
                  <a:pt x="1920687" y="6858000"/>
                </a:lnTo>
                <a:lnTo>
                  <a:pt x="1833856" y="6705376"/>
                </a:lnTo>
                <a:cubicBezTo>
                  <a:pt x="68853" y="3603022"/>
                  <a:pt x="68853" y="3603022"/>
                  <a:pt x="68853" y="3603022"/>
                </a:cubicBezTo>
                <a:cubicBezTo>
                  <a:pt x="-22950" y="3440175"/>
                  <a:pt x="-22950" y="3271921"/>
                  <a:pt x="68853" y="3098262"/>
                </a:cubicBezTo>
                <a:cubicBezTo>
                  <a:pt x="1215556" y="1060976"/>
                  <a:pt x="1645569" y="296994"/>
                  <a:pt x="1806824" y="10500"/>
                </a:cubicBezTo>
                <a:close/>
              </a:path>
            </a:pathLst>
          </a:cu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2522F340-C9D2-4A44-992D-BF2A91C54B9F}"/>
              </a:ext>
            </a:extLst>
          </p:cNvPr>
          <p:cNvSpPr/>
          <p:nvPr userDrawn="1"/>
        </p:nvSpPr>
        <p:spPr>
          <a:xfrm>
            <a:off x="5171574" y="0"/>
            <a:ext cx="4424172" cy="6858000"/>
          </a:xfrm>
          <a:custGeom>
            <a:avLst/>
            <a:gdLst>
              <a:gd name="connsiteX0" fmla="*/ 1812734 w 4423596"/>
              <a:gd name="connsiteY0" fmla="*/ 0 h 6858000"/>
              <a:gd name="connsiteX1" fmla="*/ 4315644 w 4423596"/>
              <a:gd name="connsiteY1" fmla="*/ 0 h 6858000"/>
              <a:gd name="connsiteX2" fmla="*/ 4309734 w 4423596"/>
              <a:gd name="connsiteY2" fmla="*/ 10500 h 6858000"/>
              <a:gd name="connsiteX3" fmla="*/ 2571763 w 4423596"/>
              <a:gd name="connsiteY3" fmla="*/ 3098262 h 6858000"/>
              <a:gd name="connsiteX4" fmla="*/ 2571763 w 4423596"/>
              <a:gd name="connsiteY4" fmla="*/ 3603022 h 6858000"/>
              <a:gd name="connsiteX5" fmla="*/ 4336765 w 4423596"/>
              <a:gd name="connsiteY5" fmla="*/ 6705376 h 6858000"/>
              <a:gd name="connsiteX6" fmla="*/ 4423596 w 4423596"/>
              <a:gd name="connsiteY6" fmla="*/ 6858000 h 6858000"/>
              <a:gd name="connsiteX7" fmla="*/ 1920687 w 4423596"/>
              <a:gd name="connsiteY7" fmla="*/ 6858000 h 6858000"/>
              <a:gd name="connsiteX8" fmla="*/ 1833856 w 4423596"/>
              <a:gd name="connsiteY8" fmla="*/ 6705376 h 6858000"/>
              <a:gd name="connsiteX9" fmla="*/ 68853 w 4423596"/>
              <a:gd name="connsiteY9" fmla="*/ 3603022 h 6858000"/>
              <a:gd name="connsiteX10" fmla="*/ 68853 w 4423596"/>
              <a:gd name="connsiteY10" fmla="*/ 3098262 h 6858000"/>
              <a:gd name="connsiteX11" fmla="*/ 1806824 w 4423596"/>
              <a:gd name="connsiteY11" fmla="*/ 105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23596" h="6858000">
                <a:moveTo>
                  <a:pt x="1812734" y="0"/>
                </a:moveTo>
                <a:lnTo>
                  <a:pt x="4315644" y="0"/>
                </a:lnTo>
                <a:lnTo>
                  <a:pt x="4309734" y="10500"/>
                </a:lnTo>
                <a:cubicBezTo>
                  <a:pt x="4148479" y="296994"/>
                  <a:pt x="3718466" y="1060976"/>
                  <a:pt x="2571763" y="3098262"/>
                </a:cubicBezTo>
                <a:cubicBezTo>
                  <a:pt x="2479960" y="3271921"/>
                  <a:pt x="2479960" y="3440175"/>
                  <a:pt x="2571763" y="3603022"/>
                </a:cubicBezTo>
                <a:cubicBezTo>
                  <a:pt x="2571763" y="3603022"/>
                  <a:pt x="2571763" y="3603022"/>
                  <a:pt x="4336765" y="6705376"/>
                </a:cubicBezTo>
                <a:lnTo>
                  <a:pt x="4423596" y="6858000"/>
                </a:lnTo>
                <a:lnTo>
                  <a:pt x="1920687" y="6858000"/>
                </a:lnTo>
                <a:lnTo>
                  <a:pt x="1833856" y="6705376"/>
                </a:lnTo>
                <a:cubicBezTo>
                  <a:pt x="68853" y="3603022"/>
                  <a:pt x="68853" y="3603022"/>
                  <a:pt x="68853" y="3603022"/>
                </a:cubicBezTo>
                <a:cubicBezTo>
                  <a:pt x="-22950" y="3440175"/>
                  <a:pt x="-22950" y="3271921"/>
                  <a:pt x="68853" y="3098262"/>
                </a:cubicBezTo>
                <a:cubicBezTo>
                  <a:pt x="1215556" y="1060976"/>
                  <a:pt x="1645569" y="296994"/>
                  <a:pt x="1806824" y="10500"/>
                </a:cubicBezTo>
                <a:close/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D6B0DC0B-AC7C-4A10-B83A-98503CC4C3BD}"/>
              </a:ext>
            </a:extLst>
          </p:cNvPr>
          <p:cNvSpPr/>
          <p:nvPr userDrawn="1"/>
        </p:nvSpPr>
        <p:spPr>
          <a:xfrm>
            <a:off x="6162284" y="0"/>
            <a:ext cx="3433463" cy="6858000"/>
          </a:xfrm>
          <a:custGeom>
            <a:avLst/>
            <a:gdLst>
              <a:gd name="connsiteX0" fmla="*/ 1812734 w 3433016"/>
              <a:gd name="connsiteY0" fmla="*/ 0 h 6858000"/>
              <a:gd name="connsiteX1" fmla="*/ 3325063 w 3433016"/>
              <a:gd name="connsiteY1" fmla="*/ 0 h 6858000"/>
              <a:gd name="connsiteX2" fmla="*/ 3319153 w 3433016"/>
              <a:gd name="connsiteY2" fmla="*/ 10500 h 6858000"/>
              <a:gd name="connsiteX3" fmla="*/ 1581182 w 3433016"/>
              <a:gd name="connsiteY3" fmla="*/ 3098262 h 6858000"/>
              <a:gd name="connsiteX4" fmla="*/ 1581182 w 3433016"/>
              <a:gd name="connsiteY4" fmla="*/ 3603022 h 6858000"/>
              <a:gd name="connsiteX5" fmla="*/ 3346184 w 3433016"/>
              <a:gd name="connsiteY5" fmla="*/ 6705376 h 6858000"/>
              <a:gd name="connsiteX6" fmla="*/ 3433016 w 3433016"/>
              <a:gd name="connsiteY6" fmla="*/ 6858000 h 6858000"/>
              <a:gd name="connsiteX7" fmla="*/ 1920687 w 3433016"/>
              <a:gd name="connsiteY7" fmla="*/ 6858000 h 6858000"/>
              <a:gd name="connsiteX8" fmla="*/ 1833856 w 3433016"/>
              <a:gd name="connsiteY8" fmla="*/ 6705376 h 6858000"/>
              <a:gd name="connsiteX9" fmla="*/ 68853 w 3433016"/>
              <a:gd name="connsiteY9" fmla="*/ 3603022 h 6858000"/>
              <a:gd name="connsiteX10" fmla="*/ 68853 w 3433016"/>
              <a:gd name="connsiteY10" fmla="*/ 3098262 h 6858000"/>
              <a:gd name="connsiteX11" fmla="*/ 1806824 w 3433016"/>
              <a:gd name="connsiteY11" fmla="*/ 105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33016" h="6858000">
                <a:moveTo>
                  <a:pt x="1812734" y="0"/>
                </a:moveTo>
                <a:lnTo>
                  <a:pt x="3325063" y="0"/>
                </a:lnTo>
                <a:lnTo>
                  <a:pt x="3319153" y="10500"/>
                </a:lnTo>
                <a:cubicBezTo>
                  <a:pt x="3157898" y="296994"/>
                  <a:pt x="2727885" y="1060976"/>
                  <a:pt x="1581182" y="3098262"/>
                </a:cubicBezTo>
                <a:cubicBezTo>
                  <a:pt x="1489379" y="3271921"/>
                  <a:pt x="1489379" y="3440175"/>
                  <a:pt x="1581182" y="3603022"/>
                </a:cubicBezTo>
                <a:cubicBezTo>
                  <a:pt x="1581182" y="3603022"/>
                  <a:pt x="1581182" y="3603022"/>
                  <a:pt x="3346184" y="6705376"/>
                </a:cubicBezTo>
                <a:lnTo>
                  <a:pt x="3433016" y="6858000"/>
                </a:lnTo>
                <a:lnTo>
                  <a:pt x="1920687" y="6858000"/>
                </a:lnTo>
                <a:lnTo>
                  <a:pt x="1833856" y="6705376"/>
                </a:lnTo>
                <a:cubicBezTo>
                  <a:pt x="68853" y="3603022"/>
                  <a:pt x="68853" y="3603022"/>
                  <a:pt x="68853" y="3603022"/>
                </a:cubicBezTo>
                <a:cubicBezTo>
                  <a:pt x="-22950" y="3440175"/>
                  <a:pt x="-22950" y="3271921"/>
                  <a:pt x="68853" y="3098262"/>
                </a:cubicBezTo>
                <a:cubicBezTo>
                  <a:pt x="1215556" y="1060976"/>
                  <a:pt x="1645569" y="296994"/>
                  <a:pt x="1806824" y="10500"/>
                </a:cubicBezTo>
                <a:close/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45430418-0255-4654-9A03-04B15D088858}"/>
              </a:ext>
            </a:extLst>
          </p:cNvPr>
          <p:cNvSpPr/>
          <p:nvPr userDrawn="1"/>
        </p:nvSpPr>
        <p:spPr>
          <a:xfrm>
            <a:off x="6638003" y="0"/>
            <a:ext cx="2957746" cy="6858000"/>
          </a:xfrm>
          <a:custGeom>
            <a:avLst/>
            <a:gdLst>
              <a:gd name="connsiteX0" fmla="*/ 1812734 w 2957361"/>
              <a:gd name="connsiteY0" fmla="*/ 0 h 6858000"/>
              <a:gd name="connsiteX1" fmla="*/ 2849408 w 2957361"/>
              <a:gd name="connsiteY1" fmla="*/ 0 h 6858000"/>
              <a:gd name="connsiteX2" fmla="*/ 2843498 w 2957361"/>
              <a:gd name="connsiteY2" fmla="*/ 10500 h 6858000"/>
              <a:gd name="connsiteX3" fmla="*/ 1105527 w 2957361"/>
              <a:gd name="connsiteY3" fmla="*/ 3098262 h 6858000"/>
              <a:gd name="connsiteX4" fmla="*/ 1105527 w 2957361"/>
              <a:gd name="connsiteY4" fmla="*/ 3603022 h 6858000"/>
              <a:gd name="connsiteX5" fmla="*/ 2870529 w 2957361"/>
              <a:gd name="connsiteY5" fmla="*/ 6705376 h 6858000"/>
              <a:gd name="connsiteX6" fmla="*/ 2957361 w 2957361"/>
              <a:gd name="connsiteY6" fmla="*/ 6858000 h 6858000"/>
              <a:gd name="connsiteX7" fmla="*/ 1920686 w 2957361"/>
              <a:gd name="connsiteY7" fmla="*/ 6858000 h 6858000"/>
              <a:gd name="connsiteX8" fmla="*/ 1833855 w 2957361"/>
              <a:gd name="connsiteY8" fmla="*/ 6705377 h 6858000"/>
              <a:gd name="connsiteX9" fmla="*/ 68853 w 2957361"/>
              <a:gd name="connsiteY9" fmla="*/ 3603022 h 6858000"/>
              <a:gd name="connsiteX10" fmla="*/ 68853 w 2957361"/>
              <a:gd name="connsiteY10" fmla="*/ 3098262 h 6858000"/>
              <a:gd name="connsiteX11" fmla="*/ 1806824 w 2957361"/>
              <a:gd name="connsiteY11" fmla="*/ 105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57361" h="6858000">
                <a:moveTo>
                  <a:pt x="1812734" y="0"/>
                </a:moveTo>
                <a:lnTo>
                  <a:pt x="2849408" y="0"/>
                </a:lnTo>
                <a:lnTo>
                  <a:pt x="2843498" y="10500"/>
                </a:lnTo>
                <a:cubicBezTo>
                  <a:pt x="2682243" y="296994"/>
                  <a:pt x="2252230" y="1060976"/>
                  <a:pt x="1105527" y="3098262"/>
                </a:cubicBezTo>
                <a:cubicBezTo>
                  <a:pt x="1013724" y="3271921"/>
                  <a:pt x="1013724" y="3440175"/>
                  <a:pt x="1105527" y="3603022"/>
                </a:cubicBezTo>
                <a:cubicBezTo>
                  <a:pt x="1105527" y="3603022"/>
                  <a:pt x="1105527" y="3603022"/>
                  <a:pt x="2870529" y="6705376"/>
                </a:cubicBezTo>
                <a:lnTo>
                  <a:pt x="2957361" y="6858000"/>
                </a:lnTo>
                <a:lnTo>
                  <a:pt x="1920686" y="6858000"/>
                </a:lnTo>
                <a:lnTo>
                  <a:pt x="1833855" y="6705377"/>
                </a:lnTo>
                <a:cubicBezTo>
                  <a:pt x="68853" y="3603022"/>
                  <a:pt x="68853" y="3603022"/>
                  <a:pt x="68853" y="3603022"/>
                </a:cubicBezTo>
                <a:cubicBezTo>
                  <a:pt x="-22950" y="3440175"/>
                  <a:pt x="-22950" y="3271921"/>
                  <a:pt x="68853" y="3098262"/>
                </a:cubicBezTo>
                <a:cubicBezTo>
                  <a:pt x="1215556" y="1060976"/>
                  <a:pt x="1645569" y="296994"/>
                  <a:pt x="1806824" y="1050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71E7D-9C1C-46E8-A82B-C62A6FC691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E7362002-3BEB-41E8-BB04-13906CB107B3}"/>
              </a:ext>
            </a:extLst>
          </p:cNvPr>
          <p:cNvSpPr/>
          <p:nvPr userDrawn="1"/>
        </p:nvSpPr>
        <p:spPr>
          <a:xfrm>
            <a:off x="153397" y="633712"/>
            <a:ext cx="1270145" cy="1825004"/>
          </a:xfrm>
          <a:custGeom>
            <a:avLst/>
            <a:gdLst>
              <a:gd name="connsiteX0" fmla="*/ 636535 w 1269980"/>
              <a:gd name="connsiteY0" fmla="*/ 560567 h 1825004"/>
              <a:gd name="connsiteX1" fmla="*/ 876981 w 1269980"/>
              <a:gd name="connsiteY1" fmla="*/ 560567 h 1825004"/>
              <a:gd name="connsiteX2" fmla="*/ 961354 w 1269980"/>
              <a:gd name="connsiteY2" fmla="*/ 610070 h 1825004"/>
              <a:gd name="connsiteX3" fmla="*/ 1258771 w 1269980"/>
              <a:gd name="connsiteY3" fmla="*/ 1138245 h 1825004"/>
              <a:gd name="connsiteX4" fmla="*/ 1258771 w 1269980"/>
              <a:gd name="connsiteY4" fmla="*/ 1220028 h 1825004"/>
              <a:gd name="connsiteX5" fmla="*/ 943916 w 1269980"/>
              <a:gd name="connsiteY5" fmla="*/ 1772901 h 1825004"/>
              <a:gd name="connsiteX6" fmla="*/ 905574 w 1269980"/>
              <a:gd name="connsiteY6" fmla="*/ 1815039 h 1825004"/>
              <a:gd name="connsiteX7" fmla="*/ 844813 w 1269980"/>
              <a:gd name="connsiteY7" fmla="*/ 1825004 h 1825004"/>
              <a:gd name="connsiteX8" fmla="*/ 631553 w 1269980"/>
              <a:gd name="connsiteY8" fmla="*/ 1825004 h 1825004"/>
              <a:gd name="connsiteX9" fmla="*/ 586930 w 1269980"/>
              <a:gd name="connsiteY9" fmla="*/ 1806373 h 1825004"/>
              <a:gd name="connsiteX10" fmla="*/ 589421 w 1269980"/>
              <a:gd name="connsiteY10" fmla="*/ 1763044 h 1825004"/>
              <a:gd name="connsiteX11" fmla="*/ 934060 w 1269980"/>
              <a:gd name="connsiteY11" fmla="*/ 1175400 h 1825004"/>
              <a:gd name="connsiteX12" fmla="*/ 934060 w 1269980"/>
              <a:gd name="connsiteY12" fmla="*/ 1165542 h 1825004"/>
              <a:gd name="connsiteX13" fmla="*/ 604368 w 1269980"/>
              <a:gd name="connsiteY13" fmla="*/ 622526 h 1825004"/>
              <a:gd name="connsiteX14" fmla="*/ 596894 w 1269980"/>
              <a:gd name="connsiteY14" fmla="*/ 577898 h 1825004"/>
              <a:gd name="connsiteX15" fmla="*/ 636535 w 1269980"/>
              <a:gd name="connsiteY15" fmla="*/ 560567 h 1825004"/>
              <a:gd name="connsiteX16" fmla="*/ 393000 w 1269980"/>
              <a:gd name="connsiteY16" fmla="*/ 0 h 1825004"/>
              <a:gd name="connsiteX17" fmla="*/ 633446 w 1269980"/>
              <a:gd name="connsiteY17" fmla="*/ 0 h 1825004"/>
              <a:gd name="connsiteX18" fmla="*/ 673087 w 1269980"/>
              <a:gd name="connsiteY18" fmla="*/ 17331 h 1825004"/>
              <a:gd name="connsiteX19" fmla="*/ 665614 w 1269980"/>
              <a:gd name="connsiteY19" fmla="*/ 61960 h 1825004"/>
              <a:gd name="connsiteX20" fmla="*/ 335921 w 1269980"/>
              <a:gd name="connsiteY20" fmla="*/ 604975 h 1825004"/>
              <a:gd name="connsiteX21" fmla="*/ 335921 w 1269980"/>
              <a:gd name="connsiteY21" fmla="*/ 614833 h 1825004"/>
              <a:gd name="connsiteX22" fmla="*/ 680561 w 1269980"/>
              <a:gd name="connsiteY22" fmla="*/ 1202477 h 1825004"/>
              <a:gd name="connsiteX23" fmla="*/ 683052 w 1269980"/>
              <a:gd name="connsiteY23" fmla="*/ 1245806 h 1825004"/>
              <a:gd name="connsiteX24" fmla="*/ 638429 w 1269980"/>
              <a:gd name="connsiteY24" fmla="*/ 1264437 h 1825004"/>
              <a:gd name="connsiteX25" fmla="*/ 425168 w 1269980"/>
              <a:gd name="connsiteY25" fmla="*/ 1264437 h 1825004"/>
              <a:gd name="connsiteX26" fmla="*/ 364407 w 1269980"/>
              <a:gd name="connsiteY26" fmla="*/ 1254472 h 1825004"/>
              <a:gd name="connsiteX27" fmla="*/ 326066 w 1269980"/>
              <a:gd name="connsiteY27" fmla="*/ 1212334 h 1825004"/>
              <a:gd name="connsiteX28" fmla="*/ 11211 w 1269980"/>
              <a:gd name="connsiteY28" fmla="*/ 659461 h 1825004"/>
              <a:gd name="connsiteX29" fmla="*/ 11211 w 1269980"/>
              <a:gd name="connsiteY29" fmla="*/ 577678 h 1825004"/>
              <a:gd name="connsiteX30" fmla="*/ 308628 w 1269980"/>
              <a:gd name="connsiteY30" fmla="*/ 49503 h 1825004"/>
              <a:gd name="connsiteX31" fmla="*/ 393000 w 1269980"/>
              <a:gd name="connsiteY31" fmla="*/ 0 h 1825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69980" h="1825004">
                <a:moveTo>
                  <a:pt x="636535" y="560567"/>
                </a:moveTo>
                <a:cubicBezTo>
                  <a:pt x="876981" y="560567"/>
                  <a:pt x="876981" y="560567"/>
                  <a:pt x="876981" y="560567"/>
                </a:cubicBezTo>
                <a:cubicBezTo>
                  <a:pt x="914998" y="560567"/>
                  <a:pt x="943158" y="577032"/>
                  <a:pt x="961354" y="610070"/>
                </a:cubicBezTo>
                <a:cubicBezTo>
                  <a:pt x="1258771" y="1138245"/>
                  <a:pt x="1258771" y="1138245"/>
                  <a:pt x="1258771" y="1138245"/>
                </a:cubicBezTo>
                <a:cubicBezTo>
                  <a:pt x="1273717" y="1166301"/>
                  <a:pt x="1273717" y="1193598"/>
                  <a:pt x="1258771" y="1220028"/>
                </a:cubicBezTo>
                <a:cubicBezTo>
                  <a:pt x="943916" y="1772901"/>
                  <a:pt x="943916" y="1772901"/>
                  <a:pt x="943916" y="1772901"/>
                </a:cubicBezTo>
                <a:cubicBezTo>
                  <a:pt x="930702" y="1794457"/>
                  <a:pt x="917922" y="1808539"/>
                  <a:pt x="905574" y="1815039"/>
                </a:cubicBezTo>
                <a:cubicBezTo>
                  <a:pt x="893119" y="1821646"/>
                  <a:pt x="872865" y="1825004"/>
                  <a:pt x="844813" y="1825004"/>
                </a:cubicBezTo>
                <a:cubicBezTo>
                  <a:pt x="631553" y="1825004"/>
                  <a:pt x="631553" y="1825004"/>
                  <a:pt x="631553" y="1825004"/>
                </a:cubicBezTo>
                <a:cubicBezTo>
                  <a:pt x="610108" y="1825004"/>
                  <a:pt x="595269" y="1818830"/>
                  <a:pt x="586930" y="1806373"/>
                </a:cubicBezTo>
                <a:cubicBezTo>
                  <a:pt x="578698" y="1794024"/>
                  <a:pt x="579564" y="1779617"/>
                  <a:pt x="589421" y="1763044"/>
                </a:cubicBezTo>
                <a:cubicBezTo>
                  <a:pt x="934060" y="1175400"/>
                  <a:pt x="934060" y="1175400"/>
                  <a:pt x="934060" y="1175400"/>
                </a:cubicBezTo>
                <a:cubicBezTo>
                  <a:pt x="934060" y="1165542"/>
                  <a:pt x="934060" y="1165542"/>
                  <a:pt x="934060" y="1165542"/>
                </a:cubicBezTo>
                <a:cubicBezTo>
                  <a:pt x="604368" y="622526"/>
                  <a:pt x="604368" y="622526"/>
                  <a:pt x="604368" y="622526"/>
                </a:cubicBezTo>
                <a:cubicBezTo>
                  <a:pt x="592778" y="604329"/>
                  <a:pt x="590287" y="589488"/>
                  <a:pt x="596894" y="577898"/>
                </a:cubicBezTo>
                <a:cubicBezTo>
                  <a:pt x="603501" y="566308"/>
                  <a:pt x="616715" y="560567"/>
                  <a:pt x="636535" y="560567"/>
                </a:cubicBezTo>
                <a:close/>
                <a:moveTo>
                  <a:pt x="393000" y="0"/>
                </a:moveTo>
                <a:cubicBezTo>
                  <a:pt x="393000" y="0"/>
                  <a:pt x="393000" y="0"/>
                  <a:pt x="633446" y="0"/>
                </a:cubicBezTo>
                <a:cubicBezTo>
                  <a:pt x="653267" y="0"/>
                  <a:pt x="666480" y="5741"/>
                  <a:pt x="673087" y="17331"/>
                </a:cubicBezTo>
                <a:cubicBezTo>
                  <a:pt x="679694" y="28921"/>
                  <a:pt x="677203" y="43762"/>
                  <a:pt x="665614" y="61960"/>
                </a:cubicBezTo>
                <a:cubicBezTo>
                  <a:pt x="665614" y="61960"/>
                  <a:pt x="665614" y="61960"/>
                  <a:pt x="335921" y="604975"/>
                </a:cubicBezTo>
                <a:cubicBezTo>
                  <a:pt x="335921" y="604975"/>
                  <a:pt x="335921" y="604975"/>
                  <a:pt x="335921" y="614833"/>
                </a:cubicBezTo>
                <a:cubicBezTo>
                  <a:pt x="335921" y="614833"/>
                  <a:pt x="335921" y="614833"/>
                  <a:pt x="680561" y="1202477"/>
                </a:cubicBezTo>
                <a:cubicBezTo>
                  <a:pt x="690417" y="1219050"/>
                  <a:pt x="691283" y="1233457"/>
                  <a:pt x="683052" y="1245806"/>
                </a:cubicBezTo>
                <a:cubicBezTo>
                  <a:pt x="674712" y="1258263"/>
                  <a:pt x="659874" y="1264437"/>
                  <a:pt x="638429" y="1264437"/>
                </a:cubicBezTo>
                <a:cubicBezTo>
                  <a:pt x="638429" y="1264437"/>
                  <a:pt x="638429" y="1264437"/>
                  <a:pt x="425168" y="1264437"/>
                </a:cubicBezTo>
                <a:cubicBezTo>
                  <a:pt x="397116" y="1264437"/>
                  <a:pt x="376862" y="1261079"/>
                  <a:pt x="364407" y="1254472"/>
                </a:cubicBezTo>
                <a:cubicBezTo>
                  <a:pt x="352059" y="1247972"/>
                  <a:pt x="339279" y="1233890"/>
                  <a:pt x="326066" y="1212334"/>
                </a:cubicBezTo>
                <a:cubicBezTo>
                  <a:pt x="326066" y="1212334"/>
                  <a:pt x="326066" y="1212334"/>
                  <a:pt x="11211" y="659461"/>
                </a:cubicBezTo>
                <a:cubicBezTo>
                  <a:pt x="-3736" y="633031"/>
                  <a:pt x="-3736" y="605734"/>
                  <a:pt x="11211" y="577678"/>
                </a:cubicBezTo>
                <a:cubicBezTo>
                  <a:pt x="11211" y="577678"/>
                  <a:pt x="11211" y="577678"/>
                  <a:pt x="308628" y="49503"/>
                </a:cubicBezTo>
                <a:cubicBezTo>
                  <a:pt x="326823" y="16465"/>
                  <a:pt x="354984" y="0"/>
                  <a:pt x="39300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9E427BE3-53EA-4E6C-AB34-D895A355C2AF}"/>
              </a:ext>
            </a:extLst>
          </p:cNvPr>
          <p:cNvSpPr/>
          <p:nvPr userDrawn="1"/>
        </p:nvSpPr>
        <p:spPr>
          <a:xfrm>
            <a:off x="7674811" y="1"/>
            <a:ext cx="4517188" cy="6857999"/>
          </a:xfrm>
          <a:custGeom>
            <a:avLst/>
            <a:gdLst>
              <a:gd name="connsiteX0" fmla="*/ 3863832 w 4516600"/>
              <a:gd name="connsiteY0" fmla="*/ 862793 h 6857999"/>
              <a:gd name="connsiteX1" fmla="*/ 3874640 w 4516600"/>
              <a:gd name="connsiteY1" fmla="*/ 866299 h 6857999"/>
              <a:gd name="connsiteX2" fmla="*/ 3880472 w 4516600"/>
              <a:gd name="connsiteY2" fmla="*/ 875620 h 6857999"/>
              <a:gd name="connsiteX3" fmla="*/ 3881328 w 4516600"/>
              <a:gd name="connsiteY3" fmla="*/ 882920 h 6857999"/>
              <a:gd name="connsiteX4" fmla="*/ 3880757 w 4516600"/>
              <a:gd name="connsiteY4" fmla="*/ 883497 h 6857999"/>
              <a:gd name="connsiteX5" fmla="*/ 3847030 w 4516600"/>
              <a:gd name="connsiteY5" fmla="*/ 883497 h 6857999"/>
              <a:gd name="connsiteX6" fmla="*/ 3846459 w 4516600"/>
              <a:gd name="connsiteY6" fmla="*/ 882920 h 6857999"/>
              <a:gd name="connsiteX7" fmla="*/ 3847764 w 4516600"/>
              <a:gd name="connsiteY7" fmla="*/ 874547 h 6857999"/>
              <a:gd name="connsiteX8" fmla="*/ 3853352 w 4516600"/>
              <a:gd name="connsiteY8" fmla="*/ 866010 h 6857999"/>
              <a:gd name="connsiteX9" fmla="*/ 3863832 w 4516600"/>
              <a:gd name="connsiteY9" fmla="*/ 862793 h 6857999"/>
              <a:gd name="connsiteX10" fmla="*/ 3744762 w 4516600"/>
              <a:gd name="connsiteY10" fmla="*/ 862793 h 6857999"/>
              <a:gd name="connsiteX11" fmla="*/ 3755080 w 4516600"/>
              <a:gd name="connsiteY11" fmla="*/ 866279 h 6857999"/>
              <a:gd name="connsiteX12" fmla="*/ 3760402 w 4516600"/>
              <a:gd name="connsiteY12" fmla="*/ 875261 h 6857999"/>
              <a:gd name="connsiteX13" fmla="*/ 3761221 w 4516600"/>
              <a:gd name="connsiteY13" fmla="*/ 880182 h 6857999"/>
              <a:gd name="connsiteX14" fmla="*/ 3761467 w 4516600"/>
              <a:gd name="connsiteY14" fmla="*/ 888999 h 6857999"/>
              <a:gd name="connsiteX15" fmla="*/ 3761221 w 4516600"/>
              <a:gd name="connsiteY15" fmla="*/ 897899 h 6857999"/>
              <a:gd name="connsiteX16" fmla="*/ 3760566 w 4516600"/>
              <a:gd name="connsiteY16" fmla="*/ 902943 h 6857999"/>
              <a:gd name="connsiteX17" fmla="*/ 3755325 w 4516600"/>
              <a:gd name="connsiteY17" fmla="*/ 911883 h 6857999"/>
              <a:gd name="connsiteX18" fmla="*/ 3744762 w 4516600"/>
              <a:gd name="connsiteY18" fmla="*/ 915369 h 6857999"/>
              <a:gd name="connsiteX19" fmla="*/ 3734199 w 4516600"/>
              <a:gd name="connsiteY19" fmla="*/ 911883 h 6857999"/>
              <a:gd name="connsiteX20" fmla="*/ 3728344 w 4516600"/>
              <a:gd name="connsiteY20" fmla="*/ 902943 h 6857999"/>
              <a:gd name="connsiteX21" fmla="*/ 3726870 w 4516600"/>
              <a:gd name="connsiteY21" fmla="*/ 888999 h 6857999"/>
              <a:gd name="connsiteX22" fmla="*/ 3728508 w 4516600"/>
              <a:gd name="connsiteY22" fmla="*/ 875261 h 6857999"/>
              <a:gd name="connsiteX23" fmla="*/ 3734404 w 4516600"/>
              <a:gd name="connsiteY23" fmla="*/ 866279 h 6857999"/>
              <a:gd name="connsiteX24" fmla="*/ 3744762 w 4516600"/>
              <a:gd name="connsiteY24" fmla="*/ 862793 h 6857999"/>
              <a:gd name="connsiteX25" fmla="*/ 3611810 w 4516600"/>
              <a:gd name="connsiteY25" fmla="*/ 862793 h 6857999"/>
              <a:gd name="connsiteX26" fmla="*/ 3622658 w 4516600"/>
              <a:gd name="connsiteY26" fmla="*/ 866299 h 6857999"/>
              <a:gd name="connsiteX27" fmla="*/ 3628449 w 4516600"/>
              <a:gd name="connsiteY27" fmla="*/ 875620 h 6857999"/>
              <a:gd name="connsiteX28" fmla="*/ 3629347 w 4516600"/>
              <a:gd name="connsiteY28" fmla="*/ 882920 h 6857999"/>
              <a:gd name="connsiteX29" fmla="*/ 3628776 w 4516600"/>
              <a:gd name="connsiteY29" fmla="*/ 883497 h 6857999"/>
              <a:gd name="connsiteX30" fmla="*/ 3595049 w 4516600"/>
              <a:gd name="connsiteY30" fmla="*/ 883497 h 6857999"/>
              <a:gd name="connsiteX31" fmla="*/ 3594478 w 4516600"/>
              <a:gd name="connsiteY31" fmla="*/ 882920 h 6857999"/>
              <a:gd name="connsiteX32" fmla="*/ 3595783 w 4516600"/>
              <a:gd name="connsiteY32" fmla="*/ 874547 h 6857999"/>
              <a:gd name="connsiteX33" fmla="*/ 3601370 w 4516600"/>
              <a:gd name="connsiteY33" fmla="*/ 866010 h 6857999"/>
              <a:gd name="connsiteX34" fmla="*/ 3611810 w 4516600"/>
              <a:gd name="connsiteY34" fmla="*/ 862793 h 6857999"/>
              <a:gd name="connsiteX35" fmla="*/ 3203212 w 4516600"/>
              <a:gd name="connsiteY35" fmla="*/ 862793 h 6857999"/>
              <a:gd name="connsiteX36" fmla="*/ 3214007 w 4516600"/>
              <a:gd name="connsiteY36" fmla="*/ 866299 h 6857999"/>
              <a:gd name="connsiteX37" fmla="*/ 3219832 w 4516600"/>
              <a:gd name="connsiteY37" fmla="*/ 875620 h 6857999"/>
              <a:gd name="connsiteX38" fmla="*/ 3220728 w 4516600"/>
              <a:gd name="connsiteY38" fmla="*/ 882920 h 6857999"/>
              <a:gd name="connsiteX39" fmla="*/ 3220117 w 4516600"/>
              <a:gd name="connsiteY39" fmla="*/ 883497 h 6857999"/>
              <a:gd name="connsiteX40" fmla="*/ 3186470 w 4516600"/>
              <a:gd name="connsiteY40" fmla="*/ 883497 h 6857999"/>
              <a:gd name="connsiteX41" fmla="*/ 3185859 w 4516600"/>
              <a:gd name="connsiteY41" fmla="*/ 882920 h 6857999"/>
              <a:gd name="connsiteX42" fmla="*/ 3187204 w 4516600"/>
              <a:gd name="connsiteY42" fmla="*/ 874547 h 6857999"/>
              <a:gd name="connsiteX43" fmla="*/ 3192784 w 4516600"/>
              <a:gd name="connsiteY43" fmla="*/ 866010 h 6857999"/>
              <a:gd name="connsiteX44" fmla="*/ 3203212 w 4516600"/>
              <a:gd name="connsiteY44" fmla="*/ 862793 h 6857999"/>
              <a:gd name="connsiteX45" fmla="*/ 2921149 w 4516600"/>
              <a:gd name="connsiteY45" fmla="*/ 862793 h 6857999"/>
              <a:gd name="connsiteX46" fmla="*/ 2932041 w 4516600"/>
              <a:gd name="connsiteY46" fmla="*/ 866299 h 6857999"/>
              <a:gd name="connsiteX47" fmla="*/ 2937918 w 4516600"/>
              <a:gd name="connsiteY47" fmla="*/ 875620 h 6857999"/>
              <a:gd name="connsiteX48" fmla="*/ 2938781 w 4516600"/>
              <a:gd name="connsiteY48" fmla="*/ 882920 h 6857999"/>
              <a:gd name="connsiteX49" fmla="*/ 2938206 w 4516600"/>
              <a:gd name="connsiteY49" fmla="*/ 883497 h 6857999"/>
              <a:gd name="connsiteX50" fmla="*/ 2904216 w 4516600"/>
              <a:gd name="connsiteY50" fmla="*/ 883497 h 6857999"/>
              <a:gd name="connsiteX51" fmla="*/ 2903640 w 4516600"/>
              <a:gd name="connsiteY51" fmla="*/ 882920 h 6857999"/>
              <a:gd name="connsiteX52" fmla="*/ 2904955 w 4516600"/>
              <a:gd name="connsiteY52" fmla="*/ 874547 h 6857999"/>
              <a:gd name="connsiteX53" fmla="*/ 2910627 w 4516600"/>
              <a:gd name="connsiteY53" fmla="*/ 866010 h 6857999"/>
              <a:gd name="connsiteX54" fmla="*/ 2921149 w 4516600"/>
              <a:gd name="connsiteY54" fmla="*/ 862793 h 6857999"/>
              <a:gd name="connsiteX55" fmla="*/ 2706332 w 4516600"/>
              <a:gd name="connsiteY55" fmla="*/ 862793 h 6857999"/>
              <a:gd name="connsiteX56" fmla="*/ 2717127 w 4516600"/>
              <a:gd name="connsiteY56" fmla="*/ 866299 h 6857999"/>
              <a:gd name="connsiteX57" fmla="*/ 2722951 w 4516600"/>
              <a:gd name="connsiteY57" fmla="*/ 875620 h 6857999"/>
              <a:gd name="connsiteX58" fmla="*/ 2723848 w 4516600"/>
              <a:gd name="connsiteY58" fmla="*/ 882920 h 6857999"/>
              <a:gd name="connsiteX59" fmla="*/ 2723237 w 4516600"/>
              <a:gd name="connsiteY59" fmla="*/ 883497 h 6857999"/>
              <a:gd name="connsiteX60" fmla="*/ 2689549 w 4516600"/>
              <a:gd name="connsiteY60" fmla="*/ 883497 h 6857999"/>
              <a:gd name="connsiteX61" fmla="*/ 2688979 w 4516600"/>
              <a:gd name="connsiteY61" fmla="*/ 882920 h 6857999"/>
              <a:gd name="connsiteX62" fmla="*/ 2690282 w 4516600"/>
              <a:gd name="connsiteY62" fmla="*/ 874547 h 6857999"/>
              <a:gd name="connsiteX63" fmla="*/ 2695904 w 4516600"/>
              <a:gd name="connsiteY63" fmla="*/ 866010 h 6857999"/>
              <a:gd name="connsiteX64" fmla="*/ 2706332 w 4516600"/>
              <a:gd name="connsiteY64" fmla="*/ 862793 h 6857999"/>
              <a:gd name="connsiteX65" fmla="*/ 3798622 w 4516600"/>
              <a:gd name="connsiteY65" fmla="*/ 851897 h 6857999"/>
              <a:gd name="connsiteX66" fmla="*/ 3797153 w 4516600"/>
              <a:gd name="connsiteY66" fmla="*/ 853368 h 6857999"/>
              <a:gd name="connsiteX67" fmla="*/ 3797153 w 4516600"/>
              <a:gd name="connsiteY67" fmla="*/ 925339 h 6857999"/>
              <a:gd name="connsiteX68" fmla="*/ 3798622 w 4516600"/>
              <a:gd name="connsiteY68" fmla="*/ 926811 h 6857999"/>
              <a:gd name="connsiteX69" fmla="*/ 3809808 w 4516600"/>
              <a:gd name="connsiteY69" fmla="*/ 926811 h 6857999"/>
              <a:gd name="connsiteX70" fmla="*/ 3811318 w 4516600"/>
              <a:gd name="connsiteY70" fmla="*/ 925339 h 6857999"/>
              <a:gd name="connsiteX71" fmla="*/ 3811318 w 4516600"/>
              <a:gd name="connsiteY71" fmla="*/ 853368 h 6857999"/>
              <a:gd name="connsiteX72" fmla="*/ 3809808 w 4516600"/>
              <a:gd name="connsiteY72" fmla="*/ 851897 h 6857999"/>
              <a:gd name="connsiteX73" fmla="*/ 3798622 w 4516600"/>
              <a:gd name="connsiteY73" fmla="*/ 851897 h 6857999"/>
              <a:gd name="connsiteX74" fmla="*/ 3426113 w 4516600"/>
              <a:gd name="connsiteY74" fmla="*/ 851897 h 6857999"/>
              <a:gd name="connsiteX75" fmla="*/ 3424765 w 4516600"/>
              <a:gd name="connsiteY75" fmla="*/ 852918 h 6857999"/>
              <a:gd name="connsiteX76" fmla="*/ 3424928 w 4516600"/>
              <a:gd name="connsiteY76" fmla="*/ 853490 h 6857999"/>
              <a:gd name="connsiteX77" fmla="*/ 3449522 w 4516600"/>
              <a:gd name="connsiteY77" fmla="*/ 926462 h 6857999"/>
              <a:gd name="connsiteX78" fmla="*/ 3449522 w 4516600"/>
              <a:gd name="connsiteY78" fmla="*/ 927361 h 6857999"/>
              <a:gd name="connsiteX79" fmla="*/ 3445273 w 4516600"/>
              <a:gd name="connsiteY79" fmla="*/ 938182 h 6857999"/>
              <a:gd name="connsiteX80" fmla="*/ 3439676 w 4516600"/>
              <a:gd name="connsiteY80" fmla="*/ 943123 h 6857999"/>
              <a:gd name="connsiteX81" fmla="*/ 3430362 w 4516600"/>
              <a:gd name="connsiteY81" fmla="*/ 944593 h 6857999"/>
              <a:gd name="connsiteX82" fmla="*/ 3430076 w 4516600"/>
              <a:gd name="connsiteY82" fmla="*/ 944593 h 6857999"/>
              <a:gd name="connsiteX83" fmla="*/ 3428605 w 4516600"/>
              <a:gd name="connsiteY83" fmla="*/ 946063 h 6857999"/>
              <a:gd name="connsiteX84" fmla="*/ 3428605 w 4516600"/>
              <a:gd name="connsiteY84" fmla="*/ 954761 h 6857999"/>
              <a:gd name="connsiteX85" fmla="*/ 3428605 w 4516600"/>
              <a:gd name="connsiteY85" fmla="*/ 956231 h 6857999"/>
              <a:gd name="connsiteX86" fmla="*/ 3429626 w 4516600"/>
              <a:gd name="connsiteY86" fmla="*/ 956231 h 6857999"/>
              <a:gd name="connsiteX87" fmla="*/ 3430648 w 4516600"/>
              <a:gd name="connsiteY87" fmla="*/ 956231 h 6857999"/>
              <a:gd name="connsiteX88" fmla="*/ 3446008 w 4516600"/>
              <a:gd name="connsiteY88" fmla="*/ 954189 h 6857999"/>
              <a:gd name="connsiteX89" fmla="*/ 3454833 w 4516600"/>
              <a:gd name="connsiteY89" fmla="*/ 947166 h 6857999"/>
              <a:gd name="connsiteX90" fmla="*/ 3461614 w 4516600"/>
              <a:gd name="connsiteY90" fmla="*/ 932057 h 6857999"/>
              <a:gd name="connsiteX91" fmla="*/ 3488496 w 4516600"/>
              <a:gd name="connsiteY91" fmla="*/ 853490 h 6857999"/>
              <a:gd name="connsiteX92" fmla="*/ 3487311 w 4516600"/>
              <a:gd name="connsiteY92" fmla="*/ 851897 h 6857999"/>
              <a:gd name="connsiteX93" fmla="*/ 3475627 w 4516600"/>
              <a:gd name="connsiteY93" fmla="*/ 851897 h 6857999"/>
              <a:gd name="connsiteX94" fmla="*/ 3473870 w 4516600"/>
              <a:gd name="connsiteY94" fmla="*/ 853040 h 6857999"/>
              <a:gd name="connsiteX95" fmla="*/ 3457366 w 4516600"/>
              <a:gd name="connsiteY95" fmla="*/ 908617 h 6857999"/>
              <a:gd name="connsiteX96" fmla="*/ 3456916 w 4516600"/>
              <a:gd name="connsiteY96" fmla="*/ 908944 h 6857999"/>
              <a:gd name="connsiteX97" fmla="*/ 3456467 w 4516600"/>
              <a:gd name="connsiteY97" fmla="*/ 908617 h 6857999"/>
              <a:gd name="connsiteX98" fmla="*/ 3439799 w 4516600"/>
              <a:gd name="connsiteY98" fmla="*/ 853040 h 6857999"/>
              <a:gd name="connsiteX99" fmla="*/ 3438042 w 4516600"/>
              <a:gd name="connsiteY99" fmla="*/ 851897 h 6857999"/>
              <a:gd name="connsiteX100" fmla="*/ 3426113 w 4516600"/>
              <a:gd name="connsiteY100" fmla="*/ 851897 h 6857999"/>
              <a:gd name="connsiteX101" fmla="*/ 2463297 w 4516600"/>
              <a:gd name="connsiteY101" fmla="*/ 851897 h 6857999"/>
              <a:gd name="connsiteX102" fmla="*/ 2461787 w 4516600"/>
              <a:gd name="connsiteY102" fmla="*/ 853366 h 6857999"/>
              <a:gd name="connsiteX103" fmla="*/ 2461787 w 4516600"/>
              <a:gd name="connsiteY103" fmla="*/ 903614 h 6857999"/>
              <a:gd name="connsiteX104" fmla="*/ 2465501 w 4516600"/>
              <a:gd name="connsiteY104" fmla="*/ 916839 h 6857999"/>
              <a:gd name="connsiteX105" fmla="*/ 2475294 w 4516600"/>
              <a:gd name="connsiteY105" fmla="*/ 925125 h 6857999"/>
              <a:gd name="connsiteX106" fmla="*/ 2488597 w 4516600"/>
              <a:gd name="connsiteY106" fmla="*/ 927900 h 6857999"/>
              <a:gd name="connsiteX107" fmla="*/ 2506714 w 4516600"/>
              <a:gd name="connsiteY107" fmla="*/ 919818 h 6857999"/>
              <a:gd name="connsiteX108" fmla="*/ 2507245 w 4516600"/>
              <a:gd name="connsiteY108" fmla="*/ 919573 h 6857999"/>
              <a:gd name="connsiteX109" fmla="*/ 2507449 w 4516600"/>
              <a:gd name="connsiteY109" fmla="*/ 919941 h 6857999"/>
              <a:gd name="connsiteX110" fmla="*/ 2507449 w 4516600"/>
              <a:gd name="connsiteY110" fmla="*/ 925410 h 6857999"/>
              <a:gd name="connsiteX111" fmla="*/ 2508959 w 4516600"/>
              <a:gd name="connsiteY111" fmla="*/ 926880 h 6857999"/>
              <a:gd name="connsiteX112" fmla="*/ 2519977 w 4516600"/>
              <a:gd name="connsiteY112" fmla="*/ 926880 h 6857999"/>
              <a:gd name="connsiteX113" fmla="*/ 2521445 w 4516600"/>
              <a:gd name="connsiteY113" fmla="*/ 925410 h 6857999"/>
              <a:gd name="connsiteX114" fmla="*/ 2521445 w 4516600"/>
              <a:gd name="connsiteY114" fmla="*/ 853366 h 6857999"/>
              <a:gd name="connsiteX115" fmla="*/ 2519977 w 4516600"/>
              <a:gd name="connsiteY115" fmla="*/ 851897 h 6857999"/>
              <a:gd name="connsiteX116" fmla="*/ 2508959 w 4516600"/>
              <a:gd name="connsiteY116" fmla="*/ 851897 h 6857999"/>
              <a:gd name="connsiteX117" fmla="*/ 2507449 w 4516600"/>
              <a:gd name="connsiteY117" fmla="*/ 853366 h 6857999"/>
              <a:gd name="connsiteX118" fmla="*/ 2507449 w 4516600"/>
              <a:gd name="connsiteY118" fmla="*/ 899164 h 6857999"/>
              <a:gd name="connsiteX119" fmla="*/ 2503042 w 4516600"/>
              <a:gd name="connsiteY119" fmla="*/ 911165 h 6857999"/>
              <a:gd name="connsiteX120" fmla="*/ 2491249 w 4516600"/>
              <a:gd name="connsiteY120" fmla="*/ 915696 h 6857999"/>
              <a:gd name="connsiteX121" fmla="*/ 2479864 w 4516600"/>
              <a:gd name="connsiteY121" fmla="*/ 911246 h 6857999"/>
              <a:gd name="connsiteX122" fmla="*/ 2475783 w 4516600"/>
              <a:gd name="connsiteY122" fmla="*/ 899164 h 6857999"/>
              <a:gd name="connsiteX123" fmla="*/ 2475783 w 4516600"/>
              <a:gd name="connsiteY123" fmla="*/ 853366 h 6857999"/>
              <a:gd name="connsiteX124" fmla="*/ 2474315 w 4516600"/>
              <a:gd name="connsiteY124" fmla="*/ 851897 h 6857999"/>
              <a:gd name="connsiteX125" fmla="*/ 2463297 w 4516600"/>
              <a:gd name="connsiteY125" fmla="*/ 851897 h 6857999"/>
              <a:gd name="connsiteX126" fmla="*/ 3694814 w 4516600"/>
              <a:gd name="connsiteY126" fmla="*/ 851080 h 6857999"/>
              <a:gd name="connsiteX127" fmla="*/ 3676735 w 4516600"/>
              <a:gd name="connsiteY127" fmla="*/ 861403 h 6857999"/>
              <a:gd name="connsiteX128" fmla="*/ 3676369 w 4516600"/>
              <a:gd name="connsiteY128" fmla="*/ 861648 h 6857999"/>
              <a:gd name="connsiteX129" fmla="*/ 3676124 w 4516600"/>
              <a:gd name="connsiteY129" fmla="*/ 861117 h 6857999"/>
              <a:gd name="connsiteX130" fmla="*/ 3676124 w 4516600"/>
              <a:gd name="connsiteY130" fmla="*/ 853324 h 6857999"/>
              <a:gd name="connsiteX131" fmla="*/ 3674658 w 4516600"/>
              <a:gd name="connsiteY131" fmla="*/ 851855 h 6857999"/>
              <a:gd name="connsiteX132" fmla="*/ 3663502 w 4516600"/>
              <a:gd name="connsiteY132" fmla="*/ 851855 h 6857999"/>
              <a:gd name="connsiteX133" fmla="*/ 3662036 w 4516600"/>
              <a:gd name="connsiteY133" fmla="*/ 853324 h 6857999"/>
              <a:gd name="connsiteX134" fmla="*/ 3662036 w 4516600"/>
              <a:gd name="connsiteY134" fmla="*/ 925342 h 6857999"/>
              <a:gd name="connsiteX135" fmla="*/ 3663502 w 4516600"/>
              <a:gd name="connsiteY135" fmla="*/ 926810 h 6857999"/>
              <a:gd name="connsiteX136" fmla="*/ 3674658 w 4516600"/>
              <a:gd name="connsiteY136" fmla="*/ 926810 h 6857999"/>
              <a:gd name="connsiteX137" fmla="*/ 3676124 w 4516600"/>
              <a:gd name="connsiteY137" fmla="*/ 925342 h 6857999"/>
              <a:gd name="connsiteX138" fmla="*/ 3676124 w 4516600"/>
              <a:gd name="connsiteY138" fmla="*/ 882335 h 6857999"/>
              <a:gd name="connsiteX139" fmla="*/ 3680603 w 4516600"/>
              <a:gd name="connsiteY139" fmla="*/ 870624 h 6857999"/>
              <a:gd name="connsiteX140" fmla="*/ 3692004 w 4516600"/>
              <a:gd name="connsiteY140" fmla="*/ 865850 h 6857999"/>
              <a:gd name="connsiteX141" fmla="*/ 3694081 w 4516600"/>
              <a:gd name="connsiteY141" fmla="*/ 865687 h 6857999"/>
              <a:gd name="connsiteX142" fmla="*/ 3699944 w 4516600"/>
              <a:gd name="connsiteY142" fmla="*/ 866707 h 6857999"/>
              <a:gd name="connsiteX143" fmla="*/ 3701695 w 4516600"/>
              <a:gd name="connsiteY143" fmla="*/ 865850 h 6857999"/>
              <a:gd name="connsiteX144" fmla="*/ 3704056 w 4516600"/>
              <a:gd name="connsiteY144" fmla="*/ 854793 h 6857999"/>
              <a:gd name="connsiteX145" fmla="*/ 3703324 w 4516600"/>
              <a:gd name="connsiteY145" fmla="*/ 852997 h 6857999"/>
              <a:gd name="connsiteX146" fmla="*/ 3694814 w 4516600"/>
              <a:gd name="connsiteY146" fmla="*/ 851080 h 6857999"/>
              <a:gd name="connsiteX147" fmla="*/ 3389644 w 4516600"/>
              <a:gd name="connsiteY147" fmla="*/ 851080 h 6857999"/>
              <a:gd name="connsiteX148" fmla="*/ 3369086 w 4516600"/>
              <a:gd name="connsiteY148" fmla="*/ 856929 h 6857999"/>
              <a:gd name="connsiteX149" fmla="*/ 3361320 w 4516600"/>
              <a:gd name="connsiteY149" fmla="*/ 872678 h 6857999"/>
              <a:gd name="connsiteX150" fmla="*/ 3365244 w 4516600"/>
              <a:gd name="connsiteY150" fmla="*/ 884254 h 6857999"/>
              <a:gd name="connsiteX151" fmla="*/ 3374808 w 4516600"/>
              <a:gd name="connsiteY151" fmla="*/ 891208 h 6857999"/>
              <a:gd name="connsiteX152" fmla="*/ 3388908 w 4516600"/>
              <a:gd name="connsiteY152" fmla="*/ 895994 h 6857999"/>
              <a:gd name="connsiteX153" fmla="*/ 3401333 w 4516600"/>
              <a:gd name="connsiteY153" fmla="*/ 900493 h 6857999"/>
              <a:gd name="connsiteX154" fmla="*/ 3405134 w 4516600"/>
              <a:gd name="connsiteY154" fmla="*/ 906916 h 6857999"/>
              <a:gd name="connsiteX155" fmla="*/ 3401006 w 4516600"/>
              <a:gd name="connsiteY155" fmla="*/ 914238 h 6857999"/>
              <a:gd name="connsiteX156" fmla="*/ 3390257 w 4516600"/>
              <a:gd name="connsiteY156" fmla="*/ 917101 h 6857999"/>
              <a:gd name="connsiteX157" fmla="*/ 3378813 w 4516600"/>
              <a:gd name="connsiteY157" fmla="*/ 913992 h 6857999"/>
              <a:gd name="connsiteX158" fmla="*/ 3374317 w 4516600"/>
              <a:gd name="connsiteY158" fmla="*/ 906752 h 6857999"/>
              <a:gd name="connsiteX159" fmla="*/ 3374317 w 4516600"/>
              <a:gd name="connsiteY159" fmla="*/ 906016 h 6857999"/>
              <a:gd name="connsiteX160" fmla="*/ 3372846 w 4516600"/>
              <a:gd name="connsiteY160" fmla="*/ 904543 h 6857999"/>
              <a:gd name="connsiteX161" fmla="*/ 3362219 w 4516600"/>
              <a:gd name="connsiteY161" fmla="*/ 904543 h 6857999"/>
              <a:gd name="connsiteX162" fmla="*/ 3360748 w 4516600"/>
              <a:gd name="connsiteY162" fmla="*/ 906016 h 6857999"/>
              <a:gd name="connsiteX163" fmla="*/ 3360748 w 4516600"/>
              <a:gd name="connsiteY163" fmla="*/ 907652 h 6857999"/>
              <a:gd name="connsiteX164" fmla="*/ 3364426 w 4516600"/>
              <a:gd name="connsiteY164" fmla="*/ 917919 h 6857999"/>
              <a:gd name="connsiteX165" fmla="*/ 3374808 w 4516600"/>
              <a:gd name="connsiteY165" fmla="*/ 925241 h 6857999"/>
              <a:gd name="connsiteX166" fmla="*/ 3390380 w 4516600"/>
              <a:gd name="connsiteY166" fmla="*/ 927900 h 6857999"/>
              <a:gd name="connsiteX167" fmla="*/ 3411428 w 4516600"/>
              <a:gd name="connsiteY167" fmla="*/ 921969 h 6857999"/>
              <a:gd name="connsiteX168" fmla="*/ 3419317 w 4516600"/>
              <a:gd name="connsiteY168" fmla="*/ 906016 h 6857999"/>
              <a:gd name="connsiteX169" fmla="*/ 3415311 w 4516600"/>
              <a:gd name="connsiteY169" fmla="*/ 894276 h 6857999"/>
              <a:gd name="connsiteX170" fmla="*/ 3405666 w 4516600"/>
              <a:gd name="connsiteY170" fmla="*/ 887485 h 6857999"/>
              <a:gd name="connsiteX171" fmla="*/ 3391442 w 4516600"/>
              <a:gd name="connsiteY171" fmla="*/ 882863 h 6857999"/>
              <a:gd name="connsiteX172" fmla="*/ 3378813 w 4516600"/>
              <a:gd name="connsiteY172" fmla="*/ 878118 h 6857999"/>
              <a:gd name="connsiteX173" fmla="*/ 3374889 w 4516600"/>
              <a:gd name="connsiteY173" fmla="*/ 871614 h 6857999"/>
              <a:gd name="connsiteX174" fmla="*/ 3378936 w 4516600"/>
              <a:gd name="connsiteY174" fmla="*/ 864824 h 6857999"/>
              <a:gd name="connsiteX175" fmla="*/ 3389521 w 4516600"/>
              <a:gd name="connsiteY175" fmla="*/ 862329 h 6857999"/>
              <a:gd name="connsiteX176" fmla="*/ 3400925 w 4516600"/>
              <a:gd name="connsiteY176" fmla="*/ 865192 h 6857999"/>
              <a:gd name="connsiteX177" fmla="*/ 3405134 w 4516600"/>
              <a:gd name="connsiteY177" fmla="*/ 872350 h 6857999"/>
              <a:gd name="connsiteX178" fmla="*/ 3405134 w 4516600"/>
              <a:gd name="connsiteY178" fmla="*/ 872800 h 6857999"/>
              <a:gd name="connsiteX179" fmla="*/ 3406606 w 4516600"/>
              <a:gd name="connsiteY179" fmla="*/ 874273 h 6857999"/>
              <a:gd name="connsiteX180" fmla="*/ 3416946 w 4516600"/>
              <a:gd name="connsiteY180" fmla="*/ 874273 h 6857999"/>
              <a:gd name="connsiteX181" fmla="*/ 3418418 w 4516600"/>
              <a:gd name="connsiteY181" fmla="*/ 872800 h 6857999"/>
              <a:gd name="connsiteX182" fmla="*/ 3418418 w 4516600"/>
              <a:gd name="connsiteY182" fmla="*/ 872350 h 6857999"/>
              <a:gd name="connsiteX183" fmla="*/ 3414902 w 4516600"/>
              <a:gd name="connsiteY183" fmla="*/ 861429 h 6857999"/>
              <a:gd name="connsiteX184" fmla="*/ 3404766 w 4516600"/>
              <a:gd name="connsiteY184" fmla="*/ 853820 h 6857999"/>
              <a:gd name="connsiteX185" fmla="*/ 3389644 w 4516600"/>
              <a:gd name="connsiteY185" fmla="*/ 851080 h 6857999"/>
              <a:gd name="connsiteX186" fmla="*/ 2789254 w 4516600"/>
              <a:gd name="connsiteY186" fmla="*/ 851080 h 6857999"/>
              <a:gd name="connsiteX187" fmla="*/ 2771058 w 4516600"/>
              <a:gd name="connsiteY187" fmla="*/ 861403 h 6857999"/>
              <a:gd name="connsiteX188" fmla="*/ 2770690 w 4516600"/>
              <a:gd name="connsiteY188" fmla="*/ 861648 h 6857999"/>
              <a:gd name="connsiteX189" fmla="*/ 2770485 w 4516600"/>
              <a:gd name="connsiteY189" fmla="*/ 861117 h 6857999"/>
              <a:gd name="connsiteX190" fmla="*/ 2770485 w 4516600"/>
              <a:gd name="connsiteY190" fmla="*/ 853324 h 6857999"/>
              <a:gd name="connsiteX191" fmla="*/ 2769010 w 4516600"/>
              <a:gd name="connsiteY191" fmla="*/ 851855 h 6857999"/>
              <a:gd name="connsiteX192" fmla="*/ 2757740 w 4516600"/>
              <a:gd name="connsiteY192" fmla="*/ 851855 h 6857999"/>
              <a:gd name="connsiteX193" fmla="*/ 2756265 w 4516600"/>
              <a:gd name="connsiteY193" fmla="*/ 853324 h 6857999"/>
              <a:gd name="connsiteX194" fmla="*/ 2756265 w 4516600"/>
              <a:gd name="connsiteY194" fmla="*/ 925342 h 6857999"/>
              <a:gd name="connsiteX195" fmla="*/ 2757740 w 4516600"/>
              <a:gd name="connsiteY195" fmla="*/ 926810 h 6857999"/>
              <a:gd name="connsiteX196" fmla="*/ 2769010 w 4516600"/>
              <a:gd name="connsiteY196" fmla="*/ 926810 h 6857999"/>
              <a:gd name="connsiteX197" fmla="*/ 2770485 w 4516600"/>
              <a:gd name="connsiteY197" fmla="*/ 925342 h 6857999"/>
              <a:gd name="connsiteX198" fmla="*/ 2770485 w 4516600"/>
              <a:gd name="connsiteY198" fmla="*/ 882335 h 6857999"/>
              <a:gd name="connsiteX199" fmla="*/ 2774993 w 4516600"/>
              <a:gd name="connsiteY199" fmla="*/ 870624 h 6857999"/>
              <a:gd name="connsiteX200" fmla="*/ 2786467 w 4516600"/>
              <a:gd name="connsiteY200" fmla="*/ 865850 h 6857999"/>
              <a:gd name="connsiteX201" fmla="*/ 2788516 w 4516600"/>
              <a:gd name="connsiteY201" fmla="*/ 865687 h 6857999"/>
              <a:gd name="connsiteX202" fmla="*/ 2794458 w 4516600"/>
              <a:gd name="connsiteY202" fmla="*/ 866707 h 6857999"/>
              <a:gd name="connsiteX203" fmla="*/ 2796220 w 4516600"/>
              <a:gd name="connsiteY203" fmla="*/ 865850 h 6857999"/>
              <a:gd name="connsiteX204" fmla="*/ 2798597 w 4516600"/>
              <a:gd name="connsiteY204" fmla="*/ 854793 h 6857999"/>
              <a:gd name="connsiteX205" fmla="*/ 2797860 w 4516600"/>
              <a:gd name="connsiteY205" fmla="*/ 852997 h 6857999"/>
              <a:gd name="connsiteX206" fmla="*/ 2789254 w 4516600"/>
              <a:gd name="connsiteY206" fmla="*/ 851080 h 6857999"/>
              <a:gd name="connsiteX207" fmla="*/ 3947479 w 4516600"/>
              <a:gd name="connsiteY207" fmla="*/ 850807 h 6857999"/>
              <a:gd name="connsiteX208" fmla="*/ 3928749 w 4516600"/>
              <a:gd name="connsiteY208" fmla="*/ 858926 h 6857999"/>
              <a:gd name="connsiteX209" fmla="*/ 3928381 w 4516600"/>
              <a:gd name="connsiteY209" fmla="*/ 859048 h 6857999"/>
              <a:gd name="connsiteX210" fmla="*/ 3928177 w 4516600"/>
              <a:gd name="connsiteY210" fmla="*/ 858640 h 6857999"/>
              <a:gd name="connsiteX211" fmla="*/ 3928177 w 4516600"/>
              <a:gd name="connsiteY211" fmla="*/ 853337 h 6857999"/>
              <a:gd name="connsiteX212" fmla="*/ 3926708 w 4516600"/>
              <a:gd name="connsiteY212" fmla="*/ 851868 h 6857999"/>
              <a:gd name="connsiteX213" fmla="*/ 3915528 w 4516600"/>
              <a:gd name="connsiteY213" fmla="*/ 851868 h 6857999"/>
              <a:gd name="connsiteX214" fmla="*/ 3914018 w 4516600"/>
              <a:gd name="connsiteY214" fmla="*/ 853337 h 6857999"/>
              <a:gd name="connsiteX215" fmla="*/ 3914018 w 4516600"/>
              <a:gd name="connsiteY215" fmla="*/ 925342 h 6857999"/>
              <a:gd name="connsiteX216" fmla="*/ 3915528 w 4516600"/>
              <a:gd name="connsiteY216" fmla="*/ 926811 h 6857999"/>
              <a:gd name="connsiteX217" fmla="*/ 3926708 w 4516600"/>
              <a:gd name="connsiteY217" fmla="*/ 926811 h 6857999"/>
              <a:gd name="connsiteX218" fmla="*/ 3928177 w 4516600"/>
              <a:gd name="connsiteY218" fmla="*/ 925342 h 6857999"/>
              <a:gd name="connsiteX219" fmla="*/ 3928177 w 4516600"/>
              <a:gd name="connsiteY219" fmla="*/ 879405 h 6857999"/>
              <a:gd name="connsiteX220" fmla="*/ 3932584 w 4516600"/>
              <a:gd name="connsiteY220" fmla="*/ 867615 h 6857999"/>
              <a:gd name="connsiteX221" fmla="*/ 3943928 w 4516600"/>
              <a:gd name="connsiteY221" fmla="*/ 863046 h 6857999"/>
              <a:gd name="connsiteX222" fmla="*/ 3955273 w 4516600"/>
              <a:gd name="connsiteY222" fmla="*/ 867615 h 6857999"/>
              <a:gd name="connsiteX223" fmla="*/ 3959557 w 4516600"/>
              <a:gd name="connsiteY223" fmla="*/ 879528 h 6857999"/>
              <a:gd name="connsiteX224" fmla="*/ 3959557 w 4516600"/>
              <a:gd name="connsiteY224" fmla="*/ 925342 h 6857999"/>
              <a:gd name="connsiteX225" fmla="*/ 3961026 w 4516600"/>
              <a:gd name="connsiteY225" fmla="*/ 926811 h 6857999"/>
              <a:gd name="connsiteX226" fmla="*/ 3972207 w 4516600"/>
              <a:gd name="connsiteY226" fmla="*/ 926811 h 6857999"/>
              <a:gd name="connsiteX227" fmla="*/ 3973676 w 4516600"/>
              <a:gd name="connsiteY227" fmla="*/ 925342 h 6857999"/>
              <a:gd name="connsiteX228" fmla="*/ 3973676 w 4516600"/>
              <a:gd name="connsiteY228" fmla="*/ 876754 h 6857999"/>
              <a:gd name="connsiteX229" fmla="*/ 3966617 w 4516600"/>
              <a:gd name="connsiteY229" fmla="*/ 857824 h 6857999"/>
              <a:gd name="connsiteX230" fmla="*/ 3947479 w 4516600"/>
              <a:gd name="connsiteY230" fmla="*/ 850807 h 6857999"/>
              <a:gd name="connsiteX231" fmla="*/ 3863792 w 4516600"/>
              <a:gd name="connsiteY231" fmla="*/ 850807 h 6857999"/>
              <a:gd name="connsiteX232" fmla="*/ 3844518 w 4516600"/>
              <a:gd name="connsiteY232" fmla="*/ 856677 h 6857999"/>
              <a:gd name="connsiteX233" fmla="*/ 3833924 w 4516600"/>
              <a:gd name="connsiteY233" fmla="*/ 872737 h 6857999"/>
              <a:gd name="connsiteX234" fmla="*/ 3832294 w 4516600"/>
              <a:gd name="connsiteY234" fmla="*/ 889042 h 6857999"/>
              <a:gd name="connsiteX235" fmla="*/ 3835839 w 4516600"/>
              <a:gd name="connsiteY235" fmla="*/ 910075 h 6857999"/>
              <a:gd name="connsiteX236" fmla="*/ 3846841 w 4516600"/>
              <a:gd name="connsiteY236" fmla="*/ 923485 h 6857999"/>
              <a:gd name="connsiteX237" fmla="*/ 3864933 w 4516600"/>
              <a:gd name="connsiteY237" fmla="*/ 928173 h 6857999"/>
              <a:gd name="connsiteX238" fmla="*/ 3882088 w 4516600"/>
              <a:gd name="connsiteY238" fmla="*/ 924341 h 6857999"/>
              <a:gd name="connsiteX239" fmla="*/ 3893782 w 4516600"/>
              <a:gd name="connsiteY239" fmla="*/ 913906 h 6857999"/>
              <a:gd name="connsiteX240" fmla="*/ 3893334 w 4516600"/>
              <a:gd name="connsiteY240" fmla="*/ 911990 h 6857999"/>
              <a:gd name="connsiteX241" fmla="*/ 3884940 w 4516600"/>
              <a:gd name="connsiteY241" fmla="*/ 906406 h 6857999"/>
              <a:gd name="connsiteX242" fmla="*/ 3883025 w 4516600"/>
              <a:gd name="connsiteY242" fmla="*/ 906854 h 6857999"/>
              <a:gd name="connsiteX243" fmla="*/ 3866277 w 4516600"/>
              <a:gd name="connsiteY243" fmla="*/ 915822 h 6857999"/>
              <a:gd name="connsiteX244" fmla="*/ 3853849 w 4516600"/>
              <a:gd name="connsiteY244" fmla="*/ 912520 h 6857999"/>
              <a:gd name="connsiteX245" fmla="*/ 3847289 w 4516600"/>
              <a:gd name="connsiteY245" fmla="*/ 903308 h 6857999"/>
              <a:gd name="connsiteX246" fmla="*/ 3846433 w 4516600"/>
              <a:gd name="connsiteY246" fmla="*/ 895686 h 6857999"/>
              <a:gd name="connsiteX247" fmla="*/ 3847004 w 4516600"/>
              <a:gd name="connsiteY247" fmla="*/ 895074 h 6857999"/>
              <a:gd name="connsiteX248" fmla="*/ 3893945 w 4516600"/>
              <a:gd name="connsiteY248" fmla="*/ 895074 h 6857999"/>
              <a:gd name="connsiteX249" fmla="*/ 3895412 w 4516600"/>
              <a:gd name="connsiteY249" fmla="*/ 893607 h 6857999"/>
              <a:gd name="connsiteX250" fmla="*/ 3894964 w 4516600"/>
              <a:gd name="connsiteY250" fmla="*/ 880074 h 6857999"/>
              <a:gd name="connsiteX251" fmla="*/ 3885999 w 4516600"/>
              <a:gd name="connsiteY251" fmla="*/ 858226 h 6857999"/>
              <a:gd name="connsiteX252" fmla="*/ 3863792 w 4516600"/>
              <a:gd name="connsiteY252" fmla="*/ 850807 h 6857999"/>
              <a:gd name="connsiteX253" fmla="*/ 3741466 w 4516600"/>
              <a:gd name="connsiteY253" fmla="*/ 850807 h 6857999"/>
              <a:gd name="connsiteX254" fmla="*/ 3724601 w 4516600"/>
              <a:gd name="connsiteY254" fmla="*/ 856152 h 6857999"/>
              <a:gd name="connsiteX255" fmla="*/ 3714637 w 4516600"/>
              <a:gd name="connsiteY255" fmla="*/ 870391 h 6857999"/>
              <a:gd name="connsiteX256" fmla="*/ 3712432 w 4516600"/>
              <a:gd name="connsiteY256" fmla="*/ 889240 h 6857999"/>
              <a:gd name="connsiteX257" fmla="*/ 3714352 w 4516600"/>
              <a:gd name="connsiteY257" fmla="*/ 907191 h 6857999"/>
              <a:gd name="connsiteX258" fmla="*/ 3725010 w 4516600"/>
              <a:gd name="connsiteY258" fmla="*/ 921919 h 6857999"/>
              <a:gd name="connsiteX259" fmla="*/ 3742365 w 4516600"/>
              <a:gd name="connsiteY259" fmla="*/ 926938 h 6857999"/>
              <a:gd name="connsiteX260" fmla="*/ 3760496 w 4516600"/>
              <a:gd name="connsiteY260" fmla="*/ 919716 h 6857999"/>
              <a:gd name="connsiteX261" fmla="*/ 3760986 w 4516600"/>
              <a:gd name="connsiteY261" fmla="*/ 919553 h 6857999"/>
              <a:gd name="connsiteX262" fmla="*/ 3761231 w 4516600"/>
              <a:gd name="connsiteY262" fmla="*/ 920002 h 6857999"/>
              <a:gd name="connsiteX263" fmla="*/ 3761231 w 4516600"/>
              <a:gd name="connsiteY263" fmla="*/ 922654 h 6857999"/>
              <a:gd name="connsiteX264" fmla="*/ 3755636 w 4516600"/>
              <a:gd name="connsiteY264" fmla="*/ 938361 h 6857999"/>
              <a:gd name="connsiteX265" fmla="*/ 3737505 w 4516600"/>
              <a:gd name="connsiteY265" fmla="*/ 942971 h 6857999"/>
              <a:gd name="connsiteX266" fmla="*/ 3731462 w 4516600"/>
              <a:gd name="connsiteY266" fmla="*/ 942849 h 6857999"/>
              <a:gd name="connsiteX267" fmla="*/ 3730277 w 4516600"/>
              <a:gd name="connsiteY267" fmla="*/ 943135 h 6857999"/>
              <a:gd name="connsiteX268" fmla="*/ 3729828 w 4516600"/>
              <a:gd name="connsiteY268" fmla="*/ 944155 h 6857999"/>
              <a:gd name="connsiteX269" fmla="*/ 3729379 w 4516600"/>
              <a:gd name="connsiteY269" fmla="*/ 954314 h 6857999"/>
              <a:gd name="connsiteX270" fmla="*/ 3730849 w 4516600"/>
              <a:gd name="connsiteY270" fmla="*/ 955946 h 6857999"/>
              <a:gd name="connsiteX271" fmla="*/ 3738240 w 4516600"/>
              <a:gd name="connsiteY271" fmla="*/ 956231 h 6857999"/>
              <a:gd name="connsiteX272" fmla="*/ 3765273 w 4516600"/>
              <a:gd name="connsiteY272" fmla="*/ 948602 h 6857999"/>
              <a:gd name="connsiteX273" fmla="*/ 3775360 w 4516600"/>
              <a:gd name="connsiteY273" fmla="*/ 923103 h 6857999"/>
              <a:gd name="connsiteX274" fmla="*/ 3775360 w 4516600"/>
              <a:gd name="connsiteY274" fmla="*/ 853459 h 6857999"/>
              <a:gd name="connsiteX275" fmla="*/ 3773890 w 4516600"/>
              <a:gd name="connsiteY275" fmla="*/ 851990 h 6857999"/>
              <a:gd name="connsiteX276" fmla="*/ 3762701 w 4516600"/>
              <a:gd name="connsiteY276" fmla="*/ 851990 h 6857999"/>
              <a:gd name="connsiteX277" fmla="*/ 3761231 w 4516600"/>
              <a:gd name="connsiteY277" fmla="*/ 853459 h 6857999"/>
              <a:gd name="connsiteX278" fmla="*/ 3761231 w 4516600"/>
              <a:gd name="connsiteY278" fmla="*/ 858029 h 6857999"/>
              <a:gd name="connsiteX279" fmla="*/ 3760986 w 4516600"/>
              <a:gd name="connsiteY279" fmla="*/ 858396 h 6857999"/>
              <a:gd name="connsiteX280" fmla="*/ 3760496 w 4516600"/>
              <a:gd name="connsiteY280" fmla="*/ 858151 h 6857999"/>
              <a:gd name="connsiteX281" fmla="*/ 3741466 w 4516600"/>
              <a:gd name="connsiteY281" fmla="*/ 850807 h 6857999"/>
              <a:gd name="connsiteX282" fmla="*/ 3611905 w 4516600"/>
              <a:gd name="connsiteY282" fmla="*/ 850807 h 6857999"/>
              <a:gd name="connsiteX283" fmla="*/ 3592589 w 4516600"/>
              <a:gd name="connsiteY283" fmla="*/ 856677 h 6857999"/>
              <a:gd name="connsiteX284" fmla="*/ 3581949 w 4516600"/>
              <a:gd name="connsiteY284" fmla="*/ 872737 h 6857999"/>
              <a:gd name="connsiteX285" fmla="*/ 3580312 w 4516600"/>
              <a:gd name="connsiteY285" fmla="*/ 889042 h 6857999"/>
              <a:gd name="connsiteX286" fmla="*/ 3583873 w 4516600"/>
              <a:gd name="connsiteY286" fmla="*/ 910075 h 6857999"/>
              <a:gd name="connsiteX287" fmla="*/ 3594922 w 4516600"/>
              <a:gd name="connsiteY287" fmla="*/ 923485 h 6857999"/>
              <a:gd name="connsiteX288" fmla="*/ 3613092 w 4516600"/>
              <a:gd name="connsiteY288" fmla="*/ 928173 h 6857999"/>
              <a:gd name="connsiteX289" fmla="*/ 3630321 w 4516600"/>
              <a:gd name="connsiteY289" fmla="*/ 924341 h 6857999"/>
              <a:gd name="connsiteX290" fmla="*/ 3642066 w 4516600"/>
              <a:gd name="connsiteY290" fmla="*/ 913906 h 6857999"/>
              <a:gd name="connsiteX291" fmla="*/ 3641616 w 4516600"/>
              <a:gd name="connsiteY291" fmla="*/ 911990 h 6857999"/>
              <a:gd name="connsiteX292" fmla="*/ 3633185 w 4516600"/>
              <a:gd name="connsiteY292" fmla="*/ 906406 h 6857999"/>
              <a:gd name="connsiteX293" fmla="*/ 3631262 w 4516600"/>
              <a:gd name="connsiteY293" fmla="*/ 906854 h 6857999"/>
              <a:gd name="connsiteX294" fmla="*/ 3614442 w 4516600"/>
              <a:gd name="connsiteY294" fmla="*/ 915822 h 6857999"/>
              <a:gd name="connsiteX295" fmla="*/ 3601961 w 4516600"/>
              <a:gd name="connsiteY295" fmla="*/ 912520 h 6857999"/>
              <a:gd name="connsiteX296" fmla="*/ 3595372 w 4516600"/>
              <a:gd name="connsiteY296" fmla="*/ 903308 h 6857999"/>
              <a:gd name="connsiteX297" fmla="*/ 3594513 w 4516600"/>
              <a:gd name="connsiteY297" fmla="*/ 895686 h 6857999"/>
              <a:gd name="connsiteX298" fmla="*/ 3595086 w 4516600"/>
              <a:gd name="connsiteY298" fmla="*/ 895074 h 6857999"/>
              <a:gd name="connsiteX299" fmla="*/ 3642188 w 4516600"/>
              <a:gd name="connsiteY299" fmla="*/ 895074 h 6857999"/>
              <a:gd name="connsiteX300" fmla="*/ 3643703 w 4516600"/>
              <a:gd name="connsiteY300" fmla="*/ 893607 h 6857999"/>
              <a:gd name="connsiteX301" fmla="*/ 3643253 w 4516600"/>
              <a:gd name="connsiteY301" fmla="*/ 880074 h 6857999"/>
              <a:gd name="connsiteX302" fmla="*/ 3634249 w 4516600"/>
              <a:gd name="connsiteY302" fmla="*/ 858226 h 6857999"/>
              <a:gd name="connsiteX303" fmla="*/ 3611905 w 4516600"/>
              <a:gd name="connsiteY303" fmla="*/ 850807 h 6857999"/>
              <a:gd name="connsiteX304" fmla="*/ 3536095 w 4516600"/>
              <a:gd name="connsiteY304" fmla="*/ 850807 h 6857999"/>
              <a:gd name="connsiteX305" fmla="*/ 3517406 w 4516600"/>
              <a:gd name="connsiteY305" fmla="*/ 858926 h 6857999"/>
              <a:gd name="connsiteX306" fmla="*/ 3517038 w 4516600"/>
              <a:gd name="connsiteY306" fmla="*/ 859048 h 6857999"/>
              <a:gd name="connsiteX307" fmla="*/ 3516794 w 4516600"/>
              <a:gd name="connsiteY307" fmla="*/ 858640 h 6857999"/>
              <a:gd name="connsiteX308" fmla="*/ 3516794 w 4516600"/>
              <a:gd name="connsiteY308" fmla="*/ 853337 h 6857999"/>
              <a:gd name="connsiteX309" fmla="*/ 3515325 w 4516600"/>
              <a:gd name="connsiteY309" fmla="*/ 851868 h 6857999"/>
              <a:gd name="connsiteX310" fmla="*/ 3504144 w 4516600"/>
              <a:gd name="connsiteY310" fmla="*/ 851868 h 6857999"/>
              <a:gd name="connsiteX311" fmla="*/ 3502675 w 4516600"/>
              <a:gd name="connsiteY311" fmla="*/ 853337 h 6857999"/>
              <a:gd name="connsiteX312" fmla="*/ 3502675 w 4516600"/>
              <a:gd name="connsiteY312" fmla="*/ 925342 h 6857999"/>
              <a:gd name="connsiteX313" fmla="*/ 3504144 w 4516600"/>
              <a:gd name="connsiteY313" fmla="*/ 926811 h 6857999"/>
              <a:gd name="connsiteX314" fmla="*/ 3515325 w 4516600"/>
              <a:gd name="connsiteY314" fmla="*/ 926811 h 6857999"/>
              <a:gd name="connsiteX315" fmla="*/ 3516794 w 4516600"/>
              <a:gd name="connsiteY315" fmla="*/ 925342 h 6857999"/>
              <a:gd name="connsiteX316" fmla="*/ 3516794 w 4516600"/>
              <a:gd name="connsiteY316" fmla="*/ 879405 h 6857999"/>
              <a:gd name="connsiteX317" fmla="*/ 3521201 w 4516600"/>
              <a:gd name="connsiteY317" fmla="*/ 867615 h 6857999"/>
              <a:gd name="connsiteX318" fmla="*/ 3532545 w 4516600"/>
              <a:gd name="connsiteY318" fmla="*/ 863046 h 6857999"/>
              <a:gd name="connsiteX319" fmla="*/ 3543889 w 4516600"/>
              <a:gd name="connsiteY319" fmla="*/ 867615 h 6857999"/>
              <a:gd name="connsiteX320" fmla="*/ 3548173 w 4516600"/>
              <a:gd name="connsiteY320" fmla="*/ 879528 h 6857999"/>
              <a:gd name="connsiteX321" fmla="*/ 3548173 w 4516600"/>
              <a:gd name="connsiteY321" fmla="*/ 925342 h 6857999"/>
              <a:gd name="connsiteX322" fmla="*/ 3549642 w 4516600"/>
              <a:gd name="connsiteY322" fmla="*/ 926811 h 6857999"/>
              <a:gd name="connsiteX323" fmla="*/ 3560823 w 4516600"/>
              <a:gd name="connsiteY323" fmla="*/ 926811 h 6857999"/>
              <a:gd name="connsiteX324" fmla="*/ 3562333 w 4516600"/>
              <a:gd name="connsiteY324" fmla="*/ 925342 h 6857999"/>
              <a:gd name="connsiteX325" fmla="*/ 3562333 w 4516600"/>
              <a:gd name="connsiteY325" fmla="*/ 876754 h 6857999"/>
              <a:gd name="connsiteX326" fmla="*/ 3555233 w 4516600"/>
              <a:gd name="connsiteY326" fmla="*/ 857824 h 6857999"/>
              <a:gd name="connsiteX327" fmla="*/ 3536095 w 4516600"/>
              <a:gd name="connsiteY327" fmla="*/ 850807 h 6857999"/>
              <a:gd name="connsiteX328" fmla="*/ 3286606 w 4516600"/>
              <a:gd name="connsiteY328" fmla="*/ 850807 h 6857999"/>
              <a:gd name="connsiteX329" fmla="*/ 3267876 w 4516600"/>
              <a:gd name="connsiteY329" fmla="*/ 858926 h 6857999"/>
              <a:gd name="connsiteX330" fmla="*/ 3267508 w 4516600"/>
              <a:gd name="connsiteY330" fmla="*/ 859048 h 6857999"/>
              <a:gd name="connsiteX331" fmla="*/ 3267304 w 4516600"/>
              <a:gd name="connsiteY331" fmla="*/ 858640 h 6857999"/>
              <a:gd name="connsiteX332" fmla="*/ 3267304 w 4516600"/>
              <a:gd name="connsiteY332" fmla="*/ 853337 h 6857999"/>
              <a:gd name="connsiteX333" fmla="*/ 3265836 w 4516600"/>
              <a:gd name="connsiteY333" fmla="*/ 851868 h 6857999"/>
              <a:gd name="connsiteX334" fmla="*/ 3254614 w 4516600"/>
              <a:gd name="connsiteY334" fmla="*/ 851868 h 6857999"/>
              <a:gd name="connsiteX335" fmla="*/ 3253145 w 4516600"/>
              <a:gd name="connsiteY335" fmla="*/ 853337 h 6857999"/>
              <a:gd name="connsiteX336" fmla="*/ 3253145 w 4516600"/>
              <a:gd name="connsiteY336" fmla="*/ 925342 h 6857999"/>
              <a:gd name="connsiteX337" fmla="*/ 3254614 w 4516600"/>
              <a:gd name="connsiteY337" fmla="*/ 926811 h 6857999"/>
              <a:gd name="connsiteX338" fmla="*/ 3265836 w 4516600"/>
              <a:gd name="connsiteY338" fmla="*/ 926811 h 6857999"/>
              <a:gd name="connsiteX339" fmla="*/ 3267304 w 4516600"/>
              <a:gd name="connsiteY339" fmla="*/ 925342 h 6857999"/>
              <a:gd name="connsiteX340" fmla="*/ 3267304 w 4516600"/>
              <a:gd name="connsiteY340" fmla="*/ 879405 h 6857999"/>
              <a:gd name="connsiteX341" fmla="*/ 3271712 w 4516600"/>
              <a:gd name="connsiteY341" fmla="*/ 867615 h 6857999"/>
              <a:gd name="connsiteX342" fmla="*/ 3283056 w 4516600"/>
              <a:gd name="connsiteY342" fmla="*/ 863046 h 6857999"/>
              <a:gd name="connsiteX343" fmla="*/ 3294400 w 4516600"/>
              <a:gd name="connsiteY343" fmla="*/ 867615 h 6857999"/>
              <a:gd name="connsiteX344" fmla="*/ 3298684 w 4516600"/>
              <a:gd name="connsiteY344" fmla="*/ 879528 h 6857999"/>
              <a:gd name="connsiteX345" fmla="*/ 3298684 w 4516600"/>
              <a:gd name="connsiteY345" fmla="*/ 925342 h 6857999"/>
              <a:gd name="connsiteX346" fmla="*/ 3300153 w 4516600"/>
              <a:gd name="connsiteY346" fmla="*/ 926811 h 6857999"/>
              <a:gd name="connsiteX347" fmla="*/ 3311334 w 4516600"/>
              <a:gd name="connsiteY347" fmla="*/ 926811 h 6857999"/>
              <a:gd name="connsiteX348" fmla="*/ 3312803 w 4516600"/>
              <a:gd name="connsiteY348" fmla="*/ 925342 h 6857999"/>
              <a:gd name="connsiteX349" fmla="*/ 3312803 w 4516600"/>
              <a:gd name="connsiteY349" fmla="*/ 876754 h 6857999"/>
              <a:gd name="connsiteX350" fmla="*/ 3305744 w 4516600"/>
              <a:gd name="connsiteY350" fmla="*/ 857824 h 6857999"/>
              <a:gd name="connsiteX351" fmla="*/ 3286606 w 4516600"/>
              <a:gd name="connsiteY351" fmla="*/ 850807 h 6857999"/>
              <a:gd name="connsiteX352" fmla="*/ 3203171 w 4516600"/>
              <a:gd name="connsiteY352" fmla="*/ 850807 h 6857999"/>
              <a:gd name="connsiteX353" fmla="*/ 3183885 w 4516600"/>
              <a:gd name="connsiteY353" fmla="*/ 856677 h 6857999"/>
              <a:gd name="connsiteX354" fmla="*/ 3173284 w 4516600"/>
              <a:gd name="connsiteY354" fmla="*/ 872737 h 6857999"/>
              <a:gd name="connsiteX355" fmla="*/ 3171694 w 4516600"/>
              <a:gd name="connsiteY355" fmla="*/ 889042 h 6857999"/>
              <a:gd name="connsiteX356" fmla="*/ 3175201 w 4516600"/>
              <a:gd name="connsiteY356" fmla="*/ 910075 h 6857999"/>
              <a:gd name="connsiteX357" fmla="*/ 3186250 w 4516600"/>
              <a:gd name="connsiteY357" fmla="*/ 923485 h 6857999"/>
              <a:gd name="connsiteX358" fmla="*/ 3204354 w 4516600"/>
              <a:gd name="connsiteY358" fmla="*/ 928173 h 6857999"/>
              <a:gd name="connsiteX359" fmla="*/ 3221479 w 4516600"/>
              <a:gd name="connsiteY359" fmla="*/ 924341 h 6857999"/>
              <a:gd name="connsiteX360" fmla="*/ 3233222 w 4516600"/>
              <a:gd name="connsiteY360" fmla="*/ 913906 h 6857999"/>
              <a:gd name="connsiteX361" fmla="*/ 3232773 w 4516600"/>
              <a:gd name="connsiteY361" fmla="*/ 911990 h 6857999"/>
              <a:gd name="connsiteX362" fmla="*/ 3224374 w 4516600"/>
              <a:gd name="connsiteY362" fmla="*/ 906406 h 6857999"/>
              <a:gd name="connsiteX363" fmla="*/ 3222457 w 4516600"/>
              <a:gd name="connsiteY363" fmla="*/ 906854 h 6857999"/>
              <a:gd name="connsiteX364" fmla="*/ 3205659 w 4516600"/>
              <a:gd name="connsiteY364" fmla="*/ 915822 h 6857999"/>
              <a:gd name="connsiteX365" fmla="*/ 3193222 w 4516600"/>
              <a:gd name="connsiteY365" fmla="*/ 912520 h 6857999"/>
              <a:gd name="connsiteX366" fmla="*/ 3186699 w 4516600"/>
              <a:gd name="connsiteY366" fmla="*/ 903308 h 6857999"/>
              <a:gd name="connsiteX367" fmla="*/ 3185802 w 4516600"/>
              <a:gd name="connsiteY367" fmla="*/ 895686 h 6857999"/>
              <a:gd name="connsiteX368" fmla="*/ 3186413 w 4516600"/>
              <a:gd name="connsiteY368" fmla="*/ 895074 h 6857999"/>
              <a:gd name="connsiteX369" fmla="*/ 3233344 w 4516600"/>
              <a:gd name="connsiteY369" fmla="*/ 895074 h 6857999"/>
              <a:gd name="connsiteX370" fmla="*/ 3234812 w 4516600"/>
              <a:gd name="connsiteY370" fmla="*/ 893607 h 6857999"/>
              <a:gd name="connsiteX371" fmla="*/ 3234363 w 4516600"/>
              <a:gd name="connsiteY371" fmla="*/ 880074 h 6857999"/>
              <a:gd name="connsiteX372" fmla="*/ 3225393 w 4516600"/>
              <a:gd name="connsiteY372" fmla="*/ 858226 h 6857999"/>
              <a:gd name="connsiteX373" fmla="*/ 3203171 w 4516600"/>
              <a:gd name="connsiteY373" fmla="*/ 850807 h 6857999"/>
              <a:gd name="connsiteX374" fmla="*/ 3085598 w 4516600"/>
              <a:gd name="connsiteY374" fmla="*/ 850807 h 6857999"/>
              <a:gd name="connsiteX375" fmla="*/ 3066735 w 4516600"/>
              <a:gd name="connsiteY375" fmla="*/ 858640 h 6857999"/>
              <a:gd name="connsiteX376" fmla="*/ 3066204 w 4516600"/>
              <a:gd name="connsiteY376" fmla="*/ 858763 h 6857999"/>
              <a:gd name="connsiteX377" fmla="*/ 3066000 w 4516600"/>
              <a:gd name="connsiteY377" fmla="*/ 858314 h 6857999"/>
              <a:gd name="connsiteX378" fmla="*/ 3066000 w 4516600"/>
              <a:gd name="connsiteY378" fmla="*/ 853337 h 6857999"/>
              <a:gd name="connsiteX379" fmla="*/ 3064530 w 4516600"/>
              <a:gd name="connsiteY379" fmla="*/ 851868 h 6857999"/>
              <a:gd name="connsiteX380" fmla="*/ 3053343 w 4516600"/>
              <a:gd name="connsiteY380" fmla="*/ 851868 h 6857999"/>
              <a:gd name="connsiteX381" fmla="*/ 3051832 w 4516600"/>
              <a:gd name="connsiteY381" fmla="*/ 853337 h 6857999"/>
              <a:gd name="connsiteX382" fmla="*/ 3051832 w 4516600"/>
              <a:gd name="connsiteY382" fmla="*/ 925342 h 6857999"/>
              <a:gd name="connsiteX383" fmla="*/ 3053343 w 4516600"/>
              <a:gd name="connsiteY383" fmla="*/ 926811 h 6857999"/>
              <a:gd name="connsiteX384" fmla="*/ 3064530 w 4516600"/>
              <a:gd name="connsiteY384" fmla="*/ 926811 h 6857999"/>
              <a:gd name="connsiteX385" fmla="*/ 3066000 w 4516600"/>
              <a:gd name="connsiteY385" fmla="*/ 925342 h 6857999"/>
              <a:gd name="connsiteX386" fmla="*/ 3066000 w 4516600"/>
              <a:gd name="connsiteY386" fmla="*/ 878793 h 6857999"/>
              <a:gd name="connsiteX387" fmla="*/ 3070042 w 4516600"/>
              <a:gd name="connsiteY387" fmla="*/ 867330 h 6857999"/>
              <a:gd name="connsiteX388" fmla="*/ 3080903 w 4516600"/>
              <a:gd name="connsiteY388" fmla="*/ 863046 h 6857999"/>
              <a:gd name="connsiteX389" fmla="*/ 3091723 w 4516600"/>
              <a:gd name="connsiteY389" fmla="*/ 867370 h 6857999"/>
              <a:gd name="connsiteX390" fmla="*/ 3095765 w 4516600"/>
              <a:gd name="connsiteY390" fmla="*/ 879079 h 6857999"/>
              <a:gd name="connsiteX391" fmla="*/ 3095765 w 4516600"/>
              <a:gd name="connsiteY391" fmla="*/ 925342 h 6857999"/>
              <a:gd name="connsiteX392" fmla="*/ 3097235 w 4516600"/>
              <a:gd name="connsiteY392" fmla="*/ 926811 h 6857999"/>
              <a:gd name="connsiteX393" fmla="*/ 3108299 w 4516600"/>
              <a:gd name="connsiteY393" fmla="*/ 926811 h 6857999"/>
              <a:gd name="connsiteX394" fmla="*/ 3109769 w 4516600"/>
              <a:gd name="connsiteY394" fmla="*/ 925342 h 6857999"/>
              <a:gd name="connsiteX395" fmla="*/ 3109769 w 4516600"/>
              <a:gd name="connsiteY395" fmla="*/ 878793 h 6857999"/>
              <a:gd name="connsiteX396" fmla="*/ 3114056 w 4516600"/>
              <a:gd name="connsiteY396" fmla="*/ 867330 h 6857999"/>
              <a:gd name="connsiteX397" fmla="*/ 3125080 w 4516600"/>
              <a:gd name="connsiteY397" fmla="*/ 863046 h 6857999"/>
              <a:gd name="connsiteX398" fmla="*/ 3135941 w 4516600"/>
              <a:gd name="connsiteY398" fmla="*/ 867370 h 6857999"/>
              <a:gd name="connsiteX399" fmla="*/ 3139983 w 4516600"/>
              <a:gd name="connsiteY399" fmla="*/ 879079 h 6857999"/>
              <a:gd name="connsiteX400" fmla="*/ 3139983 w 4516600"/>
              <a:gd name="connsiteY400" fmla="*/ 925342 h 6857999"/>
              <a:gd name="connsiteX401" fmla="*/ 3141453 w 4516600"/>
              <a:gd name="connsiteY401" fmla="*/ 926811 h 6857999"/>
              <a:gd name="connsiteX402" fmla="*/ 3152517 w 4516600"/>
              <a:gd name="connsiteY402" fmla="*/ 926811 h 6857999"/>
              <a:gd name="connsiteX403" fmla="*/ 3153987 w 4516600"/>
              <a:gd name="connsiteY403" fmla="*/ 925342 h 6857999"/>
              <a:gd name="connsiteX404" fmla="*/ 3153987 w 4516600"/>
              <a:gd name="connsiteY404" fmla="*/ 876142 h 6857999"/>
              <a:gd name="connsiteX405" fmla="*/ 3147495 w 4516600"/>
              <a:gd name="connsiteY405" fmla="*/ 857539 h 6857999"/>
              <a:gd name="connsiteX406" fmla="*/ 3129816 w 4516600"/>
              <a:gd name="connsiteY406" fmla="*/ 850807 h 6857999"/>
              <a:gd name="connsiteX407" fmla="*/ 3116914 w 4516600"/>
              <a:gd name="connsiteY407" fmla="*/ 853622 h 6857999"/>
              <a:gd name="connsiteX408" fmla="*/ 3107564 w 4516600"/>
              <a:gd name="connsiteY408" fmla="*/ 862149 h 6857999"/>
              <a:gd name="connsiteX409" fmla="*/ 3106666 w 4516600"/>
              <a:gd name="connsiteY409" fmla="*/ 862149 h 6857999"/>
              <a:gd name="connsiteX410" fmla="*/ 3098419 w 4516600"/>
              <a:gd name="connsiteY410" fmla="*/ 853704 h 6857999"/>
              <a:gd name="connsiteX411" fmla="*/ 3085598 w 4516600"/>
              <a:gd name="connsiteY411" fmla="*/ 850807 h 6857999"/>
              <a:gd name="connsiteX412" fmla="*/ 2921108 w 4516600"/>
              <a:gd name="connsiteY412" fmla="*/ 850807 h 6857999"/>
              <a:gd name="connsiteX413" fmla="*/ 2901752 w 4516600"/>
              <a:gd name="connsiteY413" fmla="*/ 856677 h 6857999"/>
              <a:gd name="connsiteX414" fmla="*/ 2891112 w 4516600"/>
              <a:gd name="connsiteY414" fmla="*/ 872737 h 6857999"/>
              <a:gd name="connsiteX415" fmla="*/ 2889475 w 4516600"/>
              <a:gd name="connsiteY415" fmla="*/ 889042 h 6857999"/>
              <a:gd name="connsiteX416" fmla="*/ 2893035 w 4516600"/>
              <a:gd name="connsiteY416" fmla="*/ 910075 h 6857999"/>
              <a:gd name="connsiteX417" fmla="*/ 2904125 w 4516600"/>
              <a:gd name="connsiteY417" fmla="*/ 923485 h 6857999"/>
              <a:gd name="connsiteX418" fmla="*/ 2922295 w 4516600"/>
              <a:gd name="connsiteY418" fmla="*/ 928173 h 6857999"/>
              <a:gd name="connsiteX419" fmla="*/ 2939483 w 4516600"/>
              <a:gd name="connsiteY419" fmla="*/ 924341 h 6857999"/>
              <a:gd name="connsiteX420" fmla="*/ 2951228 w 4516600"/>
              <a:gd name="connsiteY420" fmla="*/ 913906 h 6857999"/>
              <a:gd name="connsiteX421" fmla="*/ 2950778 w 4516600"/>
              <a:gd name="connsiteY421" fmla="*/ 911990 h 6857999"/>
              <a:gd name="connsiteX422" fmla="*/ 2942389 w 4516600"/>
              <a:gd name="connsiteY422" fmla="*/ 906406 h 6857999"/>
              <a:gd name="connsiteX423" fmla="*/ 2940465 w 4516600"/>
              <a:gd name="connsiteY423" fmla="*/ 906854 h 6857999"/>
              <a:gd name="connsiteX424" fmla="*/ 2923605 w 4516600"/>
              <a:gd name="connsiteY424" fmla="*/ 915822 h 6857999"/>
              <a:gd name="connsiteX425" fmla="*/ 2911123 w 4516600"/>
              <a:gd name="connsiteY425" fmla="*/ 912520 h 6857999"/>
              <a:gd name="connsiteX426" fmla="*/ 2904575 w 4516600"/>
              <a:gd name="connsiteY426" fmla="*/ 903308 h 6857999"/>
              <a:gd name="connsiteX427" fmla="*/ 2903675 w 4516600"/>
              <a:gd name="connsiteY427" fmla="*/ 895686 h 6857999"/>
              <a:gd name="connsiteX428" fmla="*/ 2904248 w 4516600"/>
              <a:gd name="connsiteY428" fmla="*/ 895074 h 6857999"/>
              <a:gd name="connsiteX429" fmla="*/ 2951392 w 4516600"/>
              <a:gd name="connsiteY429" fmla="*/ 895074 h 6857999"/>
              <a:gd name="connsiteX430" fmla="*/ 2952865 w 4516600"/>
              <a:gd name="connsiteY430" fmla="*/ 893607 h 6857999"/>
              <a:gd name="connsiteX431" fmla="*/ 2952415 w 4516600"/>
              <a:gd name="connsiteY431" fmla="*/ 880074 h 6857999"/>
              <a:gd name="connsiteX432" fmla="*/ 2943412 w 4516600"/>
              <a:gd name="connsiteY432" fmla="*/ 858226 h 6857999"/>
              <a:gd name="connsiteX433" fmla="*/ 2921108 w 4516600"/>
              <a:gd name="connsiteY433" fmla="*/ 850807 h 6857999"/>
              <a:gd name="connsiteX434" fmla="*/ 2845298 w 4516600"/>
              <a:gd name="connsiteY434" fmla="*/ 850807 h 6857999"/>
              <a:gd name="connsiteX435" fmla="*/ 2826568 w 4516600"/>
              <a:gd name="connsiteY435" fmla="*/ 858926 h 6857999"/>
              <a:gd name="connsiteX436" fmla="*/ 2826242 w 4516600"/>
              <a:gd name="connsiteY436" fmla="*/ 859048 h 6857999"/>
              <a:gd name="connsiteX437" fmla="*/ 2825997 w 4516600"/>
              <a:gd name="connsiteY437" fmla="*/ 858640 h 6857999"/>
              <a:gd name="connsiteX438" fmla="*/ 2825997 w 4516600"/>
              <a:gd name="connsiteY438" fmla="*/ 853337 h 6857999"/>
              <a:gd name="connsiteX439" fmla="*/ 2824528 w 4516600"/>
              <a:gd name="connsiteY439" fmla="*/ 851868 h 6857999"/>
              <a:gd name="connsiteX440" fmla="*/ 2813347 w 4516600"/>
              <a:gd name="connsiteY440" fmla="*/ 851868 h 6857999"/>
              <a:gd name="connsiteX441" fmla="*/ 2811837 w 4516600"/>
              <a:gd name="connsiteY441" fmla="*/ 853337 h 6857999"/>
              <a:gd name="connsiteX442" fmla="*/ 2811837 w 4516600"/>
              <a:gd name="connsiteY442" fmla="*/ 925342 h 6857999"/>
              <a:gd name="connsiteX443" fmla="*/ 2813347 w 4516600"/>
              <a:gd name="connsiteY443" fmla="*/ 926811 h 6857999"/>
              <a:gd name="connsiteX444" fmla="*/ 2824528 w 4516600"/>
              <a:gd name="connsiteY444" fmla="*/ 926811 h 6857999"/>
              <a:gd name="connsiteX445" fmla="*/ 2825997 w 4516600"/>
              <a:gd name="connsiteY445" fmla="*/ 925342 h 6857999"/>
              <a:gd name="connsiteX446" fmla="*/ 2825997 w 4516600"/>
              <a:gd name="connsiteY446" fmla="*/ 879405 h 6857999"/>
              <a:gd name="connsiteX447" fmla="*/ 2830404 w 4516600"/>
              <a:gd name="connsiteY447" fmla="*/ 867615 h 6857999"/>
              <a:gd name="connsiteX448" fmla="*/ 2841748 w 4516600"/>
              <a:gd name="connsiteY448" fmla="*/ 863046 h 6857999"/>
              <a:gd name="connsiteX449" fmla="*/ 2853092 w 4516600"/>
              <a:gd name="connsiteY449" fmla="*/ 867615 h 6857999"/>
              <a:gd name="connsiteX450" fmla="*/ 2857377 w 4516600"/>
              <a:gd name="connsiteY450" fmla="*/ 879528 h 6857999"/>
              <a:gd name="connsiteX451" fmla="*/ 2857377 w 4516600"/>
              <a:gd name="connsiteY451" fmla="*/ 925342 h 6857999"/>
              <a:gd name="connsiteX452" fmla="*/ 2858846 w 4516600"/>
              <a:gd name="connsiteY452" fmla="*/ 926811 h 6857999"/>
              <a:gd name="connsiteX453" fmla="*/ 2870026 w 4516600"/>
              <a:gd name="connsiteY453" fmla="*/ 926811 h 6857999"/>
              <a:gd name="connsiteX454" fmla="*/ 2871496 w 4516600"/>
              <a:gd name="connsiteY454" fmla="*/ 925342 h 6857999"/>
              <a:gd name="connsiteX455" fmla="*/ 2871496 w 4516600"/>
              <a:gd name="connsiteY455" fmla="*/ 876754 h 6857999"/>
              <a:gd name="connsiteX456" fmla="*/ 2864436 w 4516600"/>
              <a:gd name="connsiteY456" fmla="*/ 857824 h 6857999"/>
              <a:gd name="connsiteX457" fmla="*/ 2845298 w 4516600"/>
              <a:gd name="connsiteY457" fmla="*/ 850807 h 6857999"/>
              <a:gd name="connsiteX458" fmla="*/ 2706291 w 4516600"/>
              <a:gd name="connsiteY458" fmla="*/ 850807 h 6857999"/>
              <a:gd name="connsiteX459" fmla="*/ 2687005 w 4516600"/>
              <a:gd name="connsiteY459" fmla="*/ 856677 h 6857999"/>
              <a:gd name="connsiteX460" fmla="*/ 2676404 w 4516600"/>
              <a:gd name="connsiteY460" fmla="*/ 872737 h 6857999"/>
              <a:gd name="connsiteX461" fmla="*/ 2674814 w 4516600"/>
              <a:gd name="connsiteY461" fmla="*/ 889042 h 6857999"/>
              <a:gd name="connsiteX462" fmla="*/ 2678320 w 4516600"/>
              <a:gd name="connsiteY462" fmla="*/ 910075 h 6857999"/>
              <a:gd name="connsiteX463" fmla="*/ 2689370 w 4516600"/>
              <a:gd name="connsiteY463" fmla="*/ 923485 h 6857999"/>
              <a:gd name="connsiteX464" fmla="*/ 2707473 w 4516600"/>
              <a:gd name="connsiteY464" fmla="*/ 928173 h 6857999"/>
              <a:gd name="connsiteX465" fmla="*/ 2724598 w 4516600"/>
              <a:gd name="connsiteY465" fmla="*/ 924341 h 6857999"/>
              <a:gd name="connsiteX466" fmla="*/ 2736301 w 4516600"/>
              <a:gd name="connsiteY466" fmla="*/ 913906 h 6857999"/>
              <a:gd name="connsiteX467" fmla="*/ 2735852 w 4516600"/>
              <a:gd name="connsiteY467" fmla="*/ 911990 h 6857999"/>
              <a:gd name="connsiteX468" fmla="*/ 2727494 w 4516600"/>
              <a:gd name="connsiteY468" fmla="*/ 906406 h 6857999"/>
              <a:gd name="connsiteX469" fmla="*/ 2725577 w 4516600"/>
              <a:gd name="connsiteY469" fmla="*/ 906854 h 6857999"/>
              <a:gd name="connsiteX470" fmla="*/ 2708778 w 4516600"/>
              <a:gd name="connsiteY470" fmla="*/ 915822 h 6857999"/>
              <a:gd name="connsiteX471" fmla="*/ 2696342 w 4516600"/>
              <a:gd name="connsiteY471" fmla="*/ 912520 h 6857999"/>
              <a:gd name="connsiteX472" fmla="*/ 2689818 w 4516600"/>
              <a:gd name="connsiteY472" fmla="*/ 903308 h 6857999"/>
              <a:gd name="connsiteX473" fmla="*/ 2688921 w 4516600"/>
              <a:gd name="connsiteY473" fmla="*/ 895686 h 6857999"/>
              <a:gd name="connsiteX474" fmla="*/ 2689492 w 4516600"/>
              <a:gd name="connsiteY474" fmla="*/ 895074 h 6857999"/>
              <a:gd name="connsiteX475" fmla="*/ 2736464 w 4516600"/>
              <a:gd name="connsiteY475" fmla="*/ 895074 h 6857999"/>
              <a:gd name="connsiteX476" fmla="*/ 2737932 w 4516600"/>
              <a:gd name="connsiteY476" fmla="*/ 893607 h 6857999"/>
              <a:gd name="connsiteX477" fmla="*/ 2737483 w 4516600"/>
              <a:gd name="connsiteY477" fmla="*/ 880074 h 6857999"/>
              <a:gd name="connsiteX478" fmla="*/ 2728513 w 4516600"/>
              <a:gd name="connsiteY478" fmla="*/ 858226 h 6857999"/>
              <a:gd name="connsiteX479" fmla="*/ 2706291 w 4516600"/>
              <a:gd name="connsiteY479" fmla="*/ 850807 h 6857999"/>
              <a:gd name="connsiteX480" fmla="*/ 2576154 w 4516600"/>
              <a:gd name="connsiteY480" fmla="*/ 850807 h 6857999"/>
              <a:gd name="connsiteX481" fmla="*/ 2557424 w 4516600"/>
              <a:gd name="connsiteY481" fmla="*/ 858926 h 6857999"/>
              <a:gd name="connsiteX482" fmla="*/ 2557057 w 4516600"/>
              <a:gd name="connsiteY482" fmla="*/ 859048 h 6857999"/>
              <a:gd name="connsiteX483" fmla="*/ 2556853 w 4516600"/>
              <a:gd name="connsiteY483" fmla="*/ 858640 h 6857999"/>
              <a:gd name="connsiteX484" fmla="*/ 2556853 w 4516600"/>
              <a:gd name="connsiteY484" fmla="*/ 853337 h 6857999"/>
              <a:gd name="connsiteX485" fmla="*/ 2555384 w 4516600"/>
              <a:gd name="connsiteY485" fmla="*/ 851868 h 6857999"/>
              <a:gd name="connsiteX486" fmla="*/ 2544162 w 4516600"/>
              <a:gd name="connsiteY486" fmla="*/ 851868 h 6857999"/>
              <a:gd name="connsiteX487" fmla="*/ 2542693 w 4516600"/>
              <a:gd name="connsiteY487" fmla="*/ 853337 h 6857999"/>
              <a:gd name="connsiteX488" fmla="*/ 2542693 w 4516600"/>
              <a:gd name="connsiteY488" fmla="*/ 925342 h 6857999"/>
              <a:gd name="connsiteX489" fmla="*/ 2544162 w 4516600"/>
              <a:gd name="connsiteY489" fmla="*/ 926811 h 6857999"/>
              <a:gd name="connsiteX490" fmla="*/ 2555384 w 4516600"/>
              <a:gd name="connsiteY490" fmla="*/ 926811 h 6857999"/>
              <a:gd name="connsiteX491" fmla="*/ 2556853 w 4516600"/>
              <a:gd name="connsiteY491" fmla="*/ 925342 h 6857999"/>
              <a:gd name="connsiteX492" fmla="*/ 2556853 w 4516600"/>
              <a:gd name="connsiteY492" fmla="*/ 879405 h 6857999"/>
              <a:gd name="connsiteX493" fmla="*/ 2561260 w 4516600"/>
              <a:gd name="connsiteY493" fmla="*/ 867615 h 6857999"/>
              <a:gd name="connsiteX494" fmla="*/ 2572604 w 4516600"/>
              <a:gd name="connsiteY494" fmla="*/ 863046 h 6857999"/>
              <a:gd name="connsiteX495" fmla="*/ 2583948 w 4516600"/>
              <a:gd name="connsiteY495" fmla="*/ 867615 h 6857999"/>
              <a:gd name="connsiteX496" fmla="*/ 2588233 w 4516600"/>
              <a:gd name="connsiteY496" fmla="*/ 879528 h 6857999"/>
              <a:gd name="connsiteX497" fmla="*/ 2588233 w 4516600"/>
              <a:gd name="connsiteY497" fmla="*/ 925342 h 6857999"/>
              <a:gd name="connsiteX498" fmla="*/ 2589702 w 4516600"/>
              <a:gd name="connsiteY498" fmla="*/ 926811 h 6857999"/>
              <a:gd name="connsiteX499" fmla="*/ 2600883 w 4516600"/>
              <a:gd name="connsiteY499" fmla="*/ 926811 h 6857999"/>
              <a:gd name="connsiteX500" fmla="*/ 2602352 w 4516600"/>
              <a:gd name="connsiteY500" fmla="*/ 925342 h 6857999"/>
              <a:gd name="connsiteX501" fmla="*/ 2602352 w 4516600"/>
              <a:gd name="connsiteY501" fmla="*/ 876754 h 6857999"/>
              <a:gd name="connsiteX502" fmla="*/ 2595292 w 4516600"/>
              <a:gd name="connsiteY502" fmla="*/ 857824 h 6857999"/>
              <a:gd name="connsiteX503" fmla="*/ 2576154 w 4516600"/>
              <a:gd name="connsiteY503" fmla="*/ 850807 h 6857999"/>
              <a:gd name="connsiteX504" fmla="*/ 2630183 w 4516600"/>
              <a:gd name="connsiteY504" fmla="*/ 832283 h 6857999"/>
              <a:gd name="connsiteX505" fmla="*/ 2628709 w 4516600"/>
              <a:gd name="connsiteY505" fmla="*/ 833754 h 6857999"/>
              <a:gd name="connsiteX506" fmla="*/ 2628709 w 4516600"/>
              <a:gd name="connsiteY506" fmla="*/ 851153 h 6857999"/>
              <a:gd name="connsiteX507" fmla="*/ 2628135 w 4516600"/>
              <a:gd name="connsiteY507" fmla="*/ 851725 h 6857999"/>
              <a:gd name="connsiteX508" fmla="*/ 2619123 w 4516600"/>
              <a:gd name="connsiteY508" fmla="*/ 851725 h 6857999"/>
              <a:gd name="connsiteX509" fmla="*/ 2617607 w 4516600"/>
              <a:gd name="connsiteY509" fmla="*/ 853236 h 6857999"/>
              <a:gd name="connsiteX510" fmla="*/ 2617607 w 4516600"/>
              <a:gd name="connsiteY510" fmla="*/ 861936 h 6857999"/>
              <a:gd name="connsiteX511" fmla="*/ 2619123 w 4516600"/>
              <a:gd name="connsiteY511" fmla="*/ 863407 h 6857999"/>
              <a:gd name="connsiteX512" fmla="*/ 2628135 w 4516600"/>
              <a:gd name="connsiteY512" fmla="*/ 863407 h 6857999"/>
              <a:gd name="connsiteX513" fmla="*/ 2628709 w 4516600"/>
              <a:gd name="connsiteY513" fmla="*/ 863978 h 6857999"/>
              <a:gd name="connsiteX514" fmla="*/ 2628709 w 4516600"/>
              <a:gd name="connsiteY514" fmla="*/ 908049 h 6857999"/>
              <a:gd name="connsiteX515" fmla="*/ 2634403 w 4516600"/>
              <a:gd name="connsiteY515" fmla="*/ 923039 h 6857999"/>
              <a:gd name="connsiteX516" fmla="*/ 2651363 w 4516600"/>
              <a:gd name="connsiteY516" fmla="*/ 927083 h 6857999"/>
              <a:gd name="connsiteX517" fmla="*/ 2658164 w 4516600"/>
              <a:gd name="connsiteY517" fmla="*/ 926797 h 6857999"/>
              <a:gd name="connsiteX518" fmla="*/ 2659638 w 4516600"/>
              <a:gd name="connsiteY518" fmla="*/ 925327 h 6857999"/>
              <a:gd name="connsiteX519" fmla="*/ 2659638 w 4516600"/>
              <a:gd name="connsiteY519" fmla="*/ 916177 h 6857999"/>
              <a:gd name="connsiteX520" fmla="*/ 2658164 w 4516600"/>
              <a:gd name="connsiteY520" fmla="*/ 914707 h 6857999"/>
              <a:gd name="connsiteX521" fmla="*/ 2653862 w 4516600"/>
              <a:gd name="connsiteY521" fmla="*/ 914707 h 6857999"/>
              <a:gd name="connsiteX522" fmla="*/ 2645136 w 4516600"/>
              <a:gd name="connsiteY522" fmla="*/ 911970 h 6857999"/>
              <a:gd name="connsiteX523" fmla="*/ 2642309 w 4516600"/>
              <a:gd name="connsiteY523" fmla="*/ 903066 h 6857999"/>
              <a:gd name="connsiteX524" fmla="*/ 2642309 w 4516600"/>
              <a:gd name="connsiteY524" fmla="*/ 863978 h 6857999"/>
              <a:gd name="connsiteX525" fmla="*/ 2642924 w 4516600"/>
              <a:gd name="connsiteY525" fmla="*/ 863407 h 6857999"/>
              <a:gd name="connsiteX526" fmla="*/ 2658901 w 4516600"/>
              <a:gd name="connsiteY526" fmla="*/ 863407 h 6857999"/>
              <a:gd name="connsiteX527" fmla="*/ 2660376 w 4516600"/>
              <a:gd name="connsiteY527" fmla="*/ 861936 h 6857999"/>
              <a:gd name="connsiteX528" fmla="*/ 2660376 w 4516600"/>
              <a:gd name="connsiteY528" fmla="*/ 853236 h 6857999"/>
              <a:gd name="connsiteX529" fmla="*/ 2658901 w 4516600"/>
              <a:gd name="connsiteY529" fmla="*/ 851725 h 6857999"/>
              <a:gd name="connsiteX530" fmla="*/ 2642924 w 4516600"/>
              <a:gd name="connsiteY530" fmla="*/ 851725 h 6857999"/>
              <a:gd name="connsiteX531" fmla="*/ 2642309 w 4516600"/>
              <a:gd name="connsiteY531" fmla="*/ 851153 h 6857999"/>
              <a:gd name="connsiteX532" fmla="*/ 2642309 w 4516600"/>
              <a:gd name="connsiteY532" fmla="*/ 833754 h 6857999"/>
              <a:gd name="connsiteX533" fmla="*/ 2640835 w 4516600"/>
              <a:gd name="connsiteY533" fmla="*/ 832283 h 6857999"/>
              <a:gd name="connsiteX534" fmla="*/ 2630183 w 4516600"/>
              <a:gd name="connsiteY534" fmla="*/ 832283 h 6857999"/>
              <a:gd name="connsiteX535" fmla="*/ 2972940 w 4516600"/>
              <a:gd name="connsiteY535" fmla="*/ 823838 h 6857999"/>
              <a:gd name="connsiteX536" fmla="*/ 2971471 w 4516600"/>
              <a:gd name="connsiteY536" fmla="*/ 825305 h 6857999"/>
              <a:gd name="connsiteX537" fmla="*/ 2971471 w 4516600"/>
              <a:gd name="connsiteY537" fmla="*/ 925343 h 6857999"/>
              <a:gd name="connsiteX538" fmla="*/ 2972940 w 4516600"/>
              <a:gd name="connsiteY538" fmla="*/ 926810 h 6857999"/>
              <a:gd name="connsiteX539" fmla="*/ 2984121 w 4516600"/>
              <a:gd name="connsiteY539" fmla="*/ 926810 h 6857999"/>
              <a:gd name="connsiteX540" fmla="*/ 2985590 w 4516600"/>
              <a:gd name="connsiteY540" fmla="*/ 925343 h 6857999"/>
              <a:gd name="connsiteX541" fmla="*/ 2985590 w 4516600"/>
              <a:gd name="connsiteY541" fmla="*/ 879460 h 6857999"/>
              <a:gd name="connsiteX542" fmla="*/ 2990037 w 4516600"/>
              <a:gd name="connsiteY542" fmla="*/ 867684 h 6857999"/>
              <a:gd name="connsiteX543" fmla="*/ 3001382 w 4516600"/>
              <a:gd name="connsiteY543" fmla="*/ 863120 h 6857999"/>
              <a:gd name="connsiteX544" fmla="*/ 3012726 w 4516600"/>
              <a:gd name="connsiteY544" fmla="*/ 867684 h 6857999"/>
              <a:gd name="connsiteX545" fmla="*/ 3016970 w 4516600"/>
              <a:gd name="connsiteY545" fmla="*/ 879583 h 6857999"/>
              <a:gd name="connsiteX546" fmla="*/ 3016970 w 4516600"/>
              <a:gd name="connsiteY546" fmla="*/ 925343 h 6857999"/>
              <a:gd name="connsiteX547" fmla="*/ 3018439 w 4516600"/>
              <a:gd name="connsiteY547" fmla="*/ 926810 h 6857999"/>
              <a:gd name="connsiteX548" fmla="*/ 3029660 w 4516600"/>
              <a:gd name="connsiteY548" fmla="*/ 926810 h 6857999"/>
              <a:gd name="connsiteX549" fmla="*/ 3031129 w 4516600"/>
              <a:gd name="connsiteY549" fmla="*/ 925343 h 6857999"/>
              <a:gd name="connsiteX550" fmla="*/ 3031129 w 4516600"/>
              <a:gd name="connsiteY550" fmla="*/ 876812 h 6857999"/>
              <a:gd name="connsiteX551" fmla="*/ 3024070 w 4516600"/>
              <a:gd name="connsiteY551" fmla="*/ 857904 h 6857999"/>
              <a:gd name="connsiteX552" fmla="*/ 3004891 w 4516600"/>
              <a:gd name="connsiteY552" fmla="*/ 850895 h 6857999"/>
              <a:gd name="connsiteX553" fmla="*/ 2986202 w 4516600"/>
              <a:gd name="connsiteY553" fmla="*/ 859005 h 6857999"/>
              <a:gd name="connsiteX554" fmla="*/ 2985834 w 4516600"/>
              <a:gd name="connsiteY554" fmla="*/ 859127 h 6857999"/>
              <a:gd name="connsiteX555" fmla="*/ 2985590 w 4516600"/>
              <a:gd name="connsiteY555" fmla="*/ 858719 h 6857999"/>
              <a:gd name="connsiteX556" fmla="*/ 2985590 w 4516600"/>
              <a:gd name="connsiteY556" fmla="*/ 825305 h 6857999"/>
              <a:gd name="connsiteX557" fmla="*/ 2984121 w 4516600"/>
              <a:gd name="connsiteY557" fmla="*/ 823838 h 6857999"/>
              <a:gd name="connsiteX558" fmla="*/ 2972940 w 4516600"/>
              <a:gd name="connsiteY558" fmla="*/ 823838 h 6857999"/>
              <a:gd name="connsiteX559" fmla="*/ 3804508 w 4516600"/>
              <a:gd name="connsiteY559" fmla="*/ 821114 h 6857999"/>
              <a:gd name="connsiteX560" fmla="*/ 3797656 w 4516600"/>
              <a:gd name="connsiteY560" fmla="*/ 823797 h 6857999"/>
              <a:gd name="connsiteX561" fmla="*/ 3794973 w 4516600"/>
              <a:gd name="connsiteY561" fmla="*/ 830649 h 6857999"/>
              <a:gd name="connsiteX562" fmla="*/ 3797656 w 4516600"/>
              <a:gd name="connsiteY562" fmla="*/ 837500 h 6857999"/>
              <a:gd name="connsiteX563" fmla="*/ 3804508 w 4516600"/>
              <a:gd name="connsiteY563" fmla="*/ 840183 h 6857999"/>
              <a:gd name="connsiteX564" fmla="*/ 3811401 w 4516600"/>
              <a:gd name="connsiteY564" fmla="*/ 837500 h 6857999"/>
              <a:gd name="connsiteX565" fmla="*/ 3814042 w 4516600"/>
              <a:gd name="connsiteY565" fmla="*/ 830649 h 6857999"/>
              <a:gd name="connsiteX566" fmla="*/ 3811401 w 4516600"/>
              <a:gd name="connsiteY566" fmla="*/ 823797 h 6857999"/>
              <a:gd name="connsiteX567" fmla="*/ 3804508 w 4516600"/>
              <a:gd name="connsiteY567" fmla="*/ 821114 h 6857999"/>
              <a:gd name="connsiteX568" fmla="*/ 1956352 w 4516600"/>
              <a:gd name="connsiteY568" fmla="*/ 615715 h 6857999"/>
              <a:gd name="connsiteX569" fmla="*/ 1994116 w 4516600"/>
              <a:gd name="connsiteY569" fmla="*/ 615715 h 6857999"/>
              <a:gd name="connsiteX570" fmla="*/ 1998958 w 4516600"/>
              <a:gd name="connsiteY570" fmla="*/ 620167 h 6857999"/>
              <a:gd name="connsiteX571" fmla="*/ 1998958 w 4516600"/>
              <a:gd name="connsiteY571" fmla="*/ 716581 h 6857999"/>
              <a:gd name="connsiteX572" fmla="*/ 1992163 w 4516600"/>
              <a:gd name="connsiteY572" fmla="*/ 723237 h 6857999"/>
              <a:gd name="connsiteX573" fmla="*/ 1971205 w 4516600"/>
              <a:gd name="connsiteY573" fmla="*/ 722992 h 6857999"/>
              <a:gd name="connsiteX574" fmla="*/ 1956352 w 4516600"/>
              <a:gd name="connsiteY574" fmla="*/ 722992 h 6857999"/>
              <a:gd name="connsiteX575" fmla="*/ 1938284 w 4516600"/>
              <a:gd name="connsiteY575" fmla="*/ 717724 h 6857999"/>
              <a:gd name="connsiteX576" fmla="*/ 1933035 w 4516600"/>
              <a:gd name="connsiteY576" fmla="*/ 699593 h 6857999"/>
              <a:gd name="connsiteX577" fmla="*/ 1933035 w 4516600"/>
              <a:gd name="connsiteY577" fmla="*/ 639523 h 6857999"/>
              <a:gd name="connsiteX578" fmla="*/ 1938284 w 4516600"/>
              <a:gd name="connsiteY578" fmla="*/ 621147 h 6857999"/>
              <a:gd name="connsiteX579" fmla="*/ 1956352 w 4516600"/>
              <a:gd name="connsiteY579" fmla="*/ 615715 h 6857999"/>
              <a:gd name="connsiteX580" fmla="*/ 2891882 w 4516600"/>
              <a:gd name="connsiteY580" fmla="*/ 598281 h 6857999"/>
              <a:gd name="connsiteX581" fmla="*/ 2920029 w 4516600"/>
              <a:gd name="connsiteY581" fmla="*/ 598281 h 6857999"/>
              <a:gd name="connsiteX582" fmla="*/ 2953764 w 4516600"/>
              <a:gd name="connsiteY582" fmla="*/ 632832 h 6857999"/>
              <a:gd name="connsiteX583" fmla="*/ 2953764 w 4516600"/>
              <a:gd name="connsiteY583" fmla="*/ 717330 h 6857999"/>
              <a:gd name="connsiteX584" fmla="*/ 2920029 w 4516600"/>
              <a:gd name="connsiteY584" fmla="*/ 751921 h 6857999"/>
              <a:gd name="connsiteX585" fmla="*/ 2891882 w 4516600"/>
              <a:gd name="connsiteY585" fmla="*/ 751921 h 6857999"/>
              <a:gd name="connsiteX586" fmla="*/ 2858147 w 4516600"/>
              <a:gd name="connsiteY586" fmla="*/ 717330 h 6857999"/>
              <a:gd name="connsiteX587" fmla="*/ 2858147 w 4516600"/>
              <a:gd name="connsiteY587" fmla="*/ 632832 h 6857999"/>
              <a:gd name="connsiteX588" fmla="*/ 2891882 w 4516600"/>
              <a:gd name="connsiteY588" fmla="*/ 598281 h 6857999"/>
              <a:gd name="connsiteX589" fmla="*/ 3490038 w 4516600"/>
              <a:gd name="connsiteY589" fmla="*/ 598009 h 6857999"/>
              <a:gd name="connsiteX590" fmla="*/ 3546346 w 4516600"/>
              <a:gd name="connsiteY590" fmla="*/ 598009 h 6857999"/>
              <a:gd name="connsiteX591" fmla="*/ 3550347 w 4516600"/>
              <a:gd name="connsiteY591" fmla="*/ 601649 h 6857999"/>
              <a:gd name="connsiteX592" fmla="*/ 3550347 w 4516600"/>
              <a:gd name="connsiteY592" fmla="*/ 714865 h 6857999"/>
              <a:gd name="connsiteX593" fmla="*/ 3540711 w 4516600"/>
              <a:gd name="connsiteY593" fmla="*/ 742269 h 6857999"/>
              <a:gd name="connsiteX594" fmla="*/ 3512945 w 4516600"/>
              <a:gd name="connsiteY594" fmla="*/ 751921 h 6857999"/>
              <a:gd name="connsiteX595" fmla="*/ 3490038 w 4516600"/>
              <a:gd name="connsiteY595" fmla="*/ 751921 h 6857999"/>
              <a:gd name="connsiteX596" fmla="*/ 3456637 w 4516600"/>
              <a:gd name="connsiteY596" fmla="*/ 716869 h 6857999"/>
              <a:gd name="connsiteX597" fmla="*/ 3456637 w 4516600"/>
              <a:gd name="connsiteY597" fmla="*/ 633061 h 6857999"/>
              <a:gd name="connsiteX598" fmla="*/ 3490038 w 4516600"/>
              <a:gd name="connsiteY598" fmla="*/ 598009 h 6857999"/>
              <a:gd name="connsiteX599" fmla="*/ 3943409 w 4516600"/>
              <a:gd name="connsiteY599" fmla="*/ 572402 h 6857999"/>
              <a:gd name="connsiteX600" fmla="*/ 3933774 w 4516600"/>
              <a:gd name="connsiteY600" fmla="*/ 577629 h 6857999"/>
              <a:gd name="connsiteX601" fmla="*/ 3876655 w 4516600"/>
              <a:gd name="connsiteY601" fmla="*/ 667716 h 6857999"/>
              <a:gd name="connsiteX602" fmla="*/ 3876655 w 4516600"/>
              <a:gd name="connsiteY602" fmla="*/ 676170 h 6857999"/>
              <a:gd name="connsiteX603" fmla="*/ 3938592 w 4516600"/>
              <a:gd name="connsiteY603" fmla="*/ 771893 h 6857999"/>
              <a:gd name="connsiteX604" fmla="*/ 3949860 w 4516600"/>
              <a:gd name="connsiteY604" fmla="*/ 777528 h 6857999"/>
              <a:gd name="connsiteX605" fmla="*/ 3968723 w 4516600"/>
              <a:gd name="connsiteY605" fmla="*/ 777528 h 6857999"/>
              <a:gd name="connsiteX606" fmla="*/ 3973173 w 4516600"/>
              <a:gd name="connsiteY606" fmla="*/ 775731 h 6857999"/>
              <a:gd name="connsiteX607" fmla="*/ 3972765 w 4516600"/>
              <a:gd name="connsiteY607" fmla="*/ 771117 h 6857999"/>
              <a:gd name="connsiteX608" fmla="*/ 3907603 w 4516600"/>
              <a:gd name="connsiteY608" fmla="*/ 672168 h 6857999"/>
              <a:gd name="connsiteX609" fmla="*/ 3907603 w 4516600"/>
              <a:gd name="connsiteY609" fmla="*/ 670534 h 6857999"/>
              <a:gd name="connsiteX610" fmla="*/ 3966722 w 4516600"/>
              <a:gd name="connsiteY610" fmla="*/ 578854 h 6857999"/>
              <a:gd name="connsiteX611" fmla="*/ 3967743 w 4516600"/>
              <a:gd name="connsiteY611" fmla="*/ 574199 h 6857999"/>
              <a:gd name="connsiteX612" fmla="*/ 3963497 w 4516600"/>
              <a:gd name="connsiteY612" fmla="*/ 572402 h 6857999"/>
              <a:gd name="connsiteX613" fmla="*/ 3943409 w 4516600"/>
              <a:gd name="connsiteY613" fmla="*/ 572402 h 6857999"/>
              <a:gd name="connsiteX614" fmla="*/ 3765070 w 4516600"/>
              <a:gd name="connsiteY614" fmla="*/ 572402 h 6857999"/>
              <a:gd name="connsiteX615" fmla="*/ 3759832 w 4516600"/>
              <a:gd name="connsiteY615" fmla="*/ 578037 h 6857999"/>
              <a:gd name="connsiteX616" fmla="*/ 3759832 w 4516600"/>
              <a:gd name="connsiteY616" fmla="*/ 771934 h 6857999"/>
              <a:gd name="connsiteX617" fmla="*/ 3765479 w 4516600"/>
              <a:gd name="connsiteY617" fmla="*/ 777528 h 6857999"/>
              <a:gd name="connsiteX618" fmla="*/ 3783647 w 4516600"/>
              <a:gd name="connsiteY618" fmla="*/ 777528 h 6857999"/>
              <a:gd name="connsiteX619" fmla="*/ 3789253 w 4516600"/>
              <a:gd name="connsiteY619" fmla="*/ 771934 h 6857999"/>
              <a:gd name="connsiteX620" fmla="*/ 3789253 w 4516600"/>
              <a:gd name="connsiteY620" fmla="*/ 578037 h 6857999"/>
              <a:gd name="connsiteX621" fmla="*/ 3783647 w 4516600"/>
              <a:gd name="connsiteY621" fmla="*/ 572402 h 6857999"/>
              <a:gd name="connsiteX622" fmla="*/ 3765070 w 4516600"/>
              <a:gd name="connsiteY622" fmla="*/ 572402 h 6857999"/>
              <a:gd name="connsiteX623" fmla="*/ 3486799 w 4516600"/>
              <a:gd name="connsiteY623" fmla="*/ 572402 h 6857999"/>
              <a:gd name="connsiteX624" fmla="*/ 3443154 w 4516600"/>
              <a:gd name="connsiteY624" fmla="*/ 588084 h 6857999"/>
              <a:gd name="connsiteX625" fmla="*/ 3427217 w 4516600"/>
              <a:gd name="connsiteY625" fmla="*/ 631943 h 6857999"/>
              <a:gd name="connsiteX626" fmla="*/ 3427217 w 4516600"/>
              <a:gd name="connsiteY626" fmla="*/ 718028 h 6857999"/>
              <a:gd name="connsiteX627" fmla="*/ 3443154 w 4516600"/>
              <a:gd name="connsiteY627" fmla="*/ 761847 h 6857999"/>
              <a:gd name="connsiteX628" fmla="*/ 3486799 w 4516600"/>
              <a:gd name="connsiteY628" fmla="*/ 777528 h 6857999"/>
              <a:gd name="connsiteX629" fmla="*/ 3507722 w 4516600"/>
              <a:gd name="connsiteY629" fmla="*/ 777528 h 6857999"/>
              <a:gd name="connsiteX630" fmla="*/ 3548792 w 4516600"/>
              <a:gd name="connsiteY630" fmla="*/ 756211 h 6857999"/>
              <a:gd name="connsiteX631" fmla="*/ 3550385 w 4516600"/>
              <a:gd name="connsiteY631" fmla="*/ 756211 h 6857999"/>
              <a:gd name="connsiteX632" fmla="*/ 3550385 w 4516600"/>
              <a:gd name="connsiteY632" fmla="*/ 771934 h 6857999"/>
              <a:gd name="connsiteX633" fmla="*/ 3556025 w 4516600"/>
              <a:gd name="connsiteY633" fmla="*/ 777528 h 6857999"/>
              <a:gd name="connsiteX634" fmla="*/ 3574169 w 4516600"/>
              <a:gd name="connsiteY634" fmla="*/ 777528 h 6857999"/>
              <a:gd name="connsiteX635" fmla="*/ 3579768 w 4516600"/>
              <a:gd name="connsiteY635" fmla="*/ 771934 h 6857999"/>
              <a:gd name="connsiteX636" fmla="*/ 3579768 w 4516600"/>
              <a:gd name="connsiteY636" fmla="*/ 578037 h 6857999"/>
              <a:gd name="connsiteX637" fmla="*/ 3574169 w 4516600"/>
              <a:gd name="connsiteY637" fmla="*/ 572402 h 6857999"/>
              <a:gd name="connsiteX638" fmla="*/ 3486799 w 4516600"/>
              <a:gd name="connsiteY638" fmla="*/ 572402 h 6857999"/>
              <a:gd name="connsiteX639" fmla="*/ 3141366 w 4516600"/>
              <a:gd name="connsiteY639" fmla="*/ 572402 h 6857999"/>
              <a:gd name="connsiteX640" fmla="*/ 3135735 w 4516600"/>
              <a:gd name="connsiteY640" fmla="*/ 578037 h 6857999"/>
              <a:gd name="connsiteX641" fmla="*/ 3135735 w 4516600"/>
              <a:gd name="connsiteY641" fmla="*/ 771893 h 6857999"/>
              <a:gd name="connsiteX642" fmla="*/ 3141366 w 4516600"/>
              <a:gd name="connsiteY642" fmla="*/ 777528 h 6857999"/>
              <a:gd name="connsiteX643" fmla="*/ 3159440 w 4516600"/>
              <a:gd name="connsiteY643" fmla="*/ 777528 h 6857999"/>
              <a:gd name="connsiteX644" fmla="*/ 3165070 w 4516600"/>
              <a:gd name="connsiteY644" fmla="*/ 771893 h 6857999"/>
              <a:gd name="connsiteX645" fmla="*/ 3165070 w 4516600"/>
              <a:gd name="connsiteY645" fmla="*/ 635169 h 6857999"/>
              <a:gd name="connsiteX646" fmla="*/ 3174699 w 4516600"/>
              <a:gd name="connsiteY646" fmla="*/ 607808 h 6857999"/>
              <a:gd name="connsiteX647" fmla="*/ 3202443 w 4516600"/>
              <a:gd name="connsiteY647" fmla="*/ 598170 h 6857999"/>
              <a:gd name="connsiteX648" fmla="*/ 3217294 w 4516600"/>
              <a:gd name="connsiteY648" fmla="*/ 598170 h 6857999"/>
              <a:gd name="connsiteX649" fmla="*/ 3251076 w 4516600"/>
              <a:gd name="connsiteY649" fmla="*/ 633127 h 6857999"/>
              <a:gd name="connsiteX650" fmla="*/ 3251076 w 4516600"/>
              <a:gd name="connsiteY650" fmla="*/ 771893 h 6857999"/>
              <a:gd name="connsiteX651" fmla="*/ 3256706 w 4516600"/>
              <a:gd name="connsiteY651" fmla="*/ 777528 h 6857999"/>
              <a:gd name="connsiteX652" fmla="*/ 3274780 w 4516600"/>
              <a:gd name="connsiteY652" fmla="*/ 777528 h 6857999"/>
              <a:gd name="connsiteX653" fmla="*/ 3280411 w 4516600"/>
              <a:gd name="connsiteY653" fmla="*/ 771893 h 6857999"/>
              <a:gd name="connsiteX654" fmla="*/ 3280411 w 4516600"/>
              <a:gd name="connsiteY654" fmla="*/ 636353 h 6857999"/>
              <a:gd name="connsiteX655" fmla="*/ 3290243 w 4516600"/>
              <a:gd name="connsiteY655" fmla="*/ 608420 h 6857999"/>
              <a:gd name="connsiteX656" fmla="*/ 3318191 w 4516600"/>
              <a:gd name="connsiteY656" fmla="*/ 598170 h 6857999"/>
              <a:gd name="connsiteX657" fmla="*/ 3331451 w 4516600"/>
              <a:gd name="connsiteY657" fmla="*/ 598170 h 6857999"/>
              <a:gd name="connsiteX658" fmla="*/ 3365192 w 4516600"/>
              <a:gd name="connsiteY658" fmla="*/ 633127 h 6857999"/>
              <a:gd name="connsiteX659" fmla="*/ 3365192 w 4516600"/>
              <a:gd name="connsiteY659" fmla="*/ 771893 h 6857999"/>
              <a:gd name="connsiteX660" fmla="*/ 3370823 w 4516600"/>
              <a:gd name="connsiteY660" fmla="*/ 777528 h 6857999"/>
              <a:gd name="connsiteX661" fmla="*/ 3388897 w 4516600"/>
              <a:gd name="connsiteY661" fmla="*/ 777528 h 6857999"/>
              <a:gd name="connsiteX662" fmla="*/ 3394527 w 4516600"/>
              <a:gd name="connsiteY662" fmla="*/ 771893 h 6857999"/>
              <a:gd name="connsiteX663" fmla="*/ 3394527 w 4516600"/>
              <a:gd name="connsiteY663" fmla="*/ 631943 h 6857999"/>
              <a:gd name="connsiteX664" fmla="*/ 3379268 w 4516600"/>
              <a:gd name="connsiteY664" fmla="*/ 588084 h 6857999"/>
              <a:gd name="connsiteX665" fmla="*/ 3336673 w 4516600"/>
              <a:gd name="connsiteY665" fmla="*/ 572402 h 6857999"/>
              <a:gd name="connsiteX666" fmla="*/ 3322597 w 4516600"/>
              <a:gd name="connsiteY666" fmla="*/ 572402 h 6857999"/>
              <a:gd name="connsiteX667" fmla="*/ 3293466 w 4516600"/>
              <a:gd name="connsiteY667" fmla="*/ 579426 h 6857999"/>
              <a:gd name="connsiteX668" fmla="*/ 3273189 w 4516600"/>
              <a:gd name="connsiteY668" fmla="*/ 599763 h 6857999"/>
              <a:gd name="connsiteX669" fmla="*/ 3224148 w 4516600"/>
              <a:gd name="connsiteY669" fmla="*/ 572402 h 6857999"/>
              <a:gd name="connsiteX670" fmla="*/ 3209256 w 4516600"/>
              <a:gd name="connsiteY670" fmla="*/ 572402 h 6857999"/>
              <a:gd name="connsiteX671" fmla="*/ 3166662 w 4516600"/>
              <a:gd name="connsiteY671" fmla="*/ 593719 h 6857999"/>
              <a:gd name="connsiteX672" fmla="*/ 3165070 w 4516600"/>
              <a:gd name="connsiteY672" fmla="*/ 593719 h 6857999"/>
              <a:gd name="connsiteX673" fmla="*/ 3165070 w 4516600"/>
              <a:gd name="connsiteY673" fmla="*/ 578037 h 6857999"/>
              <a:gd name="connsiteX674" fmla="*/ 3159440 w 4516600"/>
              <a:gd name="connsiteY674" fmla="*/ 572402 h 6857999"/>
              <a:gd name="connsiteX675" fmla="*/ 3141366 w 4516600"/>
              <a:gd name="connsiteY675" fmla="*/ 572402 h 6857999"/>
              <a:gd name="connsiteX676" fmla="*/ 3020362 w 4516600"/>
              <a:gd name="connsiteY676" fmla="*/ 572402 h 6857999"/>
              <a:gd name="connsiteX677" fmla="*/ 3014784 w 4516600"/>
              <a:gd name="connsiteY677" fmla="*/ 578037 h 6857999"/>
              <a:gd name="connsiteX678" fmla="*/ 3014784 w 4516600"/>
              <a:gd name="connsiteY678" fmla="*/ 771893 h 6857999"/>
              <a:gd name="connsiteX679" fmla="*/ 3020362 w 4516600"/>
              <a:gd name="connsiteY679" fmla="*/ 777528 h 6857999"/>
              <a:gd name="connsiteX680" fmla="*/ 3038439 w 4516600"/>
              <a:gd name="connsiteY680" fmla="*/ 777528 h 6857999"/>
              <a:gd name="connsiteX681" fmla="*/ 3044017 w 4516600"/>
              <a:gd name="connsiteY681" fmla="*/ 771893 h 6857999"/>
              <a:gd name="connsiteX682" fmla="*/ 3044017 w 4516600"/>
              <a:gd name="connsiteY682" fmla="*/ 638763 h 6857999"/>
              <a:gd name="connsiteX683" fmla="*/ 3053666 w 4516600"/>
              <a:gd name="connsiteY683" fmla="*/ 609033 h 6857999"/>
              <a:gd name="connsiteX684" fmla="*/ 3081351 w 4516600"/>
              <a:gd name="connsiteY684" fmla="*/ 598170 h 6857999"/>
              <a:gd name="connsiteX685" fmla="*/ 3103010 w 4516600"/>
              <a:gd name="connsiteY685" fmla="*/ 598170 h 6857999"/>
              <a:gd name="connsiteX686" fmla="*/ 3107000 w 4516600"/>
              <a:gd name="connsiteY686" fmla="*/ 597149 h 6857999"/>
              <a:gd name="connsiteX687" fmla="*/ 3108222 w 4516600"/>
              <a:gd name="connsiteY687" fmla="*/ 592902 h 6857999"/>
              <a:gd name="connsiteX688" fmla="*/ 3108222 w 4516600"/>
              <a:gd name="connsiteY688" fmla="*/ 578037 h 6857999"/>
              <a:gd name="connsiteX689" fmla="*/ 3103010 w 4516600"/>
              <a:gd name="connsiteY689" fmla="*/ 572402 h 6857999"/>
              <a:gd name="connsiteX690" fmla="*/ 3087336 w 4516600"/>
              <a:gd name="connsiteY690" fmla="*/ 572402 h 6857999"/>
              <a:gd name="connsiteX691" fmla="*/ 3060872 w 4516600"/>
              <a:gd name="connsiteY691" fmla="*/ 578854 h 6857999"/>
              <a:gd name="connsiteX692" fmla="*/ 3045645 w 4516600"/>
              <a:gd name="connsiteY692" fmla="*/ 594127 h 6857999"/>
              <a:gd name="connsiteX693" fmla="*/ 3044017 w 4516600"/>
              <a:gd name="connsiteY693" fmla="*/ 594127 h 6857999"/>
              <a:gd name="connsiteX694" fmla="*/ 3044017 w 4516600"/>
              <a:gd name="connsiteY694" fmla="*/ 578037 h 6857999"/>
              <a:gd name="connsiteX695" fmla="*/ 3038439 w 4516600"/>
              <a:gd name="connsiteY695" fmla="*/ 572402 h 6857999"/>
              <a:gd name="connsiteX696" fmla="*/ 3020362 w 4516600"/>
              <a:gd name="connsiteY696" fmla="*/ 572402 h 6857999"/>
              <a:gd name="connsiteX697" fmla="*/ 2888670 w 4516600"/>
              <a:gd name="connsiteY697" fmla="*/ 572402 h 6857999"/>
              <a:gd name="connsiteX698" fmla="*/ 2845130 w 4516600"/>
              <a:gd name="connsiteY698" fmla="*/ 588084 h 6857999"/>
              <a:gd name="connsiteX699" fmla="*/ 2829271 w 4516600"/>
              <a:gd name="connsiteY699" fmla="*/ 631943 h 6857999"/>
              <a:gd name="connsiteX700" fmla="*/ 2829271 w 4516600"/>
              <a:gd name="connsiteY700" fmla="*/ 718028 h 6857999"/>
              <a:gd name="connsiteX701" fmla="*/ 2845130 w 4516600"/>
              <a:gd name="connsiteY701" fmla="*/ 761847 h 6857999"/>
              <a:gd name="connsiteX702" fmla="*/ 2888670 w 4516600"/>
              <a:gd name="connsiteY702" fmla="*/ 777528 h 6857999"/>
              <a:gd name="connsiteX703" fmla="*/ 2923200 w 4516600"/>
              <a:gd name="connsiteY703" fmla="*/ 777528 h 6857999"/>
              <a:gd name="connsiteX704" fmla="*/ 2966781 w 4516600"/>
              <a:gd name="connsiteY704" fmla="*/ 761847 h 6857999"/>
              <a:gd name="connsiteX705" fmla="*/ 2982640 w 4516600"/>
              <a:gd name="connsiteY705" fmla="*/ 718028 h 6857999"/>
              <a:gd name="connsiteX706" fmla="*/ 2982640 w 4516600"/>
              <a:gd name="connsiteY706" fmla="*/ 631943 h 6857999"/>
              <a:gd name="connsiteX707" fmla="*/ 2966781 w 4516600"/>
              <a:gd name="connsiteY707" fmla="*/ 588084 h 6857999"/>
              <a:gd name="connsiteX708" fmla="*/ 2923200 w 4516600"/>
              <a:gd name="connsiteY708" fmla="*/ 572402 h 6857999"/>
              <a:gd name="connsiteX709" fmla="*/ 2888670 w 4516600"/>
              <a:gd name="connsiteY709" fmla="*/ 572402 h 6857999"/>
              <a:gd name="connsiteX710" fmla="*/ 2536064 w 4516600"/>
              <a:gd name="connsiteY710" fmla="*/ 572402 h 6857999"/>
              <a:gd name="connsiteX711" fmla="*/ 2530435 w 4516600"/>
              <a:gd name="connsiteY711" fmla="*/ 578037 h 6857999"/>
              <a:gd name="connsiteX712" fmla="*/ 2530435 w 4516600"/>
              <a:gd name="connsiteY712" fmla="*/ 771893 h 6857999"/>
              <a:gd name="connsiteX713" fmla="*/ 2536064 w 4516600"/>
              <a:gd name="connsiteY713" fmla="*/ 777528 h 6857999"/>
              <a:gd name="connsiteX714" fmla="*/ 2554135 w 4516600"/>
              <a:gd name="connsiteY714" fmla="*/ 777528 h 6857999"/>
              <a:gd name="connsiteX715" fmla="*/ 2559765 w 4516600"/>
              <a:gd name="connsiteY715" fmla="*/ 771893 h 6857999"/>
              <a:gd name="connsiteX716" fmla="*/ 2559765 w 4516600"/>
              <a:gd name="connsiteY716" fmla="*/ 635169 h 6857999"/>
              <a:gd name="connsiteX717" fmla="*/ 2569392 w 4516600"/>
              <a:gd name="connsiteY717" fmla="*/ 607808 h 6857999"/>
              <a:gd name="connsiteX718" fmla="*/ 2597131 w 4516600"/>
              <a:gd name="connsiteY718" fmla="*/ 598170 h 6857999"/>
              <a:gd name="connsiteX719" fmla="*/ 2619648 w 4516600"/>
              <a:gd name="connsiteY719" fmla="*/ 598170 h 6857999"/>
              <a:gd name="connsiteX720" fmla="*/ 2653384 w 4516600"/>
              <a:gd name="connsiteY720" fmla="*/ 633127 h 6857999"/>
              <a:gd name="connsiteX721" fmla="*/ 2653384 w 4516600"/>
              <a:gd name="connsiteY721" fmla="*/ 771893 h 6857999"/>
              <a:gd name="connsiteX722" fmla="*/ 2659013 w 4516600"/>
              <a:gd name="connsiteY722" fmla="*/ 777528 h 6857999"/>
              <a:gd name="connsiteX723" fmla="*/ 2677084 w 4516600"/>
              <a:gd name="connsiteY723" fmla="*/ 777528 h 6857999"/>
              <a:gd name="connsiteX724" fmla="*/ 2682713 w 4516600"/>
              <a:gd name="connsiteY724" fmla="*/ 771893 h 6857999"/>
              <a:gd name="connsiteX725" fmla="*/ 2682713 w 4516600"/>
              <a:gd name="connsiteY725" fmla="*/ 631943 h 6857999"/>
              <a:gd name="connsiteX726" fmla="*/ 2667457 w 4516600"/>
              <a:gd name="connsiteY726" fmla="*/ 588084 h 6857999"/>
              <a:gd name="connsiteX727" fmla="*/ 2624870 w 4516600"/>
              <a:gd name="connsiteY727" fmla="*/ 572402 h 6857999"/>
              <a:gd name="connsiteX728" fmla="*/ 2602352 w 4516600"/>
              <a:gd name="connsiteY728" fmla="*/ 572402 h 6857999"/>
              <a:gd name="connsiteX729" fmla="*/ 2561356 w 4516600"/>
              <a:gd name="connsiteY729" fmla="*/ 593719 h 6857999"/>
              <a:gd name="connsiteX730" fmla="*/ 2559765 w 4516600"/>
              <a:gd name="connsiteY730" fmla="*/ 593719 h 6857999"/>
              <a:gd name="connsiteX731" fmla="*/ 2559765 w 4516600"/>
              <a:gd name="connsiteY731" fmla="*/ 578037 h 6857999"/>
              <a:gd name="connsiteX732" fmla="*/ 2554135 w 4516600"/>
              <a:gd name="connsiteY732" fmla="*/ 572402 h 6857999"/>
              <a:gd name="connsiteX733" fmla="*/ 2536064 w 4516600"/>
              <a:gd name="connsiteY733" fmla="*/ 572402 h 6857999"/>
              <a:gd name="connsiteX734" fmla="*/ 2468387 w 4516600"/>
              <a:gd name="connsiteY734" fmla="*/ 572402 h 6857999"/>
              <a:gd name="connsiteX735" fmla="*/ 2463149 w 4516600"/>
              <a:gd name="connsiteY735" fmla="*/ 578037 h 6857999"/>
              <a:gd name="connsiteX736" fmla="*/ 2463149 w 4516600"/>
              <a:gd name="connsiteY736" fmla="*/ 771934 h 6857999"/>
              <a:gd name="connsiteX737" fmla="*/ 2468796 w 4516600"/>
              <a:gd name="connsiteY737" fmla="*/ 777528 h 6857999"/>
              <a:gd name="connsiteX738" fmla="*/ 2486923 w 4516600"/>
              <a:gd name="connsiteY738" fmla="*/ 777528 h 6857999"/>
              <a:gd name="connsiteX739" fmla="*/ 2492570 w 4516600"/>
              <a:gd name="connsiteY739" fmla="*/ 771934 h 6857999"/>
              <a:gd name="connsiteX740" fmla="*/ 2492570 w 4516600"/>
              <a:gd name="connsiteY740" fmla="*/ 578037 h 6857999"/>
              <a:gd name="connsiteX741" fmla="*/ 2486923 w 4516600"/>
              <a:gd name="connsiteY741" fmla="*/ 572402 h 6857999"/>
              <a:gd name="connsiteX742" fmla="*/ 2468387 w 4516600"/>
              <a:gd name="connsiteY742" fmla="*/ 572402 h 6857999"/>
              <a:gd name="connsiteX743" fmla="*/ 2191833 w 4516600"/>
              <a:gd name="connsiteY743" fmla="*/ 571312 h 6857999"/>
              <a:gd name="connsiteX744" fmla="*/ 2185791 w 4516600"/>
              <a:gd name="connsiteY744" fmla="*/ 579766 h 6857999"/>
              <a:gd name="connsiteX745" fmla="*/ 2236209 w 4516600"/>
              <a:gd name="connsiteY745" fmla="*/ 768121 h 6857999"/>
              <a:gd name="connsiteX746" fmla="*/ 2247068 w 4516600"/>
              <a:gd name="connsiteY746" fmla="*/ 776984 h 6857999"/>
              <a:gd name="connsiteX747" fmla="*/ 2298262 w 4516600"/>
              <a:gd name="connsiteY747" fmla="*/ 776984 h 6857999"/>
              <a:gd name="connsiteX748" fmla="*/ 2309162 w 4516600"/>
              <a:gd name="connsiteY748" fmla="*/ 768121 h 6857999"/>
              <a:gd name="connsiteX749" fmla="*/ 2359947 w 4516600"/>
              <a:gd name="connsiteY749" fmla="*/ 579766 h 6857999"/>
              <a:gd name="connsiteX750" fmla="*/ 2353905 w 4516600"/>
              <a:gd name="connsiteY750" fmla="*/ 571312 h 6857999"/>
              <a:gd name="connsiteX751" fmla="*/ 2318429 w 4516600"/>
              <a:gd name="connsiteY751" fmla="*/ 571312 h 6857999"/>
              <a:gd name="connsiteX752" fmla="*/ 2308345 w 4516600"/>
              <a:gd name="connsiteY752" fmla="*/ 579766 h 6857999"/>
              <a:gd name="connsiteX753" fmla="*/ 2274502 w 4516600"/>
              <a:gd name="connsiteY753" fmla="*/ 731406 h 6857999"/>
              <a:gd name="connsiteX754" fmla="*/ 2271644 w 4516600"/>
              <a:gd name="connsiteY754" fmla="*/ 731406 h 6857999"/>
              <a:gd name="connsiteX755" fmla="*/ 2236985 w 4516600"/>
              <a:gd name="connsiteY755" fmla="*/ 579766 h 6857999"/>
              <a:gd name="connsiteX756" fmla="*/ 2227309 w 4516600"/>
              <a:gd name="connsiteY756" fmla="*/ 571312 h 6857999"/>
              <a:gd name="connsiteX757" fmla="*/ 2191833 w 4516600"/>
              <a:gd name="connsiteY757" fmla="*/ 571312 h 6857999"/>
              <a:gd name="connsiteX758" fmla="*/ 2128028 w 4516600"/>
              <a:gd name="connsiteY758" fmla="*/ 571312 h 6857999"/>
              <a:gd name="connsiteX759" fmla="*/ 2114350 w 4516600"/>
              <a:gd name="connsiteY759" fmla="*/ 579358 h 6857999"/>
              <a:gd name="connsiteX760" fmla="*/ 2065970 w 4516600"/>
              <a:gd name="connsiteY760" fmla="*/ 665286 h 6857999"/>
              <a:gd name="connsiteX761" fmla="*/ 2065970 w 4516600"/>
              <a:gd name="connsiteY761" fmla="*/ 678600 h 6857999"/>
              <a:gd name="connsiteX762" fmla="*/ 2117168 w 4516600"/>
              <a:gd name="connsiteY762" fmla="*/ 768489 h 6857999"/>
              <a:gd name="connsiteX763" fmla="*/ 2123414 w 4516600"/>
              <a:gd name="connsiteY763" fmla="*/ 775350 h 6857999"/>
              <a:gd name="connsiteX764" fmla="*/ 2133294 w 4516600"/>
              <a:gd name="connsiteY764" fmla="*/ 776984 h 6857999"/>
              <a:gd name="connsiteX765" fmla="*/ 2167957 w 4516600"/>
              <a:gd name="connsiteY765" fmla="*/ 776984 h 6857999"/>
              <a:gd name="connsiteX766" fmla="*/ 2175224 w 4516600"/>
              <a:gd name="connsiteY766" fmla="*/ 773962 h 6857999"/>
              <a:gd name="connsiteX767" fmla="*/ 2174816 w 4516600"/>
              <a:gd name="connsiteY767" fmla="*/ 766896 h 6857999"/>
              <a:gd name="connsiteX768" fmla="*/ 2118760 w 4516600"/>
              <a:gd name="connsiteY768" fmla="*/ 671330 h 6857999"/>
              <a:gd name="connsiteX769" fmla="*/ 2118760 w 4516600"/>
              <a:gd name="connsiteY769" fmla="*/ 669697 h 6857999"/>
              <a:gd name="connsiteX770" fmla="*/ 2172407 w 4516600"/>
              <a:gd name="connsiteY770" fmla="*/ 581400 h 6857999"/>
              <a:gd name="connsiteX771" fmla="*/ 2173591 w 4516600"/>
              <a:gd name="connsiteY771" fmla="*/ 574130 h 6857999"/>
              <a:gd name="connsiteX772" fmla="*/ 2167140 w 4516600"/>
              <a:gd name="connsiteY772" fmla="*/ 571312 h 6857999"/>
              <a:gd name="connsiteX773" fmla="*/ 2128028 w 4516600"/>
              <a:gd name="connsiteY773" fmla="*/ 571312 h 6857999"/>
              <a:gd name="connsiteX774" fmla="*/ 1948272 w 4516600"/>
              <a:gd name="connsiteY774" fmla="*/ 571312 h 6857999"/>
              <a:gd name="connsiteX775" fmla="*/ 1899117 w 4516600"/>
              <a:gd name="connsiteY775" fmla="*/ 588266 h 6857999"/>
              <a:gd name="connsiteX776" fmla="*/ 1881821 w 4516600"/>
              <a:gd name="connsiteY776" fmla="*/ 637043 h 6857999"/>
              <a:gd name="connsiteX777" fmla="*/ 1881821 w 4516600"/>
              <a:gd name="connsiteY777" fmla="*/ 701997 h 6857999"/>
              <a:gd name="connsiteX778" fmla="*/ 1897689 w 4516600"/>
              <a:gd name="connsiteY778" fmla="*/ 750815 h 6857999"/>
              <a:gd name="connsiteX779" fmla="*/ 1944641 w 4516600"/>
              <a:gd name="connsiteY779" fmla="*/ 767768 h 6857999"/>
              <a:gd name="connsiteX780" fmla="*/ 1957940 w 4516600"/>
              <a:gd name="connsiteY780" fmla="*/ 767931 h 6857999"/>
              <a:gd name="connsiteX781" fmla="*/ 1981681 w 4516600"/>
              <a:gd name="connsiteY781" fmla="*/ 767931 h 6857999"/>
              <a:gd name="connsiteX782" fmla="*/ 1997386 w 4516600"/>
              <a:gd name="connsiteY782" fmla="*/ 767891 h 6857999"/>
              <a:gd name="connsiteX783" fmla="*/ 1999018 w 4516600"/>
              <a:gd name="connsiteY783" fmla="*/ 767891 h 6857999"/>
              <a:gd name="connsiteX784" fmla="*/ 1999018 w 4516600"/>
              <a:gd name="connsiteY784" fmla="*/ 776224 h 6857999"/>
              <a:gd name="connsiteX785" fmla="*/ 1993593 w 4516600"/>
              <a:gd name="connsiteY785" fmla="*/ 794199 h 6857999"/>
              <a:gd name="connsiteX786" fmla="*/ 1975236 w 4516600"/>
              <a:gd name="connsiteY786" fmla="*/ 799632 h 6857999"/>
              <a:gd name="connsiteX787" fmla="*/ 1906378 w 4516600"/>
              <a:gd name="connsiteY787" fmla="*/ 799632 h 6857999"/>
              <a:gd name="connsiteX788" fmla="*/ 1897893 w 4516600"/>
              <a:gd name="connsiteY788" fmla="*/ 808089 h 6857999"/>
              <a:gd name="connsiteX789" fmla="*/ 1897893 w 4516600"/>
              <a:gd name="connsiteY789" fmla="*/ 835909 h 6857999"/>
              <a:gd name="connsiteX790" fmla="*/ 1899729 w 4516600"/>
              <a:gd name="connsiteY790" fmla="*/ 842159 h 6857999"/>
              <a:gd name="connsiteX791" fmla="*/ 1906378 w 4516600"/>
              <a:gd name="connsiteY791" fmla="*/ 843997 h 6857999"/>
              <a:gd name="connsiteX792" fmla="*/ 1983721 w 4516600"/>
              <a:gd name="connsiteY792" fmla="*/ 843997 h 6857999"/>
              <a:gd name="connsiteX793" fmla="*/ 2032631 w 4516600"/>
              <a:gd name="connsiteY793" fmla="*/ 827044 h 6857999"/>
              <a:gd name="connsiteX794" fmla="*/ 2050172 w 4516600"/>
              <a:gd name="connsiteY794" fmla="*/ 778635 h 6857999"/>
              <a:gd name="connsiteX795" fmla="*/ 2050172 w 4516600"/>
              <a:gd name="connsiteY795" fmla="*/ 579769 h 6857999"/>
              <a:gd name="connsiteX796" fmla="*/ 2041279 w 4516600"/>
              <a:gd name="connsiteY796" fmla="*/ 571312 h 6857999"/>
              <a:gd name="connsiteX797" fmla="*/ 1948272 w 4516600"/>
              <a:gd name="connsiteY797" fmla="*/ 571312 h 6857999"/>
              <a:gd name="connsiteX798" fmla="*/ 3646341 w 4516600"/>
              <a:gd name="connsiteY798" fmla="*/ 528543 h 6857999"/>
              <a:gd name="connsiteX799" fmla="*/ 3640744 w 4516600"/>
              <a:gd name="connsiteY799" fmla="*/ 534179 h 6857999"/>
              <a:gd name="connsiteX800" fmla="*/ 3640744 w 4516600"/>
              <a:gd name="connsiteY800" fmla="*/ 568768 h 6857999"/>
              <a:gd name="connsiteX801" fmla="*/ 3636699 w 4516600"/>
              <a:gd name="connsiteY801" fmla="*/ 572403 h 6857999"/>
              <a:gd name="connsiteX802" fmla="*/ 3614554 w 4516600"/>
              <a:gd name="connsiteY802" fmla="*/ 572403 h 6857999"/>
              <a:gd name="connsiteX803" fmla="*/ 3608916 w 4516600"/>
              <a:gd name="connsiteY803" fmla="*/ 578038 h 6857999"/>
              <a:gd name="connsiteX804" fmla="*/ 3608916 w 4516600"/>
              <a:gd name="connsiteY804" fmla="*/ 592903 h 6857999"/>
              <a:gd name="connsiteX805" fmla="*/ 3614554 w 4516600"/>
              <a:gd name="connsiteY805" fmla="*/ 598130 h 6857999"/>
              <a:gd name="connsiteX806" fmla="*/ 3636699 w 4516600"/>
              <a:gd name="connsiteY806" fmla="*/ 598130 h 6857999"/>
              <a:gd name="connsiteX807" fmla="*/ 3640744 w 4516600"/>
              <a:gd name="connsiteY807" fmla="*/ 601765 h 6857999"/>
              <a:gd name="connsiteX808" fmla="*/ 3640744 w 4516600"/>
              <a:gd name="connsiteY808" fmla="*/ 718804 h 6857999"/>
              <a:gd name="connsiteX809" fmla="*/ 3657250 w 4516600"/>
              <a:gd name="connsiteY809" fmla="*/ 762051 h 6857999"/>
              <a:gd name="connsiteX810" fmla="*/ 3701498 w 4516600"/>
              <a:gd name="connsiteY810" fmla="*/ 777528 h 6857999"/>
              <a:gd name="connsiteX811" fmla="*/ 3720824 w 4516600"/>
              <a:gd name="connsiteY811" fmla="*/ 777528 h 6857999"/>
              <a:gd name="connsiteX812" fmla="*/ 3726870 w 4516600"/>
              <a:gd name="connsiteY812" fmla="*/ 772301 h 6857999"/>
              <a:gd name="connsiteX813" fmla="*/ 3726870 w 4516600"/>
              <a:gd name="connsiteY813" fmla="*/ 757436 h 6857999"/>
              <a:gd name="connsiteX814" fmla="*/ 3720824 w 4516600"/>
              <a:gd name="connsiteY814" fmla="*/ 751801 h 6857999"/>
              <a:gd name="connsiteX815" fmla="*/ 3705134 w 4516600"/>
              <a:gd name="connsiteY815" fmla="*/ 751801 h 6857999"/>
              <a:gd name="connsiteX816" fmla="*/ 3669711 w 4516600"/>
              <a:gd name="connsiteY816" fmla="*/ 717620 h 6857999"/>
              <a:gd name="connsiteX817" fmla="*/ 3669711 w 4516600"/>
              <a:gd name="connsiteY817" fmla="*/ 601765 h 6857999"/>
              <a:gd name="connsiteX818" fmla="*/ 3674124 w 4516600"/>
              <a:gd name="connsiteY818" fmla="*/ 598130 h 6857999"/>
              <a:gd name="connsiteX819" fmla="*/ 3716779 w 4516600"/>
              <a:gd name="connsiteY819" fmla="*/ 598130 h 6857999"/>
              <a:gd name="connsiteX820" fmla="*/ 3722826 w 4516600"/>
              <a:gd name="connsiteY820" fmla="*/ 592903 h 6857999"/>
              <a:gd name="connsiteX821" fmla="*/ 3722826 w 4516600"/>
              <a:gd name="connsiteY821" fmla="*/ 578038 h 6857999"/>
              <a:gd name="connsiteX822" fmla="*/ 3716779 w 4516600"/>
              <a:gd name="connsiteY822" fmla="*/ 572403 h 6857999"/>
              <a:gd name="connsiteX823" fmla="*/ 3674124 w 4516600"/>
              <a:gd name="connsiteY823" fmla="*/ 572403 h 6857999"/>
              <a:gd name="connsiteX824" fmla="*/ 3669711 w 4516600"/>
              <a:gd name="connsiteY824" fmla="*/ 568768 h 6857999"/>
              <a:gd name="connsiteX825" fmla="*/ 3669711 w 4516600"/>
              <a:gd name="connsiteY825" fmla="*/ 534179 h 6857999"/>
              <a:gd name="connsiteX826" fmla="*/ 3664482 w 4516600"/>
              <a:gd name="connsiteY826" fmla="*/ 528543 h 6857999"/>
              <a:gd name="connsiteX827" fmla="*/ 3646341 w 4516600"/>
              <a:gd name="connsiteY827" fmla="*/ 528543 h 6857999"/>
              <a:gd name="connsiteX828" fmla="*/ 3765070 w 4516600"/>
              <a:gd name="connsiteY828" fmla="*/ 495037 h 6857999"/>
              <a:gd name="connsiteX829" fmla="*/ 3759832 w 4516600"/>
              <a:gd name="connsiteY829" fmla="*/ 500698 h 6857999"/>
              <a:gd name="connsiteX830" fmla="*/ 3759832 w 4516600"/>
              <a:gd name="connsiteY830" fmla="*/ 538683 h 6857999"/>
              <a:gd name="connsiteX831" fmla="*/ 3765070 w 4516600"/>
              <a:gd name="connsiteY831" fmla="*/ 544343 h 6857999"/>
              <a:gd name="connsiteX832" fmla="*/ 3783647 w 4516600"/>
              <a:gd name="connsiteY832" fmla="*/ 544343 h 6857999"/>
              <a:gd name="connsiteX833" fmla="*/ 3789253 w 4516600"/>
              <a:gd name="connsiteY833" fmla="*/ 538683 h 6857999"/>
              <a:gd name="connsiteX834" fmla="*/ 3789253 w 4516600"/>
              <a:gd name="connsiteY834" fmla="*/ 500698 h 6857999"/>
              <a:gd name="connsiteX835" fmla="*/ 3783647 w 4516600"/>
              <a:gd name="connsiteY835" fmla="*/ 495037 h 6857999"/>
              <a:gd name="connsiteX836" fmla="*/ 3765070 w 4516600"/>
              <a:gd name="connsiteY836" fmla="*/ 495037 h 6857999"/>
              <a:gd name="connsiteX837" fmla="*/ 2468387 w 4516600"/>
              <a:gd name="connsiteY837" fmla="*/ 495037 h 6857999"/>
              <a:gd name="connsiteX838" fmla="*/ 2463149 w 4516600"/>
              <a:gd name="connsiteY838" fmla="*/ 500698 h 6857999"/>
              <a:gd name="connsiteX839" fmla="*/ 2463149 w 4516600"/>
              <a:gd name="connsiteY839" fmla="*/ 538683 h 6857999"/>
              <a:gd name="connsiteX840" fmla="*/ 2468387 w 4516600"/>
              <a:gd name="connsiteY840" fmla="*/ 544343 h 6857999"/>
              <a:gd name="connsiteX841" fmla="*/ 2486923 w 4516600"/>
              <a:gd name="connsiteY841" fmla="*/ 544343 h 6857999"/>
              <a:gd name="connsiteX842" fmla="*/ 2492570 w 4516600"/>
              <a:gd name="connsiteY842" fmla="*/ 538683 h 6857999"/>
              <a:gd name="connsiteX843" fmla="*/ 2492570 w 4516600"/>
              <a:gd name="connsiteY843" fmla="*/ 500698 h 6857999"/>
              <a:gd name="connsiteX844" fmla="*/ 2486923 w 4516600"/>
              <a:gd name="connsiteY844" fmla="*/ 495037 h 6857999"/>
              <a:gd name="connsiteX845" fmla="*/ 2468387 w 4516600"/>
              <a:gd name="connsiteY845" fmla="*/ 495037 h 6857999"/>
              <a:gd name="connsiteX846" fmla="*/ 3832765 w 4516600"/>
              <a:gd name="connsiteY846" fmla="*/ 494764 h 6857999"/>
              <a:gd name="connsiteX847" fmla="*/ 3827118 w 4516600"/>
              <a:gd name="connsiteY847" fmla="*/ 500400 h 6857999"/>
              <a:gd name="connsiteX848" fmla="*/ 3827118 w 4516600"/>
              <a:gd name="connsiteY848" fmla="*/ 771892 h 6857999"/>
              <a:gd name="connsiteX849" fmla="*/ 3832765 w 4516600"/>
              <a:gd name="connsiteY849" fmla="*/ 777528 h 6857999"/>
              <a:gd name="connsiteX850" fmla="*/ 3850933 w 4516600"/>
              <a:gd name="connsiteY850" fmla="*/ 777528 h 6857999"/>
              <a:gd name="connsiteX851" fmla="*/ 3856539 w 4516600"/>
              <a:gd name="connsiteY851" fmla="*/ 771892 h 6857999"/>
              <a:gd name="connsiteX852" fmla="*/ 3856539 w 4516600"/>
              <a:gd name="connsiteY852" fmla="*/ 500400 h 6857999"/>
              <a:gd name="connsiteX853" fmla="*/ 3850933 w 4516600"/>
              <a:gd name="connsiteY853" fmla="*/ 494764 h 6857999"/>
              <a:gd name="connsiteX854" fmla="*/ 3832765 w 4516600"/>
              <a:gd name="connsiteY854" fmla="*/ 494764 h 6857999"/>
              <a:gd name="connsiteX855" fmla="*/ 2793054 w 4516600"/>
              <a:gd name="connsiteY855" fmla="*/ 494764 h 6857999"/>
              <a:gd name="connsiteX856" fmla="*/ 2751988 w 4516600"/>
              <a:gd name="connsiteY856" fmla="*/ 510038 h 6857999"/>
              <a:gd name="connsiteX857" fmla="*/ 2737931 w 4516600"/>
              <a:gd name="connsiteY857" fmla="*/ 553898 h 6857999"/>
              <a:gd name="connsiteX858" fmla="*/ 2737931 w 4516600"/>
              <a:gd name="connsiteY858" fmla="*/ 568763 h 6857999"/>
              <a:gd name="connsiteX859" fmla="*/ 2733886 w 4516600"/>
              <a:gd name="connsiteY859" fmla="*/ 572398 h 6857999"/>
              <a:gd name="connsiteX860" fmla="*/ 2710145 w 4516600"/>
              <a:gd name="connsiteY860" fmla="*/ 572398 h 6857999"/>
              <a:gd name="connsiteX861" fmla="*/ 2704506 w 4516600"/>
              <a:gd name="connsiteY861" fmla="*/ 577625 h 6857999"/>
              <a:gd name="connsiteX862" fmla="*/ 2704506 w 4516600"/>
              <a:gd name="connsiteY862" fmla="*/ 592531 h 6857999"/>
              <a:gd name="connsiteX863" fmla="*/ 2710145 w 4516600"/>
              <a:gd name="connsiteY863" fmla="*/ 598126 h 6857999"/>
              <a:gd name="connsiteX864" fmla="*/ 2733886 w 4516600"/>
              <a:gd name="connsiteY864" fmla="*/ 598126 h 6857999"/>
              <a:gd name="connsiteX865" fmla="*/ 2737931 w 4516600"/>
              <a:gd name="connsiteY865" fmla="*/ 601760 h 6857999"/>
              <a:gd name="connsiteX866" fmla="*/ 2737931 w 4516600"/>
              <a:gd name="connsiteY866" fmla="*/ 771892 h 6857999"/>
              <a:gd name="connsiteX867" fmla="*/ 2743570 w 4516600"/>
              <a:gd name="connsiteY867" fmla="*/ 777528 h 6857999"/>
              <a:gd name="connsiteX868" fmla="*/ 2761264 w 4516600"/>
              <a:gd name="connsiteY868" fmla="*/ 777528 h 6857999"/>
              <a:gd name="connsiteX869" fmla="*/ 2767311 w 4516600"/>
              <a:gd name="connsiteY869" fmla="*/ 771892 h 6857999"/>
              <a:gd name="connsiteX870" fmla="*/ 2767311 w 4516600"/>
              <a:gd name="connsiteY870" fmla="*/ 601760 h 6857999"/>
              <a:gd name="connsiteX871" fmla="*/ 2770907 w 4516600"/>
              <a:gd name="connsiteY871" fmla="*/ 598126 h 6857999"/>
              <a:gd name="connsiteX872" fmla="*/ 2806334 w 4516600"/>
              <a:gd name="connsiteY872" fmla="*/ 598126 h 6857999"/>
              <a:gd name="connsiteX873" fmla="*/ 2812382 w 4516600"/>
              <a:gd name="connsiteY873" fmla="*/ 592531 h 6857999"/>
              <a:gd name="connsiteX874" fmla="*/ 2812382 w 4516600"/>
              <a:gd name="connsiteY874" fmla="*/ 577625 h 6857999"/>
              <a:gd name="connsiteX875" fmla="*/ 2806334 w 4516600"/>
              <a:gd name="connsiteY875" fmla="*/ 572398 h 6857999"/>
              <a:gd name="connsiteX876" fmla="*/ 2770907 w 4516600"/>
              <a:gd name="connsiteY876" fmla="*/ 572398 h 6857999"/>
              <a:gd name="connsiteX877" fmla="*/ 2767311 w 4516600"/>
              <a:gd name="connsiteY877" fmla="*/ 568763 h 6857999"/>
              <a:gd name="connsiteX878" fmla="*/ 2767311 w 4516600"/>
              <a:gd name="connsiteY878" fmla="*/ 555123 h 6857999"/>
              <a:gd name="connsiteX879" fmla="*/ 2773726 w 4516600"/>
              <a:gd name="connsiteY879" fmla="*/ 528742 h 6857999"/>
              <a:gd name="connsiteX880" fmla="*/ 2796691 w 4516600"/>
              <a:gd name="connsiteY880" fmla="*/ 520492 h 6857999"/>
              <a:gd name="connsiteX881" fmla="*/ 2806743 w 4516600"/>
              <a:gd name="connsiteY881" fmla="*/ 520492 h 6857999"/>
              <a:gd name="connsiteX882" fmla="*/ 2812382 w 4516600"/>
              <a:gd name="connsiteY882" fmla="*/ 514897 h 6857999"/>
              <a:gd name="connsiteX883" fmla="*/ 2812382 w 4516600"/>
              <a:gd name="connsiteY883" fmla="*/ 499992 h 6857999"/>
              <a:gd name="connsiteX884" fmla="*/ 2806743 w 4516600"/>
              <a:gd name="connsiteY884" fmla="*/ 494764 h 6857999"/>
              <a:gd name="connsiteX885" fmla="*/ 2793054 w 4516600"/>
              <a:gd name="connsiteY885" fmla="*/ 494764 h 6857999"/>
              <a:gd name="connsiteX886" fmla="*/ 1812733 w 4516600"/>
              <a:gd name="connsiteY886" fmla="*/ 0 h 6857999"/>
              <a:gd name="connsiteX887" fmla="*/ 4516600 w 4516600"/>
              <a:gd name="connsiteY887" fmla="*/ 0 h 6857999"/>
              <a:gd name="connsiteX888" fmla="*/ 4516600 w 4516600"/>
              <a:gd name="connsiteY888" fmla="*/ 6857999 h 6857999"/>
              <a:gd name="connsiteX889" fmla="*/ 3680307 w 4516600"/>
              <a:gd name="connsiteY889" fmla="*/ 6857999 h 6857999"/>
              <a:gd name="connsiteX890" fmla="*/ 3701115 w 4516600"/>
              <a:gd name="connsiteY890" fmla="*/ 6823698 h 6857999"/>
              <a:gd name="connsiteX891" fmla="*/ 3960826 w 4516600"/>
              <a:gd name="connsiteY891" fmla="*/ 6395583 h 6857999"/>
              <a:gd name="connsiteX892" fmla="*/ 3969512 w 4516600"/>
              <a:gd name="connsiteY892" fmla="*/ 6343543 h 6857999"/>
              <a:gd name="connsiteX893" fmla="*/ 3923273 w 4516600"/>
              <a:gd name="connsiteY893" fmla="*/ 6323213 h 6857999"/>
              <a:gd name="connsiteX894" fmla="*/ 3642646 w 4516600"/>
              <a:gd name="connsiteY894" fmla="*/ 6323213 h 6857999"/>
              <a:gd name="connsiteX895" fmla="*/ 3544292 w 4516600"/>
              <a:gd name="connsiteY895" fmla="*/ 6381135 h 6857999"/>
              <a:gd name="connsiteX896" fmla="*/ 3311712 w 4516600"/>
              <a:gd name="connsiteY896" fmla="*/ 6794349 h 6857999"/>
              <a:gd name="connsiteX897" fmla="*/ 3275886 w 4516600"/>
              <a:gd name="connsiteY897" fmla="*/ 6857999 h 6857999"/>
              <a:gd name="connsiteX898" fmla="*/ 1920685 w 4516600"/>
              <a:gd name="connsiteY898" fmla="*/ 6857999 h 6857999"/>
              <a:gd name="connsiteX899" fmla="*/ 1833854 w 4516600"/>
              <a:gd name="connsiteY899" fmla="*/ 6705376 h 6857999"/>
              <a:gd name="connsiteX900" fmla="*/ 68852 w 4516600"/>
              <a:gd name="connsiteY900" fmla="*/ 3603022 h 6857999"/>
              <a:gd name="connsiteX901" fmla="*/ 68852 w 4516600"/>
              <a:gd name="connsiteY901" fmla="*/ 3098263 h 6857999"/>
              <a:gd name="connsiteX902" fmla="*/ 1806823 w 4516600"/>
              <a:gd name="connsiteY902" fmla="*/ 105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</a:cxnLst>
            <a:rect l="l" t="t" r="r" b="b"/>
            <a:pathLst>
              <a:path w="4516600" h="6857999">
                <a:moveTo>
                  <a:pt x="3863832" y="862793"/>
                </a:moveTo>
                <a:cubicBezTo>
                  <a:pt x="3868115" y="862793"/>
                  <a:pt x="3871744" y="863989"/>
                  <a:pt x="3874640" y="866299"/>
                </a:cubicBezTo>
                <a:cubicBezTo>
                  <a:pt x="3877535" y="868650"/>
                  <a:pt x="3879452" y="871743"/>
                  <a:pt x="3880472" y="875620"/>
                </a:cubicBezTo>
                <a:cubicBezTo>
                  <a:pt x="3880839" y="877187"/>
                  <a:pt x="3881124" y="879620"/>
                  <a:pt x="3881328" y="882920"/>
                </a:cubicBezTo>
                <a:cubicBezTo>
                  <a:pt x="3881328" y="883291"/>
                  <a:pt x="3881124" y="883497"/>
                  <a:pt x="3880757" y="883497"/>
                </a:cubicBezTo>
                <a:cubicBezTo>
                  <a:pt x="3880757" y="883497"/>
                  <a:pt x="3880757" y="883497"/>
                  <a:pt x="3847030" y="883497"/>
                </a:cubicBezTo>
                <a:cubicBezTo>
                  <a:pt x="3846622" y="883497"/>
                  <a:pt x="3846459" y="883291"/>
                  <a:pt x="3846459" y="882920"/>
                </a:cubicBezTo>
                <a:cubicBezTo>
                  <a:pt x="3846622" y="879538"/>
                  <a:pt x="3847071" y="876733"/>
                  <a:pt x="3847764" y="874547"/>
                </a:cubicBezTo>
                <a:cubicBezTo>
                  <a:pt x="3848743" y="871001"/>
                  <a:pt x="3850619" y="868155"/>
                  <a:pt x="3853352" y="866010"/>
                </a:cubicBezTo>
                <a:cubicBezTo>
                  <a:pt x="3856124" y="863866"/>
                  <a:pt x="3859591" y="862793"/>
                  <a:pt x="3863832" y="862793"/>
                </a:cubicBezTo>
                <a:close/>
                <a:moveTo>
                  <a:pt x="3744762" y="862793"/>
                </a:moveTo>
                <a:cubicBezTo>
                  <a:pt x="3748897" y="862793"/>
                  <a:pt x="3752336" y="863983"/>
                  <a:pt x="3755080" y="866279"/>
                </a:cubicBezTo>
                <a:cubicBezTo>
                  <a:pt x="3757864" y="868617"/>
                  <a:pt x="3759624" y="871611"/>
                  <a:pt x="3760402" y="875261"/>
                </a:cubicBezTo>
                <a:cubicBezTo>
                  <a:pt x="3760812" y="876819"/>
                  <a:pt x="3761098" y="878460"/>
                  <a:pt x="3761221" y="880182"/>
                </a:cubicBezTo>
                <a:cubicBezTo>
                  <a:pt x="3761385" y="881946"/>
                  <a:pt x="3761467" y="884857"/>
                  <a:pt x="3761467" y="888999"/>
                </a:cubicBezTo>
                <a:cubicBezTo>
                  <a:pt x="3761467" y="893141"/>
                  <a:pt x="3761385" y="896094"/>
                  <a:pt x="3761221" y="897899"/>
                </a:cubicBezTo>
                <a:cubicBezTo>
                  <a:pt x="3761098" y="899662"/>
                  <a:pt x="3760853" y="901344"/>
                  <a:pt x="3760566" y="902943"/>
                </a:cubicBezTo>
                <a:cubicBezTo>
                  <a:pt x="3759788" y="906593"/>
                  <a:pt x="3758028" y="909546"/>
                  <a:pt x="3755325" y="911883"/>
                </a:cubicBezTo>
                <a:cubicBezTo>
                  <a:pt x="3752623" y="914221"/>
                  <a:pt x="3749102" y="915369"/>
                  <a:pt x="3744762" y="915369"/>
                </a:cubicBezTo>
                <a:cubicBezTo>
                  <a:pt x="3740627" y="915369"/>
                  <a:pt x="3737106" y="914221"/>
                  <a:pt x="3734199" y="911883"/>
                </a:cubicBezTo>
                <a:cubicBezTo>
                  <a:pt x="3731292" y="909546"/>
                  <a:pt x="3729327" y="906593"/>
                  <a:pt x="3728344" y="902943"/>
                </a:cubicBezTo>
                <a:cubicBezTo>
                  <a:pt x="3727362" y="900441"/>
                  <a:pt x="3726870" y="895807"/>
                  <a:pt x="3726870" y="888999"/>
                </a:cubicBezTo>
                <a:cubicBezTo>
                  <a:pt x="3726870" y="882807"/>
                  <a:pt x="3727403" y="878213"/>
                  <a:pt x="3728508" y="875261"/>
                </a:cubicBezTo>
                <a:cubicBezTo>
                  <a:pt x="3729695" y="871611"/>
                  <a:pt x="3731661" y="868617"/>
                  <a:pt x="3734404" y="866279"/>
                </a:cubicBezTo>
                <a:cubicBezTo>
                  <a:pt x="3737147" y="863983"/>
                  <a:pt x="3740627" y="862793"/>
                  <a:pt x="3744762" y="862793"/>
                </a:cubicBezTo>
                <a:close/>
                <a:moveTo>
                  <a:pt x="3611810" y="862793"/>
                </a:moveTo>
                <a:cubicBezTo>
                  <a:pt x="3616133" y="862793"/>
                  <a:pt x="3619763" y="863989"/>
                  <a:pt x="3622658" y="866299"/>
                </a:cubicBezTo>
                <a:cubicBezTo>
                  <a:pt x="3625554" y="868650"/>
                  <a:pt x="3627470" y="871743"/>
                  <a:pt x="3628449" y="875620"/>
                </a:cubicBezTo>
                <a:cubicBezTo>
                  <a:pt x="3628857" y="877187"/>
                  <a:pt x="3629143" y="879620"/>
                  <a:pt x="3629347" y="882920"/>
                </a:cubicBezTo>
                <a:cubicBezTo>
                  <a:pt x="3629347" y="883291"/>
                  <a:pt x="3629143" y="883497"/>
                  <a:pt x="3628776" y="883497"/>
                </a:cubicBezTo>
                <a:cubicBezTo>
                  <a:pt x="3628776" y="883497"/>
                  <a:pt x="3628776" y="883497"/>
                  <a:pt x="3595049" y="883497"/>
                </a:cubicBezTo>
                <a:cubicBezTo>
                  <a:pt x="3594641" y="883497"/>
                  <a:pt x="3594478" y="883291"/>
                  <a:pt x="3594478" y="882920"/>
                </a:cubicBezTo>
                <a:cubicBezTo>
                  <a:pt x="3594641" y="879538"/>
                  <a:pt x="3595090" y="876733"/>
                  <a:pt x="3595783" y="874547"/>
                </a:cubicBezTo>
                <a:cubicBezTo>
                  <a:pt x="3596762" y="871001"/>
                  <a:pt x="3598638" y="868155"/>
                  <a:pt x="3601370" y="866010"/>
                </a:cubicBezTo>
                <a:cubicBezTo>
                  <a:pt x="3604143" y="863866"/>
                  <a:pt x="3607610" y="862793"/>
                  <a:pt x="3611810" y="862793"/>
                </a:cubicBezTo>
                <a:close/>
                <a:moveTo>
                  <a:pt x="3203212" y="862793"/>
                </a:moveTo>
                <a:cubicBezTo>
                  <a:pt x="3207530" y="862793"/>
                  <a:pt x="3211115" y="863989"/>
                  <a:pt x="3214007" y="866299"/>
                </a:cubicBezTo>
                <a:cubicBezTo>
                  <a:pt x="3216899" y="868650"/>
                  <a:pt x="3218854" y="871743"/>
                  <a:pt x="3219832" y="875620"/>
                </a:cubicBezTo>
                <a:cubicBezTo>
                  <a:pt x="3220239" y="877187"/>
                  <a:pt x="3220524" y="879620"/>
                  <a:pt x="3220728" y="882920"/>
                </a:cubicBezTo>
                <a:cubicBezTo>
                  <a:pt x="3220728" y="883291"/>
                  <a:pt x="3220524" y="883497"/>
                  <a:pt x="3220117" y="883497"/>
                </a:cubicBezTo>
                <a:cubicBezTo>
                  <a:pt x="3220117" y="883497"/>
                  <a:pt x="3220117" y="883497"/>
                  <a:pt x="3186470" y="883497"/>
                </a:cubicBezTo>
                <a:cubicBezTo>
                  <a:pt x="3186063" y="883497"/>
                  <a:pt x="3185859" y="883291"/>
                  <a:pt x="3185859" y="882920"/>
                </a:cubicBezTo>
                <a:cubicBezTo>
                  <a:pt x="3186063" y="879538"/>
                  <a:pt x="3186511" y="876733"/>
                  <a:pt x="3187204" y="874547"/>
                </a:cubicBezTo>
                <a:cubicBezTo>
                  <a:pt x="3188181" y="871001"/>
                  <a:pt x="3190014" y="868155"/>
                  <a:pt x="3192784" y="866010"/>
                </a:cubicBezTo>
                <a:cubicBezTo>
                  <a:pt x="3195514" y="863866"/>
                  <a:pt x="3199017" y="862793"/>
                  <a:pt x="3203212" y="862793"/>
                </a:cubicBezTo>
                <a:close/>
                <a:moveTo>
                  <a:pt x="2921149" y="862793"/>
                </a:moveTo>
                <a:cubicBezTo>
                  <a:pt x="2925506" y="862793"/>
                  <a:pt x="2929123" y="863989"/>
                  <a:pt x="2932041" y="866299"/>
                </a:cubicBezTo>
                <a:cubicBezTo>
                  <a:pt x="2934959" y="868650"/>
                  <a:pt x="2936932" y="871743"/>
                  <a:pt x="2937918" y="875620"/>
                </a:cubicBezTo>
                <a:cubicBezTo>
                  <a:pt x="2938288" y="877187"/>
                  <a:pt x="2938617" y="879620"/>
                  <a:pt x="2938781" y="882920"/>
                </a:cubicBezTo>
                <a:cubicBezTo>
                  <a:pt x="2938781" y="883291"/>
                  <a:pt x="2938617" y="883497"/>
                  <a:pt x="2938206" y="883497"/>
                </a:cubicBezTo>
                <a:cubicBezTo>
                  <a:pt x="2938206" y="883497"/>
                  <a:pt x="2938206" y="883497"/>
                  <a:pt x="2904216" y="883497"/>
                </a:cubicBezTo>
                <a:cubicBezTo>
                  <a:pt x="2903846" y="883497"/>
                  <a:pt x="2903640" y="883291"/>
                  <a:pt x="2903640" y="882920"/>
                </a:cubicBezTo>
                <a:cubicBezTo>
                  <a:pt x="2903846" y="879538"/>
                  <a:pt x="2904298" y="876733"/>
                  <a:pt x="2904955" y="874547"/>
                </a:cubicBezTo>
                <a:cubicBezTo>
                  <a:pt x="2905983" y="871001"/>
                  <a:pt x="2907832" y="868155"/>
                  <a:pt x="2910627" y="866010"/>
                </a:cubicBezTo>
                <a:cubicBezTo>
                  <a:pt x="2913381" y="863866"/>
                  <a:pt x="2916875" y="862793"/>
                  <a:pt x="2921149" y="862793"/>
                </a:cubicBezTo>
                <a:close/>
                <a:moveTo>
                  <a:pt x="2706332" y="862793"/>
                </a:moveTo>
                <a:cubicBezTo>
                  <a:pt x="2710650" y="862793"/>
                  <a:pt x="2714234" y="863989"/>
                  <a:pt x="2717127" y="866299"/>
                </a:cubicBezTo>
                <a:cubicBezTo>
                  <a:pt x="2720019" y="868650"/>
                  <a:pt x="2721974" y="871743"/>
                  <a:pt x="2722951" y="875620"/>
                </a:cubicBezTo>
                <a:cubicBezTo>
                  <a:pt x="2723318" y="877187"/>
                  <a:pt x="2723644" y="879620"/>
                  <a:pt x="2723848" y="882920"/>
                </a:cubicBezTo>
                <a:cubicBezTo>
                  <a:pt x="2723848" y="883291"/>
                  <a:pt x="2723644" y="883497"/>
                  <a:pt x="2723237" y="883497"/>
                </a:cubicBezTo>
                <a:cubicBezTo>
                  <a:pt x="2723237" y="883497"/>
                  <a:pt x="2723237" y="883497"/>
                  <a:pt x="2689549" y="883497"/>
                </a:cubicBezTo>
                <a:cubicBezTo>
                  <a:pt x="2689183" y="883497"/>
                  <a:pt x="2688979" y="883291"/>
                  <a:pt x="2688979" y="882920"/>
                </a:cubicBezTo>
                <a:cubicBezTo>
                  <a:pt x="2689183" y="879538"/>
                  <a:pt x="2689631" y="876733"/>
                  <a:pt x="2690282" y="874547"/>
                </a:cubicBezTo>
                <a:cubicBezTo>
                  <a:pt x="2691301" y="871001"/>
                  <a:pt x="2693134" y="868155"/>
                  <a:pt x="2695904" y="866010"/>
                </a:cubicBezTo>
                <a:cubicBezTo>
                  <a:pt x="2698633" y="863866"/>
                  <a:pt x="2702136" y="862793"/>
                  <a:pt x="2706332" y="862793"/>
                </a:cubicBezTo>
                <a:close/>
                <a:moveTo>
                  <a:pt x="3798622" y="851897"/>
                </a:moveTo>
                <a:cubicBezTo>
                  <a:pt x="3797643" y="851897"/>
                  <a:pt x="3797153" y="852387"/>
                  <a:pt x="3797153" y="853368"/>
                </a:cubicBezTo>
                <a:cubicBezTo>
                  <a:pt x="3797153" y="853368"/>
                  <a:pt x="3797153" y="853368"/>
                  <a:pt x="3797153" y="925339"/>
                </a:cubicBezTo>
                <a:cubicBezTo>
                  <a:pt x="3797153" y="926320"/>
                  <a:pt x="3797643" y="926811"/>
                  <a:pt x="3798622" y="926811"/>
                </a:cubicBezTo>
                <a:cubicBezTo>
                  <a:pt x="3798622" y="926811"/>
                  <a:pt x="3798622" y="926811"/>
                  <a:pt x="3809808" y="926811"/>
                </a:cubicBezTo>
                <a:cubicBezTo>
                  <a:pt x="3810787" y="926811"/>
                  <a:pt x="3811318" y="926320"/>
                  <a:pt x="3811318" y="925339"/>
                </a:cubicBezTo>
                <a:cubicBezTo>
                  <a:pt x="3811318" y="925339"/>
                  <a:pt x="3811318" y="925339"/>
                  <a:pt x="3811318" y="853368"/>
                </a:cubicBezTo>
                <a:cubicBezTo>
                  <a:pt x="3811318" y="852387"/>
                  <a:pt x="3810787" y="851897"/>
                  <a:pt x="3809808" y="851897"/>
                </a:cubicBezTo>
                <a:cubicBezTo>
                  <a:pt x="3809808" y="851897"/>
                  <a:pt x="3809808" y="851897"/>
                  <a:pt x="3798622" y="851897"/>
                </a:cubicBezTo>
                <a:close/>
                <a:moveTo>
                  <a:pt x="3426113" y="851897"/>
                </a:moveTo>
                <a:cubicBezTo>
                  <a:pt x="3425214" y="851897"/>
                  <a:pt x="3424765" y="852224"/>
                  <a:pt x="3424765" y="852918"/>
                </a:cubicBezTo>
                <a:cubicBezTo>
                  <a:pt x="3424765" y="852918"/>
                  <a:pt x="3424765" y="852918"/>
                  <a:pt x="3424928" y="853490"/>
                </a:cubicBezTo>
                <a:cubicBezTo>
                  <a:pt x="3424928" y="853490"/>
                  <a:pt x="3424928" y="853490"/>
                  <a:pt x="3449522" y="926462"/>
                </a:cubicBezTo>
                <a:cubicBezTo>
                  <a:pt x="3449644" y="926952"/>
                  <a:pt x="3449644" y="927238"/>
                  <a:pt x="3449522" y="927361"/>
                </a:cubicBezTo>
                <a:cubicBezTo>
                  <a:pt x="3448174" y="932179"/>
                  <a:pt x="3446744" y="935773"/>
                  <a:pt x="3445273" y="938182"/>
                </a:cubicBezTo>
                <a:cubicBezTo>
                  <a:pt x="3443802" y="940591"/>
                  <a:pt x="3441923" y="942225"/>
                  <a:pt x="3439676" y="943123"/>
                </a:cubicBezTo>
                <a:cubicBezTo>
                  <a:pt x="3437388" y="944021"/>
                  <a:pt x="3434284" y="944511"/>
                  <a:pt x="3430362" y="944593"/>
                </a:cubicBezTo>
                <a:cubicBezTo>
                  <a:pt x="3430362" y="944593"/>
                  <a:pt x="3430362" y="944593"/>
                  <a:pt x="3430076" y="944593"/>
                </a:cubicBezTo>
                <a:cubicBezTo>
                  <a:pt x="3429095" y="944593"/>
                  <a:pt x="3428605" y="945083"/>
                  <a:pt x="3428605" y="946063"/>
                </a:cubicBezTo>
                <a:cubicBezTo>
                  <a:pt x="3428605" y="946063"/>
                  <a:pt x="3428605" y="946063"/>
                  <a:pt x="3428605" y="954761"/>
                </a:cubicBezTo>
                <a:cubicBezTo>
                  <a:pt x="3428605" y="954761"/>
                  <a:pt x="3428605" y="954761"/>
                  <a:pt x="3428605" y="956231"/>
                </a:cubicBezTo>
                <a:lnTo>
                  <a:pt x="3429626" y="956231"/>
                </a:lnTo>
                <a:cubicBezTo>
                  <a:pt x="3429626" y="956231"/>
                  <a:pt x="3429626" y="956231"/>
                  <a:pt x="3430648" y="956231"/>
                </a:cubicBezTo>
                <a:cubicBezTo>
                  <a:pt x="3437266" y="956231"/>
                  <a:pt x="3442372" y="955537"/>
                  <a:pt x="3446008" y="954189"/>
                </a:cubicBezTo>
                <a:cubicBezTo>
                  <a:pt x="3449644" y="952801"/>
                  <a:pt x="3452586" y="950473"/>
                  <a:pt x="3454833" y="947166"/>
                </a:cubicBezTo>
                <a:cubicBezTo>
                  <a:pt x="3457120" y="943899"/>
                  <a:pt x="3459367" y="938835"/>
                  <a:pt x="3461614" y="932057"/>
                </a:cubicBezTo>
                <a:cubicBezTo>
                  <a:pt x="3461614" y="932057"/>
                  <a:pt x="3461614" y="932057"/>
                  <a:pt x="3488496" y="853490"/>
                </a:cubicBezTo>
                <a:cubicBezTo>
                  <a:pt x="3488782" y="852428"/>
                  <a:pt x="3488373" y="851897"/>
                  <a:pt x="3487311" y="851897"/>
                </a:cubicBezTo>
                <a:cubicBezTo>
                  <a:pt x="3487311" y="851897"/>
                  <a:pt x="3487311" y="851897"/>
                  <a:pt x="3475627" y="851897"/>
                </a:cubicBezTo>
                <a:cubicBezTo>
                  <a:pt x="3474769" y="851897"/>
                  <a:pt x="3474156" y="852264"/>
                  <a:pt x="3473870" y="853040"/>
                </a:cubicBezTo>
                <a:cubicBezTo>
                  <a:pt x="3473870" y="853040"/>
                  <a:pt x="3473870" y="853040"/>
                  <a:pt x="3457366" y="908617"/>
                </a:cubicBezTo>
                <a:cubicBezTo>
                  <a:pt x="3457243" y="908821"/>
                  <a:pt x="3457120" y="908944"/>
                  <a:pt x="3456916" y="908944"/>
                </a:cubicBezTo>
                <a:cubicBezTo>
                  <a:pt x="3456712" y="908944"/>
                  <a:pt x="3456549" y="908821"/>
                  <a:pt x="3456467" y="908617"/>
                </a:cubicBezTo>
                <a:cubicBezTo>
                  <a:pt x="3456467" y="908617"/>
                  <a:pt x="3456467" y="908617"/>
                  <a:pt x="3439799" y="853040"/>
                </a:cubicBezTo>
                <a:cubicBezTo>
                  <a:pt x="3439513" y="852264"/>
                  <a:pt x="3438941" y="851897"/>
                  <a:pt x="3438042" y="851897"/>
                </a:cubicBezTo>
                <a:cubicBezTo>
                  <a:pt x="3438042" y="851897"/>
                  <a:pt x="3438042" y="851897"/>
                  <a:pt x="3426113" y="851897"/>
                </a:cubicBezTo>
                <a:close/>
                <a:moveTo>
                  <a:pt x="2463297" y="851897"/>
                </a:moveTo>
                <a:cubicBezTo>
                  <a:pt x="2462277" y="851897"/>
                  <a:pt x="2461787" y="852387"/>
                  <a:pt x="2461787" y="853366"/>
                </a:cubicBezTo>
                <a:cubicBezTo>
                  <a:pt x="2461787" y="853366"/>
                  <a:pt x="2461787" y="853366"/>
                  <a:pt x="2461787" y="903614"/>
                </a:cubicBezTo>
                <a:cubicBezTo>
                  <a:pt x="2461787" y="908797"/>
                  <a:pt x="2463011" y="913206"/>
                  <a:pt x="2465501" y="916839"/>
                </a:cubicBezTo>
                <a:cubicBezTo>
                  <a:pt x="2467949" y="920512"/>
                  <a:pt x="2471213" y="923247"/>
                  <a:pt x="2475294" y="925125"/>
                </a:cubicBezTo>
                <a:cubicBezTo>
                  <a:pt x="2479374" y="926961"/>
                  <a:pt x="2483781" y="927900"/>
                  <a:pt x="2488597" y="927900"/>
                </a:cubicBezTo>
                <a:cubicBezTo>
                  <a:pt x="2496758" y="927900"/>
                  <a:pt x="2502797" y="925206"/>
                  <a:pt x="2506714" y="919818"/>
                </a:cubicBezTo>
                <a:cubicBezTo>
                  <a:pt x="2506919" y="919614"/>
                  <a:pt x="2507082" y="919533"/>
                  <a:pt x="2507245" y="919573"/>
                </a:cubicBezTo>
                <a:cubicBezTo>
                  <a:pt x="2507408" y="919614"/>
                  <a:pt x="2507449" y="919737"/>
                  <a:pt x="2507449" y="919941"/>
                </a:cubicBezTo>
                <a:cubicBezTo>
                  <a:pt x="2507449" y="919941"/>
                  <a:pt x="2507449" y="919941"/>
                  <a:pt x="2507449" y="925410"/>
                </a:cubicBezTo>
                <a:cubicBezTo>
                  <a:pt x="2507449" y="926390"/>
                  <a:pt x="2507939" y="926880"/>
                  <a:pt x="2508959" y="926880"/>
                </a:cubicBezTo>
                <a:cubicBezTo>
                  <a:pt x="2508959" y="926880"/>
                  <a:pt x="2508959" y="926880"/>
                  <a:pt x="2519977" y="926880"/>
                </a:cubicBezTo>
                <a:cubicBezTo>
                  <a:pt x="2520956" y="926880"/>
                  <a:pt x="2521445" y="926390"/>
                  <a:pt x="2521445" y="925410"/>
                </a:cubicBezTo>
                <a:cubicBezTo>
                  <a:pt x="2521445" y="925410"/>
                  <a:pt x="2521445" y="925410"/>
                  <a:pt x="2521445" y="853366"/>
                </a:cubicBezTo>
                <a:cubicBezTo>
                  <a:pt x="2521445" y="852387"/>
                  <a:pt x="2520956" y="851897"/>
                  <a:pt x="2519977" y="851897"/>
                </a:cubicBezTo>
                <a:cubicBezTo>
                  <a:pt x="2519977" y="851897"/>
                  <a:pt x="2519977" y="851897"/>
                  <a:pt x="2508959" y="851897"/>
                </a:cubicBezTo>
                <a:cubicBezTo>
                  <a:pt x="2507939" y="851897"/>
                  <a:pt x="2507449" y="852387"/>
                  <a:pt x="2507449" y="853366"/>
                </a:cubicBezTo>
                <a:cubicBezTo>
                  <a:pt x="2507449" y="853366"/>
                  <a:pt x="2507449" y="853366"/>
                  <a:pt x="2507449" y="899164"/>
                </a:cubicBezTo>
                <a:cubicBezTo>
                  <a:pt x="2507449" y="904185"/>
                  <a:pt x="2505980" y="908185"/>
                  <a:pt x="2503042" y="911165"/>
                </a:cubicBezTo>
                <a:cubicBezTo>
                  <a:pt x="2500104" y="914185"/>
                  <a:pt x="2496186" y="915696"/>
                  <a:pt x="2491249" y="915696"/>
                </a:cubicBezTo>
                <a:cubicBezTo>
                  <a:pt x="2486353" y="915696"/>
                  <a:pt x="2482557" y="914185"/>
                  <a:pt x="2479864" y="911246"/>
                </a:cubicBezTo>
                <a:cubicBezTo>
                  <a:pt x="2477130" y="908308"/>
                  <a:pt x="2475783" y="904267"/>
                  <a:pt x="2475783" y="899164"/>
                </a:cubicBezTo>
                <a:cubicBezTo>
                  <a:pt x="2475783" y="899164"/>
                  <a:pt x="2475783" y="899164"/>
                  <a:pt x="2475783" y="853366"/>
                </a:cubicBezTo>
                <a:cubicBezTo>
                  <a:pt x="2475783" y="852387"/>
                  <a:pt x="2475294" y="851897"/>
                  <a:pt x="2474315" y="851897"/>
                </a:cubicBezTo>
                <a:cubicBezTo>
                  <a:pt x="2474315" y="851897"/>
                  <a:pt x="2474315" y="851897"/>
                  <a:pt x="2463297" y="851897"/>
                </a:cubicBezTo>
                <a:close/>
                <a:moveTo>
                  <a:pt x="3694814" y="851080"/>
                </a:moveTo>
                <a:cubicBezTo>
                  <a:pt x="3687159" y="851080"/>
                  <a:pt x="3681133" y="854548"/>
                  <a:pt x="3676735" y="861403"/>
                </a:cubicBezTo>
                <a:cubicBezTo>
                  <a:pt x="3676613" y="861607"/>
                  <a:pt x="3676491" y="861688"/>
                  <a:pt x="3676369" y="861648"/>
                </a:cubicBezTo>
                <a:cubicBezTo>
                  <a:pt x="3676206" y="861566"/>
                  <a:pt x="3676124" y="861403"/>
                  <a:pt x="3676124" y="861117"/>
                </a:cubicBezTo>
                <a:cubicBezTo>
                  <a:pt x="3676124" y="861117"/>
                  <a:pt x="3676124" y="861117"/>
                  <a:pt x="3676124" y="853324"/>
                </a:cubicBezTo>
                <a:cubicBezTo>
                  <a:pt x="3676124" y="852345"/>
                  <a:pt x="3675636" y="851855"/>
                  <a:pt x="3674658" y="851855"/>
                </a:cubicBezTo>
                <a:cubicBezTo>
                  <a:pt x="3674658" y="851855"/>
                  <a:pt x="3674658" y="851855"/>
                  <a:pt x="3663502" y="851855"/>
                </a:cubicBezTo>
                <a:cubicBezTo>
                  <a:pt x="3662525" y="851855"/>
                  <a:pt x="3662036" y="852345"/>
                  <a:pt x="3662036" y="853324"/>
                </a:cubicBezTo>
                <a:cubicBezTo>
                  <a:pt x="3662036" y="853324"/>
                  <a:pt x="3662036" y="853324"/>
                  <a:pt x="3662036" y="925342"/>
                </a:cubicBezTo>
                <a:cubicBezTo>
                  <a:pt x="3662036" y="926321"/>
                  <a:pt x="3662525" y="926810"/>
                  <a:pt x="3663502" y="926810"/>
                </a:cubicBezTo>
                <a:cubicBezTo>
                  <a:pt x="3663502" y="926810"/>
                  <a:pt x="3663502" y="926810"/>
                  <a:pt x="3674658" y="926810"/>
                </a:cubicBezTo>
                <a:cubicBezTo>
                  <a:pt x="3675636" y="926810"/>
                  <a:pt x="3676124" y="926321"/>
                  <a:pt x="3676124" y="925342"/>
                </a:cubicBezTo>
                <a:cubicBezTo>
                  <a:pt x="3676124" y="925342"/>
                  <a:pt x="3676124" y="925342"/>
                  <a:pt x="3676124" y="882335"/>
                </a:cubicBezTo>
                <a:cubicBezTo>
                  <a:pt x="3676124" y="877520"/>
                  <a:pt x="3677631" y="873603"/>
                  <a:pt x="3680603" y="870624"/>
                </a:cubicBezTo>
                <a:cubicBezTo>
                  <a:pt x="3683616" y="867605"/>
                  <a:pt x="3687403" y="866014"/>
                  <a:pt x="3692004" y="865850"/>
                </a:cubicBezTo>
                <a:cubicBezTo>
                  <a:pt x="3692004" y="865850"/>
                  <a:pt x="3692004" y="865850"/>
                  <a:pt x="3694081" y="865687"/>
                </a:cubicBezTo>
                <a:cubicBezTo>
                  <a:pt x="3696320" y="865687"/>
                  <a:pt x="3698275" y="866014"/>
                  <a:pt x="3699944" y="866707"/>
                </a:cubicBezTo>
                <a:cubicBezTo>
                  <a:pt x="3701043" y="866993"/>
                  <a:pt x="3701613" y="866707"/>
                  <a:pt x="3701695" y="865850"/>
                </a:cubicBezTo>
                <a:cubicBezTo>
                  <a:pt x="3701695" y="865850"/>
                  <a:pt x="3701695" y="865850"/>
                  <a:pt x="3704056" y="854793"/>
                </a:cubicBezTo>
                <a:cubicBezTo>
                  <a:pt x="3704260" y="853895"/>
                  <a:pt x="3704016" y="853324"/>
                  <a:pt x="3703324" y="852997"/>
                </a:cubicBezTo>
                <a:cubicBezTo>
                  <a:pt x="3700799" y="851733"/>
                  <a:pt x="3697949" y="851080"/>
                  <a:pt x="3694814" y="851080"/>
                </a:cubicBezTo>
                <a:close/>
                <a:moveTo>
                  <a:pt x="3389644" y="851080"/>
                </a:moveTo>
                <a:cubicBezTo>
                  <a:pt x="3381102" y="851080"/>
                  <a:pt x="3374236" y="853043"/>
                  <a:pt x="3369086" y="856929"/>
                </a:cubicBezTo>
                <a:cubicBezTo>
                  <a:pt x="3363895" y="860815"/>
                  <a:pt x="3361320" y="866051"/>
                  <a:pt x="3361320" y="872678"/>
                </a:cubicBezTo>
                <a:cubicBezTo>
                  <a:pt x="3361320" y="877382"/>
                  <a:pt x="3362628" y="881227"/>
                  <a:pt x="3365244" y="884254"/>
                </a:cubicBezTo>
                <a:cubicBezTo>
                  <a:pt x="3367860" y="887240"/>
                  <a:pt x="3371047" y="889572"/>
                  <a:pt x="3374808" y="891208"/>
                </a:cubicBezTo>
                <a:cubicBezTo>
                  <a:pt x="3378609" y="892803"/>
                  <a:pt x="3383309" y="894398"/>
                  <a:pt x="3388908" y="895994"/>
                </a:cubicBezTo>
                <a:cubicBezTo>
                  <a:pt x="3394630" y="897548"/>
                  <a:pt x="3398758" y="899062"/>
                  <a:pt x="3401333" y="900493"/>
                </a:cubicBezTo>
                <a:cubicBezTo>
                  <a:pt x="3403867" y="901925"/>
                  <a:pt x="3405134" y="904052"/>
                  <a:pt x="3405134" y="906916"/>
                </a:cubicBezTo>
                <a:cubicBezTo>
                  <a:pt x="3405134" y="909861"/>
                  <a:pt x="3403785" y="912315"/>
                  <a:pt x="3401006" y="914238"/>
                </a:cubicBezTo>
                <a:cubicBezTo>
                  <a:pt x="3398268" y="916160"/>
                  <a:pt x="3394671" y="917101"/>
                  <a:pt x="3390257" y="917101"/>
                </a:cubicBezTo>
                <a:cubicBezTo>
                  <a:pt x="3385639" y="917101"/>
                  <a:pt x="3381797" y="916078"/>
                  <a:pt x="3378813" y="913992"/>
                </a:cubicBezTo>
                <a:cubicBezTo>
                  <a:pt x="3375830" y="911947"/>
                  <a:pt x="3374317" y="909533"/>
                  <a:pt x="3374317" y="906752"/>
                </a:cubicBezTo>
                <a:cubicBezTo>
                  <a:pt x="3374317" y="906752"/>
                  <a:pt x="3374317" y="906752"/>
                  <a:pt x="3374317" y="906016"/>
                </a:cubicBezTo>
                <a:cubicBezTo>
                  <a:pt x="3374317" y="905034"/>
                  <a:pt x="3373827" y="904543"/>
                  <a:pt x="3372846" y="904543"/>
                </a:cubicBezTo>
                <a:cubicBezTo>
                  <a:pt x="3372846" y="904543"/>
                  <a:pt x="3372846" y="904543"/>
                  <a:pt x="3362219" y="904543"/>
                </a:cubicBezTo>
                <a:cubicBezTo>
                  <a:pt x="3361238" y="904543"/>
                  <a:pt x="3360748" y="905034"/>
                  <a:pt x="3360748" y="906016"/>
                </a:cubicBezTo>
                <a:cubicBezTo>
                  <a:pt x="3360748" y="906016"/>
                  <a:pt x="3360748" y="906016"/>
                  <a:pt x="3360748" y="907652"/>
                </a:cubicBezTo>
                <a:cubicBezTo>
                  <a:pt x="3360748" y="911374"/>
                  <a:pt x="3361974" y="914810"/>
                  <a:pt x="3364426" y="917919"/>
                </a:cubicBezTo>
                <a:cubicBezTo>
                  <a:pt x="3366879" y="921028"/>
                  <a:pt x="3370353" y="923441"/>
                  <a:pt x="3374808" y="925241"/>
                </a:cubicBezTo>
                <a:cubicBezTo>
                  <a:pt x="3379304" y="927000"/>
                  <a:pt x="3384494" y="927900"/>
                  <a:pt x="3390380" y="927900"/>
                </a:cubicBezTo>
                <a:cubicBezTo>
                  <a:pt x="3399167" y="927900"/>
                  <a:pt x="3406156" y="925896"/>
                  <a:pt x="3411428" y="921969"/>
                </a:cubicBezTo>
                <a:cubicBezTo>
                  <a:pt x="3416660" y="918042"/>
                  <a:pt x="3419317" y="912724"/>
                  <a:pt x="3419317" y="906016"/>
                </a:cubicBezTo>
                <a:cubicBezTo>
                  <a:pt x="3419317" y="901189"/>
                  <a:pt x="3417968" y="897303"/>
                  <a:pt x="3415311" y="894276"/>
                </a:cubicBezTo>
                <a:cubicBezTo>
                  <a:pt x="3412654" y="891290"/>
                  <a:pt x="3409467" y="889040"/>
                  <a:pt x="3405666" y="887485"/>
                </a:cubicBezTo>
                <a:cubicBezTo>
                  <a:pt x="3401865" y="885972"/>
                  <a:pt x="3397124" y="884418"/>
                  <a:pt x="3391442" y="882863"/>
                </a:cubicBezTo>
                <a:cubicBezTo>
                  <a:pt x="3385639" y="881186"/>
                  <a:pt x="3381429" y="879591"/>
                  <a:pt x="3378813" y="878118"/>
                </a:cubicBezTo>
                <a:cubicBezTo>
                  <a:pt x="3376197" y="876646"/>
                  <a:pt x="3374889" y="874478"/>
                  <a:pt x="3374889" y="871614"/>
                </a:cubicBezTo>
                <a:cubicBezTo>
                  <a:pt x="3374889" y="868751"/>
                  <a:pt x="3376238" y="866501"/>
                  <a:pt x="3378936" y="864824"/>
                </a:cubicBezTo>
                <a:cubicBezTo>
                  <a:pt x="3381674" y="863147"/>
                  <a:pt x="3385189" y="862329"/>
                  <a:pt x="3389521" y="862329"/>
                </a:cubicBezTo>
                <a:cubicBezTo>
                  <a:pt x="3394344" y="862329"/>
                  <a:pt x="3398145" y="863269"/>
                  <a:pt x="3400925" y="865192"/>
                </a:cubicBezTo>
                <a:cubicBezTo>
                  <a:pt x="3403745" y="867115"/>
                  <a:pt x="3405134" y="869487"/>
                  <a:pt x="3405134" y="872350"/>
                </a:cubicBezTo>
                <a:cubicBezTo>
                  <a:pt x="3405134" y="872350"/>
                  <a:pt x="3405134" y="872350"/>
                  <a:pt x="3405134" y="872800"/>
                </a:cubicBezTo>
                <a:cubicBezTo>
                  <a:pt x="3405134" y="873782"/>
                  <a:pt x="3405625" y="874273"/>
                  <a:pt x="3406606" y="874273"/>
                </a:cubicBezTo>
                <a:cubicBezTo>
                  <a:pt x="3406606" y="874273"/>
                  <a:pt x="3406606" y="874273"/>
                  <a:pt x="3416946" y="874273"/>
                </a:cubicBezTo>
                <a:cubicBezTo>
                  <a:pt x="3417927" y="874273"/>
                  <a:pt x="3418418" y="873782"/>
                  <a:pt x="3418418" y="872800"/>
                </a:cubicBezTo>
                <a:cubicBezTo>
                  <a:pt x="3418418" y="872800"/>
                  <a:pt x="3418418" y="872800"/>
                  <a:pt x="3418418" y="872350"/>
                </a:cubicBezTo>
                <a:cubicBezTo>
                  <a:pt x="3418418" y="868342"/>
                  <a:pt x="3417232" y="864660"/>
                  <a:pt x="3414902" y="861429"/>
                </a:cubicBezTo>
                <a:cubicBezTo>
                  <a:pt x="3412532" y="858197"/>
                  <a:pt x="3409140" y="855661"/>
                  <a:pt x="3404766" y="853820"/>
                </a:cubicBezTo>
                <a:cubicBezTo>
                  <a:pt x="3400393" y="852020"/>
                  <a:pt x="3395366" y="851080"/>
                  <a:pt x="3389644" y="851080"/>
                </a:cubicBezTo>
                <a:close/>
                <a:moveTo>
                  <a:pt x="2789254" y="851080"/>
                </a:moveTo>
                <a:cubicBezTo>
                  <a:pt x="2781590" y="851080"/>
                  <a:pt x="2775525" y="854548"/>
                  <a:pt x="2771058" y="861403"/>
                </a:cubicBezTo>
                <a:cubicBezTo>
                  <a:pt x="2770976" y="861607"/>
                  <a:pt x="2770854" y="861688"/>
                  <a:pt x="2770690" y="861648"/>
                </a:cubicBezTo>
                <a:cubicBezTo>
                  <a:pt x="2770567" y="861566"/>
                  <a:pt x="2770485" y="861403"/>
                  <a:pt x="2770485" y="861117"/>
                </a:cubicBezTo>
                <a:cubicBezTo>
                  <a:pt x="2770485" y="861117"/>
                  <a:pt x="2770485" y="861117"/>
                  <a:pt x="2770485" y="853324"/>
                </a:cubicBezTo>
                <a:cubicBezTo>
                  <a:pt x="2770485" y="852345"/>
                  <a:pt x="2769993" y="851855"/>
                  <a:pt x="2769010" y="851855"/>
                </a:cubicBezTo>
                <a:cubicBezTo>
                  <a:pt x="2769010" y="851855"/>
                  <a:pt x="2769010" y="851855"/>
                  <a:pt x="2757740" y="851855"/>
                </a:cubicBezTo>
                <a:cubicBezTo>
                  <a:pt x="2756756" y="851855"/>
                  <a:pt x="2756265" y="852345"/>
                  <a:pt x="2756265" y="853324"/>
                </a:cubicBezTo>
                <a:cubicBezTo>
                  <a:pt x="2756265" y="853324"/>
                  <a:pt x="2756265" y="853324"/>
                  <a:pt x="2756265" y="925342"/>
                </a:cubicBezTo>
                <a:cubicBezTo>
                  <a:pt x="2756265" y="926321"/>
                  <a:pt x="2756756" y="926810"/>
                  <a:pt x="2757740" y="926810"/>
                </a:cubicBezTo>
                <a:cubicBezTo>
                  <a:pt x="2757740" y="926810"/>
                  <a:pt x="2757740" y="926810"/>
                  <a:pt x="2769010" y="926810"/>
                </a:cubicBezTo>
                <a:cubicBezTo>
                  <a:pt x="2769993" y="926810"/>
                  <a:pt x="2770485" y="926321"/>
                  <a:pt x="2770485" y="925342"/>
                </a:cubicBezTo>
                <a:cubicBezTo>
                  <a:pt x="2770485" y="925342"/>
                  <a:pt x="2770485" y="925342"/>
                  <a:pt x="2770485" y="882335"/>
                </a:cubicBezTo>
                <a:cubicBezTo>
                  <a:pt x="2770485" y="877520"/>
                  <a:pt x="2771960" y="873603"/>
                  <a:pt x="2774993" y="870624"/>
                </a:cubicBezTo>
                <a:cubicBezTo>
                  <a:pt x="2777984" y="867605"/>
                  <a:pt x="2781836" y="866014"/>
                  <a:pt x="2786467" y="865850"/>
                </a:cubicBezTo>
                <a:cubicBezTo>
                  <a:pt x="2786467" y="865850"/>
                  <a:pt x="2786467" y="865850"/>
                  <a:pt x="2788516" y="865687"/>
                </a:cubicBezTo>
                <a:cubicBezTo>
                  <a:pt x="2790811" y="865687"/>
                  <a:pt x="2792778" y="866014"/>
                  <a:pt x="2794458" y="866707"/>
                </a:cubicBezTo>
                <a:cubicBezTo>
                  <a:pt x="2795524" y="866993"/>
                  <a:pt x="2796139" y="866707"/>
                  <a:pt x="2796220" y="865850"/>
                </a:cubicBezTo>
                <a:cubicBezTo>
                  <a:pt x="2796220" y="865850"/>
                  <a:pt x="2796220" y="865850"/>
                  <a:pt x="2798597" y="854793"/>
                </a:cubicBezTo>
                <a:cubicBezTo>
                  <a:pt x="2798761" y="853895"/>
                  <a:pt x="2798515" y="853324"/>
                  <a:pt x="2797860" y="852997"/>
                </a:cubicBezTo>
                <a:cubicBezTo>
                  <a:pt x="2795278" y="851733"/>
                  <a:pt x="2792409" y="851080"/>
                  <a:pt x="2789254" y="851080"/>
                </a:cubicBezTo>
                <a:close/>
                <a:moveTo>
                  <a:pt x="3947479" y="850807"/>
                </a:moveTo>
                <a:cubicBezTo>
                  <a:pt x="3939236" y="850807"/>
                  <a:pt x="3932992" y="853500"/>
                  <a:pt x="3928749" y="858926"/>
                </a:cubicBezTo>
                <a:cubicBezTo>
                  <a:pt x="3928667" y="859130"/>
                  <a:pt x="3928545" y="859170"/>
                  <a:pt x="3928381" y="859048"/>
                </a:cubicBezTo>
                <a:cubicBezTo>
                  <a:pt x="3928259" y="858967"/>
                  <a:pt x="3928177" y="858803"/>
                  <a:pt x="3928177" y="858640"/>
                </a:cubicBezTo>
                <a:cubicBezTo>
                  <a:pt x="3928177" y="858640"/>
                  <a:pt x="3928177" y="858640"/>
                  <a:pt x="3928177" y="853337"/>
                </a:cubicBezTo>
                <a:cubicBezTo>
                  <a:pt x="3928177" y="852357"/>
                  <a:pt x="3927688" y="851868"/>
                  <a:pt x="3926708" y="851868"/>
                </a:cubicBezTo>
                <a:cubicBezTo>
                  <a:pt x="3926708" y="851868"/>
                  <a:pt x="3926708" y="851868"/>
                  <a:pt x="3915528" y="851868"/>
                </a:cubicBezTo>
                <a:cubicBezTo>
                  <a:pt x="3914548" y="851868"/>
                  <a:pt x="3914018" y="852357"/>
                  <a:pt x="3914018" y="853337"/>
                </a:cubicBezTo>
                <a:cubicBezTo>
                  <a:pt x="3914018" y="853337"/>
                  <a:pt x="3914018" y="853337"/>
                  <a:pt x="3914018" y="925342"/>
                </a:cubicBezTo>
                <a:cubicBezTo>
                  <a:pt x="3914018" y="926321"/>
                  <a:pt x="3914548" y="926811"/>
                  <a:pt x="3915528" y="926811"/>
                </a:cubicBezTo>
                <a:cubicBezTo>
                  <a:pt x="3915528" y="926811"/>
                  <a:pt x="3915528" y="926811"/>
                  <a:pt x="3926708" y="926811"/>
                </a:cubicBezTo>
                <a:cubicBezTo>
                  <a:pt x="3927688" y="926811"/>
                  <a:pt x="3928177" y="926321"/>
                  <a:pt x="3928177" y="925342"/>
                </a:cubicBezTo>
                <a:cubicBezTo>
                  <a:pt x="3928177" y="925342"/>
                  <a:pt x="3928177" y="925342"/>
                  <a:pt x="3928177" y="879405"/>
                </a:cubicBezTo>
                <a:cubicBezTo>
                  <a:pt x="3928177" y="874591"/>
                  <a:pt x="3929646" y="870634"/>
                  <a:pt x="3932584" y="867615"/>
                </a:cubicBezTo>
                <a:cubicBezTo>
                  <a:pt x="3935563" y="864556"/>
                  <a:pt x="3939317" y="863046"/>
                  <a:pt x="3943928" y="863046"/>
                </a:cubicBezTo>
                <a:cubicBezTo>
                  <a:pt x="3948662" y="863046"/>
                  <a:pt x="3952416" y="864556"/>
                  <a:pt x="3955273" y="867615"/>
                </a:cubicBezTo>
                <a:cubicBezTo>
                  <a:pt x="3958129" y="870634"/>
                  <a:pt x="3959557" y="874632"/>
                  <a:pt x="3959557" y="879528"/>
                </a:cubicBezTo>
                <a:cubicBezTo>
                  <a:pt x="3959557" y="879528"/>
                  <a:pt x="3959557" y="879528"/>
                  <a:pt x="3959557" y="925342"/>
                </a:cubicBezTo>
                <a:cubicBezTo>
                  <a:pt x="3959557" y="926321"/>
                  <a:pt x="3960047" y="926811"/>
                  <a:pt x="3961026" y="926811"/>
                </a:cubicBezTo>
                <a:cubicBezTo>
                  <a:pt x="3961026" y="926811"/>
                  <a:pt x="3961026" y="926811"/>
                  <a:pt x="3972207" y="926811"/>
                </a:cubicBezTo>
                <a:cubicBezTo>
                  <a:pt x="3973186" y="926811"/>
                  <a:pt x="3973676" y="926321"/>
                  <a:pt x="3973676" y="925342"/>
                </a:cubicBezTo>
                <a:cubicBezTo>
                  <a:pt x="3973676" y="925342"/>
                  <a:pt x="3973676" y="925342"/>
                  <a:pt x="3973676" y="876754"/>
                </a:cubicBezTo>
                <a:cubicBezTo>
                  <a:pt x="3973676" y="868798"/>
                  <a:pt x="3971350" y="862475"/>
                  <a:pt x="3966617" y="857824"/>
                </a:cubicBezTo>
                <a:cubicBezTo>
                  <a:pt x="3961924" y="853133"/>
                  <a:pt x="3955517" y="850807"/>
                  <a:pt x="3947479" y="850807"/>
                </a:cubicBezTo>
                <a:close/>
                <a:moveTo>
                  <a:pt x="3863792" y="850807"/>
                </a:moveTo>
                <a:cubicBezTo>
                  <a:pt x="3856213" y="850807"/>
                  <a:pt x="3849815" y="852764"/>
                  <a:pt x="3844518" y="856677"/>
                </a:cubicBezTo>
                <a:cubicBezTo>
                  <a:pt x="3839221" y="860590"/>
                  <a:pt x="3835676" y="865930"/>
                  <a:pt x="3833924" y="872737"/>
                </a:cubicBezTo>
                <a:cubicBezTo>
                  <a:pt x="3832824" y="876446"/>
                  <a:pt x="3832294" y="881908"/>
                  <a:pt x="3832294" y="889042"/>
                </a:cubicBezTo>
                <a:cubicBezTo>
                  <a:pt x="3832294" y="897275"/>
                  <a:pt x="3833476" y="904286"/>
                  <a:pt x="3835839" y="910075"/>
                </a:cubicBezTo>
                <a:cubicBezTo>
                  <a:pt x="3838284" y="915862"/>
                  <a:pt x="3841951" y="920346"/>
                  <a:pt x="3846841" y="923485"/>
                </a:cubicBezTo>
                <a:cubicBezTo>
                  <a:pt x="3851771" y="926624"/>
                  <a:pt x="3857802" y="928173"/>
                  <a:pt x="3864933" y="928173"/>
                </a:cubicBezTo>
                <a:cubicBezTo>
                  <a:pt x="3871330" y="928173"/>
                  <a:pt x="3877035" y="926909"/>
                  <a:pt x="3882088" y="924341"/>
                </a:cubicBezTo>
                <a:cubicBezTo>
                  <a:pt x="3887140" y="921814"/>
                  <a:pt x="3891052" y="918349"/>
                  <a:pt x="3893782" y="913906"/>
                </a:cubicBezTo>
                <a:cubicBezTo>
                  <a:pt x="3894190" y="913213"/>
                  <a:pt x="3894026" y="912602"/>
                  <a:pt x="3893334" y="911990"/>
                </a:cubicBezTo>
                <a:cubicBezTo>
                  <a:pt x="3893334" y="911990"/>
                  <a:pt x="3893334" y="911990"/>
                  <a:pt x="3884940" y="906406"/>
                </a:cubicBezTo>
                <a:cubicBezTo>
                  <a:pt x="3884166" y="905713"/>
                  <a:pt x="3883514" y="905876"/>
                  <a:pt x="3883025" y="906854"/>
                </a:cubicBezTo>
                <a:cubicBezTo>
                  <a:pt x="3879113" y="912846"/>
                  <a:pt x="3873530" y="915822"/>
                  <a:pt x="3866277" y="915822"/>
                </a:cubicBezTo>
                <a:cubicBezTo>
                  <a:pt x="3861266" y="915822"/>
                  <a:pt x="3857150" y="914721"/>
                  <a:pt x="3853849" y="912520"/>
                </a:cubicBezTo>
                <a:cubicBezTo>
                  <a:pt x="3850549" y="910319"/>
                  <a:pt x="3848389" y="907262"/>
                  <a:pt x="3847289" y="903308"/>
                </a:cubicBezTo>
                <a:cubicBezTo>
                  <a:pt x="3846719" y="901555"/>
                  <a:pt x="3846433" y="898987"/>
                  <a:pt x="3846433" y="895686"/>
                </a:cubicBezTo>
                <a:cubicBezTo>
                  <a:pt x="3846433" y="895278"/>
                  <a:pt x="3846596" y="895074"/>
                  <a:pt x="3847004" y="895074"/>
                </a:cubicBezTo>
                <a:cubicBezTo>
                  <a:pt x="3847004" y="895074"/>
                  <a:pt x="3847004" y="895074"/>
                  <a:pt x="3893945" y="895074"/>
                </a:cubicBezTo>
                <a:cubicBezTo>
                  <a:pt x="3894923" y="895074"/>
                  <a:pt x="3895412" y="894585"/>
                  <a:pt x="3895412" y="893607"/>
                </a:cubicBezTo>
                <a:cubicBezTo>
                  <a:pt x="3895494" y="888593"/>
                  <a:pt x="3895371" y="884109"/>
                  <a:pt x="3894964" y="880074"/>
                </a:cubicBezTo>
                <a:cubicBezTo>
                  <a:pt x="3893864" y="870454"/>
                  <a:pt x="3890889" y="863199"/>
                  <a:pt x="3885999" y="858226"/>
                </a:cubicBezTo>
                <a:cubicBezTo>
                  <a:pt x="3881069" y="853253"/>
                  <a:pt x="3873694" y="850807"/>
                  <a:pt x="3863792" y="850807"/>
                </a:cubicBezTo>
                <a:close/>
                <a:moveTo>
                  <a:pt x="3741466" y="850807"/>
                </a:moveTo>
                <a:cubicBezTo>
                  <a:pt x="3734974" y="850807"/>
                  <a:pt x="3729338" y="852602"/>
                  <a:pt x="3724601" y="856152"/>
                </a:cubicBezTo>
                <a:cubicBezTo>
                  <a:pt x="3719824" y="859742"/>
                  <a:pt x="3716516" y="864475"/>
                  <a:pt x="3714637" y="870391"/>
                </a:cubicBezTo>
                <a:cubicBezTo>
                  <a:pt x="3713167" y="874797"/>
                  <a:pt x="3712432" y="881080"/>
                  <a:pt x="3712432" y="889240"/>
                </a:cubicBezTo>
                <a:cubicBezTo>
                  <a:pt x="3712432" y="896910"/>
                  <a:pt x="3713086" y="902866"/>
                  <a:pt x="3714352" y="907191"/>
                </a:cubicBezTo>
                <a:cubicBezTo>
                  <a:pt x="3716312" y="913678"/>
                  <a:pt x="3719864" y="918574"/>
                  <a:pt x="3725010" y="921919"/>
                </a:cubicBezTo>
                <a:cubicBezTo>
                  <a:pt x="3730196" y="925265"/>
                  <a:pt x="3735954" y="926938"/>
                  <a:pt x="3742365" y="926938"/>
                </a:cubicBezTo>
                <a:cubicBezTo>
                  <a:pt x="3750328" y="926938"/>
                  <a:pt x="3756371" y="924531"/>
                  <a:pt x="3760496" y="919716"/>
                </a:cubicBezTo>
                <a:cubicBezTo>
                  <a:pt x="3760700" y="919512"/>
                  <a:pt x="3760863" y="919472"/>
                  <a:pt x="3760986" y="919553"/>
                </a:cubicBezTo>
                <a:cubicBezTo>
                  <a:pt x="3761149" y="919675"/>
                  <a:pt x="3761231" y="919798"/>
                  <a:pt x="3761231" y="920002"/>
                </a:cubicBezTo>
                <a:cubicBezTo>
                  <a:pt x="3761231" y="920002"/>
                  <a:pt x="3761231" y="920002"/>
                  <a:pt x="3761231" y="922654"/>
                </a:cubicBezTo>
                <a:cubicBezTo>
                  <a:pt x="3761231" y="930038"/>
                  <a:pt x="3759352" y="935261"/>
                  <a:pt x="3755636" y="938361"/>
                </a:cubicBezTo>
                <a:cubicBezTo>
                  <a:pt x="3751879" y="941462"/>
                  <a:pt x="3745836" y="942971"/>
                  <a:pt x="3737505" y="942971"/>
                </a:cubicBezTo>
                <a:cubicBezTo>
                  <a:pt x="3734851" y="942971"/>
                  <a:pt x="3732809" y="942931"/>
                  <a:pt x="3731462" y="942849"/>
                </a:cubicBezTo>
                <a:cubicBezTo>
                  <a:pt x="3730931" y="942727"/>
                  <a:pt x="3730563" y="942849"/>
                  <a:pt x="3730277" y="943135"/>
                </a:cubicBezTo>
                <a:cubicBezTo>
                  <a:pt x="3729992" y="943420"/>
                  <a:pt x="3729828" y="943788"/>
                  <a:pt x="3729828" y="944155"/>
                </a:cubicBezTo>
                <a:cubicBezTo>
                  <a:pt x="3729828" y="944155"/>
                  <a:pt x="3729828" y="944155"/>
                  <a:pt x="3729379" y="954314"/>
                </a:cubicBezTo>
                <a:cubicBezTo>
                  <a:pt x="3729379" y="955293"/>
                  <a:pt x="3729869" y="955864"/>
                  <a:pt x="3730849" y="955946"/>
                </a:cubicBezTo>
                <a:cubicBezTo>
                  <a:pt x="3734198" y="956150"/>
                  <a:pt x="3736648" y="956231"/>
                  <a:pt x="3738240" y="956231"/>
                </a:cubicBezTo>
                <a:cubicBezTo>
                  <a:pt x="3749511" y="956231"/>
                  <a:pt x="3758536" y="953702"/>
                  <a:pt x="3765273" y="948602"/>
                </a:cubicBezTo>
                <a:cubicBezTo>
                  <a:pt x="3772011" y="943461"/>
                  <a:pt x="3775360" y="934975"/>
                  <a:pt x="3775360" y="923103"/>
                </a:cubicBezTo>
                <a:cubicBezTo>
                  <a:pt x="3775360" y="923103"/>
                  <a:pt x="3775360" y="923103"/>
                  <a:pt x="3775360" y="853459"/>
                </a:cubicBezTo>
                <a:cubicBezTo>
                  <a:pt x="3775360" y="852480"/>
                  <a:pt x="3774870" y="851990"/>
                  <a:pt x="3773890" y="851990"/>
                </a:cubicBezTo>
                <a:cubicBezTo>
                  <a:pt x="3773890" y="851990"/>
                  <a:pt x="3773890" y="851990"/>
                  <a:pt x="3762701" y="851990"/>
                </a:cubicBezTo>
                <a:cubicBezTo>
                  <a:pt x="3761721" y="851990"/>
                  <a:pt x="3761231" y="852480"/>
                  <a:pt x="3761231" y="853459"/>
                </a:cubicBezTo>
                <a:cubicBezTo>
                  <a:pt x="3761231" y="853459"/>
                  <a:pt x="3761231" y="853459"/>
                  <a:pt x="3761231" y="858029"/>
                </a:cubicBezTo>
                <a:cubicBezTo>
                  <a:pt x="3761231" y="858192"/>
                  <a:pt x="3761149" y="858314"/>
                  <a:pt x="3760986" y="858396"/>
                </a:cubicBezTo>
                <a:cubicBezTo>
                  <a:pt x="3760863" y="858437"/>
                  <a:pt x="3760700" y="858355"/>
                  <a:pt x="3760496" y="858151"/>
                </a:cubicBezTo>
                <a:cubicBezTo>
                  <a:pt x="3755881" y="853255"/>
                  <a:pt x="3749511" y="850807"/>
                  <a:pt x="3741466" y="850807"/>
                </a:cubicBezTo>
                <a:close/>
                <a:moveTo>
                  <a:pt x="3611905" y="850807"/>
                </a:moveTo>
                <a:cubicBezTo>
                  <a:pt x="3604334" y="850807"/>
                  <a:pt x="3597909" y="852764"/>
                  <a:pt x="3592589" y="856677"/>
                </a:cubicBezTo>
                <a:cubicBezTo>
                  <a:pt x="3587269" y="860590"/>
                  <a:pt x="3583709" y="865930"/>
                  <a:pt x="3581949" y="872737"/>
                </a:cubicBezTo>
                <a:cubicBezTo>
                  <a:pt x="3580844" y="876446"/>
                  <a:pt x="3580312" y="881908"/>
                  <a:pt x="3580312" y="889042"/>
                </a:cubicBezTo>
                <a:cubicBezTo>
                  <a:pt x="3580312" y="897275"/>
                  <a:pt x="3581499" y="904286"/>
                  <a:pt x="3583873" y="910075"/>
                </a:cubicBezTo>
                <a:cubicBezTo>
                  <a:pt x="3586328" y="915862"/>
                  <a:pt x="3590011" y="920346"/>
                  <a:pt x="3594922" y="923485"/>
                </a:cubicBezTo>
                <a:cubicBezTo>
                  <a:pt x="3599874" y="926624"/>
                  <a:pt x="3605930" y="928173"/>
                  <a:pt x="3613092" y="928173"/>
                </a:cubicBezTo>
                <a:cubicBezTo>
                  <a:pt x="3619517" y="928173"/>
                  <a:pt x="3625246" y="926909"/>
                  <a:pt x="3630321" y="924341"/>
                </a:cubicBezTo>
                <a:cubicBezTo>
                  <a:pt x="3635395" y="921814"/>
                  <a:pt x="3639324" y="918349"/>
                  <a:pt x="3642066" y="913906"/>
                </a:cubicBezTo>
                <a:cubicBezTo>
                  <a:pt x="3642434" y="913213"/>
                  <a:pt x="3642311" y="912602"/>
                  <a:pt x="3641616" y="911990"/>
                </a:cubicBezTo>
                <a:cubicBezTo>
                  <a:pt x="3641616" y="911990"/>
                  <a:pt x="3641616" y="911990"/>
                  <a:pt x="3633185" y="906406"/>
                </a:cubicBezTo>
                <a:cubicBezTo>
                  <a:pt x="3632408" y="905713"/>
                  <a:pt x="3631753" y="905876"/>
                  <a:pt x="3631262" y="906854"/>
                </a:cubicBezTo>
                <a:cubicBezTo>
                  <a:pt x="3627333" y="912846"/>
                  <a:pt x="3621727" y="915822"/>
                  <a:pt x="3614442" y="915822"/>
                </a:cubicBezTo>
                <a:cubicBezTo>
                  <a:pt x="3609409" y="915822"/>
                  <a:pt x="3605235" y="914721"/>
                  <a:pt x="3601961" y="912520"/>
                </a:cubicBezTo>
                <a:cubicBezTo>
                  <a:pt x="3598646" y="910319"/>
                  <a:pt x="3596477" y="907262"/>
                  <a:pt x="3595372" y="903308"/>
                </a:cubicBezTo>
                <a:cubicBezTo>
                  <a:pt x="3594799" y="901555"/>
                  <a:pt x="3594513" y="898987"/>
                  <a:pt x="3594513" y="895686"/>
                </a:cubicBezTo>
                <a:cubicBezTo>
                  <a:pt x="3594513" y="895278"/>
                  <a:pt x="3594676" y="895074"/>
                  <a:pt x="3595086" y="895074"/>
                </a:cubicBezTo>
                <a:cubicBezTo>
                  <a:pt x="3595086" y="895074"/>
                  <a:pt x="3595086" y="895074"/>
                  <a:pt x="3642188" y="895074"/>
                </a:cubicBezTo>
                <a:cubicBezTo>
                  <a:pt x="3643171" y="895074"/>
                  <a:pt x="3643703" y="894585"/>
                  <a:pt x="3643703" y="893607"/>
                </a:cubicBezTo>
                <a:cubicBezTo>
                  <a:pt x="3643784" y="888593"/>
                  <a:pt x="3643621" y="884109"/>
                  <a:pt x="3643253" y="880074"/>
                </a:cubicBezTo>
                <a:cubicBezTo>
                  <a:pt x="3642148" y="870454"/>
                  <a:pt x="3639160" y="863199"/>
                  <a:pt x="3634249" y="858226"/>
                </a:cubicBezTo>
                <a:cubicBezTo>
                  <a:pt x="3629298" y="853253"/>
                  <a:pt x="3621890" y="850807"/>
                  <a:pt x="3611905" y="850807"/>
                </a:cubicBezTo>
                <a:close/>
                <a:moveTo>
                  <a:pt x="3536095" y="850807"/>
                </a:moveTo>
                <a:cubicBezTo>
                  <a:pt x="3527852" y="850807"/>
                  <a:pt x="3521609" y="853500"/>
                  <a:pt x="3517406" y="858926"/>
                </a:cubicBezTo>
                <a:cubicBezTo>
                  <a:pt x="3517283" y="859130"/>
                  <a:pt x="3517161" y="859170"/>
                  <a:pt x="3517038" y="859048"/>
                </a:cubicBezTo>
                <a:cubicBezTo>
                  <a:pt x="3516875" y="858967"/>
                  <a:pt x="3516794" y="858803"/>
                  <a:pt x="3516794" y="858640"/>
                </a:cubicBezTo>
                <a:cubicBezTo>
                  <a:pt x="3516794" y="858640"/>
                  <a:pt x="3516794" y="858640"/>
                  <a:pt x="3516794" y="853337"/>
                </a:cubicBezTo>
                <a:cubicBezTo>
                  <a:pt x="3516794" y="852357"/>
                  <a:pt x="3516304" y="851868"/>
                  <a:pt x="3515325" y="851868"/>
                </a:cubicBezTo>
                <a:cubicBezTo>
                  <a:pt x="3515325" y="851868"/>
                  <a:pt x="3515325" y="851868"/>
                  <a:pt x="3504144" y="851868"/>
                </a:cubicBezTo>
                <a:cubicBezTo>
                  <a:pt x="3503164" y="851868"/>
                  <a:pt x="3502675" y="852357"/>
                  <a:pt x="3502675" y="853337"/>
                </a:cubicBezTo>
                <a:cubicBezTo>
                  <a:pt x="3502675" y="853337"/>
                  <a:pt x="3502675" y="853337"/>
                  <a:pt x="3502675" y="925342"/>
                </a:cubicBezTo>
                <a:cubicBezTo>
                  <a:pt x="3502675" y="926321"/>
                  <a:pt x="3503164" y="926811"/>
                  <a:pt x="3504144" y="926811"/>
                </a:cubicBezTo>
                <a:cubicBezTo>
                  <a:pt x="3504144" y="926811"/>
                  <a:pt x="3504144" y="926811"/>
                  <a:pt x="3515325" y="926811"/>
                </a:cubicBezTo>
                <a:cubicBezTo>
                  <a:pt x="3516304" y="926811"/>
                  <a:pt x="3516794" y="926321"/>
                  <a:pt x="3516794" y="925342"/>
                </a:cubicBezTo>
                <a:cubicBezTo>
                  <a:pt x="3516794" y="925342"/>
                  <a:pt x="3516794" y="925342"/>
                  <a:pt x="3516794" y="879405"/>
                </a:cubicBezTo>
                <a:cubicBezTo>
                  <a:pt x="3516794" y="874591"/>
                  <a:pt x="3518262" y="870634"/>
                  <a:pt x="3521201" y="867615"/>
                </a:cubicBezTo>
                <a:cubicBezTo>
                  <a:pt x="3524179" y="864556"/>
                  <a:pt x="3527934" y="863046"/>
                  <a:pt x="3532545" y="863046"/>
                </a:cubicBezTo>
                <a:cubicBezTo>
                  <a:pt x="3537278" y="863046"/>
                  <a:pt x="3541032" y="864556"/>
                  <a:pt x="3543889" y="867615"/>
                </a:cubicBezTo>
                <a:cubicBezTo>
                  <a:pt x="3546745" y="870634"/>
                  <a:pt x="3548173" y="874632"/>
                  <a:pt x="3548173" y="879528"/>
                </a:cubicBezTo>
                <a:cubicBezTo>
                  <a:pt x="3548173" y="879528"/>
                  <a:pt x="3548173" y="879528"/>
                  <a:pt x="3548173" y="925342"/>
                </a:cubicBezTo>
                <a:cubicBezTo>
                  <a:pt x="3548173" y="926321"/>
                  <a:pt x="3548663" y="926811"/>
                  <a:pt x="3549642" y="926811"/>
                </a:cubicBezTo>
                <a:cubicBezTo>
                  <a:pt x="3549642" y="926811"/>
                  <a:pt x="3549642" y="926811"/>
                  <a:pt x="3560823" y="926811"/>
                </a:cubicBezTo>
                <a:cubicBezTo>
                  <a:pt x="3561843" y="926811"/>
                  <a:pt x="3562333" y="926321"/>
                  <a:pt x="3562333" y="925342"/>
                </a:cubicBezTo>
                <a:cubicBezTo>
                  <a:pt x="3562333" y="925342"/>
                  <a:pt x="3562333" y="925342"/>
                  <a:pt x="3562333" y="876754"/>
                </a:cubicBezTo>
                <a:cubicBezTo>
                  <a:pt x="3562333" y="868798"/>
                  <a:pt x="3559966" y="862475"/>
                  <a:pt x="3555233" y="857824"/>
                </a:cubicBezTo>
                <a:cubicBezTo>
                  <a:pt x="3550540" y="853133"/>
                  <a:pt x="3544134" y="850807"/>
                  <a:pt x="3536095" y="850807"/>
                </a:cubicBezTo>
                <a:close/>
                <a:moveTo>
                  <a:pt x="3286606" y="850807"/>
                </a:moveTo>
                <a:cubicBezTo>
                  <a:pt x="3278363" y="850807"/>
                  <a:pt x="3272120" y="853500"/>
                  <a:pt x="3267876" y="858926"/>
                </a:cubicBezTo>
                <a:cubicBezTo>
                  <a:pt x="3267794" y="859130"/>
                  <a:pt x="3267672" y="859170"/>
                  <a:pt x="3267508" y="859048"/>
                </a:cubicBezTo>
                <a:cubicBezTo>
                  <a:pt x="3267386" y="858967"/>
                  <a:pt x="3267304" y="858803"/>
                  <a:pt x="3267304" y="858640"/>
                </a:cubicBezTo>
                <a:cubicBezTo>
                  <a:pt x="3267304" y="858640"/>
                  <a:pt x="3267304" y="858640"/>
                  <a:pt x="3267304" y="853337"/>
                </a:cubicBezTo>
                <a:cubicBezTo>
                  <a:pt x="3267304" y="852357"/>
                  <a:pt x="3266815" y="851868"/>
                  <a:pt x="3265836" y="851868"/>
                </a:cubicBezTo>
                <a:cubicBezTo>
                  <a:pt x="3265836" y="851868"/>
                  <a:pt x="3265836" y="851868"/>
                  <a:pt x="3254614" y="851868"/>
                </a:cubicBezTo>
                <a:cubicBezTo>
                  <a:pt x="3253635" y="851868"/>
                  <a:pt x="3253145" y="852357"/>
                  <a:pt x="3253145" y="853337"/>
                </a:cubicBezTo>
                <a:cubicBezTo>
                  <a:pt x="3253145" y="853337"/>
                  <a:pt x="3253145" y="853337"/>
                  <a:pt x="3253145" y="925342"/>
                </a:cubicBezTo>
                <a:cubicBezTo>
                  <a:pt x="3253145" y="926321"/>
                  <a:pt x="3253635" y="926811"/>
                  <a:pt x="3254614" y="926811"/>
                </a:cubicBezTo>
                <a:cubicBezTo>
                  <a:pt x="3254614" y="926811"/>
                  <a:pt x="3254614" y="926811"/>
                  <a:pt x="3265836" y="926811"/>
                </a:cubicBezTo>
                <a:cubicBezTo>
                  <a:pt x="3266815" y="926811"/>
                  <a:pt x="3267304" y="926321"/>
                  <a:pt x="3267304" y="925342"/>
                </a:cubicBezTo>
                <a:cubicBezTo>
                  <a:pt x="3267304" y="925342"/>
                  <a:pt x="3267304" y="925342"/>
                  <a:pt x="3267304" y="879405"/>
                </a:cubicBezTo>
                <a:cubicBezTo>
                  <a:pt x="3267304" y="874591"/>
                  <a:pt x="3268774" y="870634"/>
                  <a:pt x="3271712" y="867615"/>
                </a:cubicBezTo>
                <a:cubicBezTo>
                  <a:pt x="3274650" y="864556"/>
                  <a:pt x="3278445" y="863046"/>
                  <a:pt x="3283056" y="863046"/>
                </a:cubicBezTo>
                <a:cubicBezTo>
                  <a:pt x="3287789" y="863046"/>
                  <a:pt x="3291543" y="864556"/>
                  <a:pt x="3294400" y="867615"/>
                </a:cubicBezTo>
                <a:cubicBezTo>
                  <a:pt x="3297256" y="870634"/>
                  <a:pt x="3298684" y="874632"/>
                  <a:pt x="3298684" y="879528"/>
                </a:cubicBezTo>
                <a:cubicBezTo>
                  <a:pt x="3298684" y="879528"/>
                  <a:pt x="3298684" y="879528"/>
                  <a:pt x="3298684" y="925342"/>
                </a:cubicBezTo>
                <a:cubicBezTo>
                  <a:pt x="3298684" y="926321"/>
                  <a:pt x="3299174" y="926811"/>
                  <a:pt x="3300153" y="926811"/>
                </a:cubicBezTo>
                <a:cubicBezTo>
                  <a:pt x="3300153" y="926811"/>
                  <a:pt x="3300153" y="926811"/>
                  <a:pt x="3311334" y="926811"/>
                </a:cubicBezTo>
                <a:cubicBezTo>
                  <a:pt x="3312314" y="926811"/>
                  <a:pt x="3312803" y="926321"/>
                  <a:pt x="3312803" y="925342"/>
                </a:cubicBezTo>
                <a:cubicBezTo>
                  <a:pt x="3312803" y="925342"/>
                  <a:pt x="3312803" y="925342"/>
                  <a:pt x="3312803" y="876754"/>
                </a:cubicBezTo>
                <a:cubicBezTo>
                  <a:pt x="3312803" y="868798"/>
                  <a:pt x="3310477" y="862475"/>
                  <a:pt x="3305744" y="857824"/>
                </a:cubicBezTo>
                <a:cubicBezTo>
                  <a:pt x="3301010" y="853133"/>
                  <a:pt x="3294645" y="850807"/>
                  <a:pt x="3286606" y="850807"/>
                </a:cubicBezTo>
                <a:close/>
                <a:moveTo>
                  <a:pt x="3203171" y="850807"/>
                </a:moveTo>
                <a:cubicBezTo>
                  <a:pt x="3195628" y="850807"/>
                  <a:pt x="3189186" y="852764"/>
                  <a:pt x="3183885" y="856677"/>
                </a:cubicBezTo>
                <a:cubicBezTo>
                  <a:pt x="3178585" y="860590"/>
                  <a:pt x="3175078" y="865930"/>
                  <a:pt x="3173284" y="872737"/>
                </a:cubicBezTo>
                <a:cubicBezTo>
                  <a:pt x="3172224" y="876446"/>
                  <a:pt x="3171694" y="881908"/>
                  <a:pt x="3171694" y="889042"/>
                </a:cubicBezTo>
                <a:cubicBezTo>
                  <a:pt x="3171694" y="897275"/>
                  <a:pt x="3172836" y="904286"/>
                  <a:pt x="3175201" y="910075"/>
                </a:cubicBezTo>
                <a:cubicBezTo>
                  <a:pt x="3177647" y="915862"/>
                  <a:pt x="3181357" y="920346"/>
                  <a:pt x="3186250" y="923485"/>
                </a:cubicBezTo>
                <a:cubicBezTo>
                  <a:pt x="3191143" y="926624"/>
                  <a:pt x="3197178" y="928173"/>
                  <a:pt x="3204354" y="928173"/>
                </a:cubicBezTo>
                <a:cubicBezTo>
                  <a:pt x="3210715" y="928173"/>
                  <a:pt x="3216423" y="926909"/>
                  <a:pt x="3221479" y="924341"/>
                </a:cubicBezTo>
                <a:cubicBezTo>
                  <a:pt x="3226535" y="921814"/>
                  <a:pt x="3230449" y="918349"/>
                  <a:pt x="3233222" y="913906"/>
                </a:cubicBezTo>
                <a:cubicBezTo>
                  <a:pt x="3233588" y="913213"/>
                  <a:pt x="3233425" y="912602"/>
                  <a:pt x="3232773" y="911990"/>
                </a:cubicBezTo>
                <a:cubicBezTo>
                  <a:pt x="3232773" y="911990"/>
                  <a:pt x="3232773" y="911990"/>
                  <a:pt x="3224374" y="906406"/>
                </a:cubicBezTo>
                <a:cubicBezTo>
                  <a:pt x="3223558" y="905713"/>
                  <a:pt x="3222946" y="905876"/>
                  <a:pt x="3222457" y="906854"/>
                </a:cubicBezTo>
                <a:cubicBezTo>
                  <a:pt x="3218543" y="912846"/>
                  <a:pt x="3212916" y="915822"/>
                  <a:pt x="3205659" y="915822"/>
                </a:cubicBezTo>
                <a:cubicBezTo>
                  <a:pt x="3200684" y="915822"/>
                  <a:pt x="3196525" y="914721"/>
                  <a:pt x="3193222" y="912520"/>
                </a:cubicBezTo>
                <a:cubicBezTo>
                  <a:pt x="3189961" y="910319"/>
                  <a:pt x="3187759" y="907262"/>
                  <a:pt x="3186699" y="903308"/>
                </a:cubicBezTo>
                <a:cubicBezTo>
                  <a:pt x="3186087" y="901555"/>
                  <a:pt x="3185802" y="898987"/>
                  <a:pt x="3185802" y="895686"/>
                </a:cubicBezTo>
                <a:cubicBezTo>
                  <a:pt x="3185802" y="895278"/>
                  <a:pt x="3186006" y="895074"/>
                  <a:pt x="3186413" y="895074"/>
                </a:cubicBezTo>
                <a:cubicBezTo>
                  <a:pt x="3186413" y="895074"/>
                  <a:pt x="3186413" y="895074"/>
                  <a:pt x="3233344" y="895074"/>
                </a:cubicBezTo>
                <a:cubicBezTo>
                  <a:pt x="3234322" y="895074"/>
                  <a:pt x="3234812" y="894585"/>
                  <a:pt x="3234812" y="893607"/>
                </a:cubicBezTo>
                <a:cubicBezTo>
                  <a:pt x="3234893" y="888593"/>
                  <a:pt x="3234771" y="884109"/>
                  <a:pt x="3234363" y="880074"/>
                </a:cubicBezTo>
                <a:cubicBezTo>
                  <a:pt x="3233303" y="870454"/>
                  <a:pt x="3230286" y="863199"/>
                  <a:pt x="3225393" y="858226"/>
                </a:cubicBezTo>
                <a:cubicBezTo>
                  <a:pt x="3220500" y="853253"/>
                  <a:pt x="3213080" y="850807"/>
                  <a:pt x="3203171" y="850807"/>
                </a:cubicBezTo>
                <a:close/>
                <a:moveTo>
                  <a:pt x="3085598" y="850807"/>
                </a:moveTo>
                <a:cubicBezTo>
                  <a:pt x="3077351" y="850807"/>
                  <a:pt x="3071063" y="853418"/>
                  <a:pt x="3066735" y="858640"/>
                </a:cubicBezTo>
                <a:cubicBezTo>
                  <a:pt x="3066531" y="858803"/>
                  <a:pt x="3066368" y="858885"/>
                  <a:pt x="3066204" y="858763"/>
                </a:cubicBezTo>
                <a:cubicBezTo>
                  <a:pt x="3066082" y="858681"/>
                  <a:pt x="3066000" y="858518"/>
                  <a:pt x="3066000" y="858314"/>
                </a:cubicBezTo>
                <a:cubicBezTo>
                  <a:pt x="3066000" y="858314"/>
                  <a:pt x="3066000" y="858314"/>
                  <a:pt x="3066000" y="853337"/>
                </a:cubicBezTo>
                <a:cubicBezTo>
                  <a:pt x="3066000" y="852357"/>
                  <a:pt x="3065510" y="851868"/>
                  <a:pt x="3064530" y="851868"/>
                </a:cubicBezTo>
                <a:cubicBezTo>
                  <a:pt x="3064530" y="851868"/>
                  <a:pt x="3064530" y="851868"/>
                  <a:pt x="3053343" y="851868"/>
                </a:cubicBezTo>
                <a:cubicBezTo>
                  <a:pt x="3052322" y="851868"/>
                  <a:pt x="3051832" y="852357"/>
                  <a:pt x="3051832" y="853337"/>
                </a:cubicBezTo>
                <a:cubicBezTo>
                  <a:pt x="3051832" y="853337"/>
                  <a:pt x="3051832" y="853337"/>
                  <a:pt x="3051832" y="925342"/>
                </a:cubicBezTo>
                <a:cubicBezTo>
                  <a:pt x="3051832" y="926321"/>
                  <a:pt x="3052322" y="926811"/>
                  <a:pt x="3053343" y="926811"/>
                </a:cubicBezTo>
                <a:cubicBezTo>
                  <a:pt x="3053343" y="926811"/>
                  <a:pt x="3053343" y="926811"/>
                  <a:pt x="3064530" y="926811"/>
                </a:cubicBezTo>
                <a:cubicBezTo>
                  <a:pt x="3065510" y="926811"/>
                  <a:pt x="3066000" y="926321"/>
                  <a:pt x="3066000" y="925342"/>
                </a:cubicBezTo>
                <a:cubicBezTo>
                  <a:pt x="3066000" y="925342"/>
                  <a:pt x="3066000" y="925342"/>
                  <a:pt x="3066000" y="878793"/>
                </a:cubicBezTo>
                <a:cubicBezTo>
                  <a:pt x="3066000" y="873980"/>
                  <a:pt x="3067348" y="870145"/>
                  <a:pt x="3070042" y="867330"/>
                </a:cubicBezTo>
                <a:cubicBezTo>
                  <a:pt x="3072737" y="864474"/>
                  <a:pt x="3076371" y="863046"/>
                  <a:pt x="3080903" y="863046"/>
                </a:cubicBezTo>
                <a:cubicBezTo>
                  <a:pt x="3085394" y="863046"/>
                  <a:pt x="3089028" y="864474"/>
                  <a:pt x="3091723" y="867370"/>
                </a:cubicBezTo>
                <a:cubicBezTo>
                  <a:pt x="3094417" y="870267"/>
                  <a:pt x="3095765" y="874183"/>
                  <a:pt x="3095765" y="879079"/>
                </a:cubicBezTo>
                <a:cubicBezTo>
                  <a:pt x="3095765" y="879079"/>
                  <a:pt x="3095765" y="879079"/>
                  <a:pt x="3095765" y="925342"/>
                </a:cubicBezTo>
                <a:cubicBezTo>
                  <a:pt x="3095765" y="926321"/>
                  <a:pt x="3096255" y="926811"/>
                  <a:pt x="3097235" y="926811"/>
                </a:cubicBezTo>
                <a:cubicBezTo>
                  <a:pt x="3097235" y="926811"/>
                  <a:pt x="3097235" y="926811"/>
                  <a:pt x="3108299" y="926811"/>
                </a:cubicBezTo>
                <a:cubicBezTo>
                  <a:pt x="3109279" y="926811"/>
                  <a:pt x="3109769" y="926321"/>
                  <a:pt x="3109769" y="925342"/>
                </a:cubicBezTo>
                <a:cubicBezTo>
                  <a:pt x="3109769" y="925342"/>
                  <a:pt x="3109769" y="925342"/>
                  <a:pt x="3109769" y="878793"/>
                </a:cubicBezTo>
                <a:cubicBezTo>
                  <a:pt x="3109769" y="873980"/>
                  <a:pt x="3111198" y="870145"/>
                  <a:pt x="3114056" y="867330"/>
                </a:cubicBezTo>
                <a:cubicBezTo>
                  <a:pt x="3116914" y="864474"/>
                  <a:pt x="3120589" y="863046"/>
                  <a:pt x="3125080" y="863046"/>
                </a:cubicBezTo>
                <a:cubicBezTo>
                  <a:pt x="3129612" y="863046"/>
                  <a:pt x="3133246" y="864474"/>
                  <a:pt x="3135941" y="867370"/>
                </a:cubicBezTo>
                <a:cubicBezTo>
                  <a:pt x="3138636" y="870267"/>
                  <a:pt x="3139983" y="874183"/>
                  <a:pt x="3139983" y="879079"/>
                </a:cubicBezTo>
                <a:cubicBezTo>
                  <a:pt x="3139983" y="879079"/>
                  <a:pt x="3139983" y="879079"/>
                  <a:pt x="3139983" y="925342"/>
                </a:cubicBezTo>
                <a:cubicBezTo>
                  <a:pt x="3139983" y="926321"/>
                  <a:pt x="3140473" y="926811"/>
                  <a:pt x="3141453" y="926811"/>
                </a:cubicBezTo>
                <a:cubicBezTo>
                  <a:pt x="3141453" y="926811"/>
                  <a:pt x="3141453" y="926811"/>
                  <a:pt x="3152517" y="926811"/>
                </a:cubicBezTo>
                <a:cubicBezTo>
                  <a:pt x="3153497" y="926811"/>
                  <a:pt x="3153987" y="926321"/>
                  <a:pt x="3153987" y="925342"/>
                </a:cubicBezTo>
                <a:cubicBezTo>
                  <a:pt x="3153987" y="925342"/>
                  <a:pt x="3153987" y="925342"/>
                  <a:pt x="3153987" y="876142"/>
                </a:cubicBezTo>
                <a:cubicBezTo>
                  <a:pt x="3153987" y="868186"/>
                  <a:pt x="3151823" y="861986"/>
                  <a:pt x="3147495" y="857539"/>
                </a:cubicBezTo>
                <a:cubicBezTo>
                  <a:pt x="3143167" y="853051"/>
                  <a:pt x="3137288" y="850807"/>
                  <a:pt x="3129816" y="850807"/>
                </a:cubicBezTo>
                <a:cubicBezTo>
                  <a:pt x="3125080" y="850807"/>
                  <a:pt x="3120793" y="851745"/>
                  <a:pt x="3116914" y="853622"/>
                </a:cubicBezTo>
                <a:cubicBezTo>
                  <a:pt x="3113035" y="855458"/>
                  <a:pt x="3109932" y="858314"/>
                  <a:pt x="3107564" y="862149"/>
                </a:cubicBezTo>
                <a:cubicBezTo>
                  <a:pt x="3107279" y="862557"/>
                  <a:pt x="3106952" y="862557"/>
                  <a:pt x="3106666" y="862149"/>
                </a:cubicBezTo>
                <a:cubicBezTo>
                  <a:pt x="3104706" y="858436"/>
                  <a:pt x="3101971" y="855621"/>
                  <a:pt x="3098419" y="853704"/>
                </a:cubicBezTo>
                <a:cubicBezTo>
                  <a:pt x="3094866" y="851786"/>
                  <a:pt x="3090620" y="850807"/>
                  <a:pt x="3085598" y="850807"/>
                </a:cubicBezTo>
                <a:close/>
                <a:moveTo>
                  <a:pt x="2921108" y="850807"/>
                </a:moveTo>
                <a:cubicBezTo>
                  <a:pt x="2913538" y="850807"/>
                  <a:pt x="2907072" y="852764"/>
                  <a:pt x="2901752" y="856677"/>
                </a:cubicBezTo>
                <a:cubicBezTo>
                  <a:pt x="2896432" y="860590"/>
                  <a:pt x="2892871" y="865930"/>
                  <a:pt x="2891112" y="872737"/>
                </a:cubicBezTo>
                <a:cubicBezTo>
                  <a:pt x="2890048" y="876446"/>
                  <a:pt x="2889475" y="881908"/>
                  <a:pt x="2889475" y="889042"/>
                </a:cubicBezTo>
                <a:cubicBezTo>
                  <a:pt x="2889475" y="897275"/>
                  <a:pt x="2890661" y="904286"/>
                  <a:pt x="2893035" y="910075"/>
                </a:cubicBezTo>
                <a:cubicBezTo>
                  <a:pt x="2895490" y="915862"/>
                  <a:pt x="2899174" y="920346"/>
                  <a:pt x="2904125" y="923485"/>
                </a:cubicBezTo>
                <a:cubicBezTo>
                  <a:pt x="2909036" y="926624"/>
                  <a:pt x="2915093" y="928173"/>
                  <a:pt x="2922295" y="928173"/>
                </a:cubicBezTo>
                <a:cubicBezTo>
                  <a:pt x="2928679" y="928173"/>
                  <a:pt x="2934409" y="926909"/>
                  <a:pt x="2939483" y="924341"/>
                </a:cubicBezTo>
                <a:cubicBezTo>
                  <a:pt x="2944558" y="921814"/>
                  <a:pt x="2948486" y="918349"/>
                  <a:pt x="2951228" y="913906"/>
                </a:cubicBezTo>
                <a:cubicBezTo>
                  <a:pt x="2951637" y="913213"/>
                  <a:pt x="2951474" y="912602"/>
                  <a:pt x="2950778" y="911990"/>
                </a:cubicBezTo>
                <a:cubicBezTo>
                  <a:pt x="2950778" y="911990"/>
                  <a:pt x="2950778" y="911990"/>
                  <a:pt x="2942389" y="906406"/>
                </a:cubicBezTo>
                <a:cubicBezTo>
                  <a:pt x="2941570" y="905713"/>
                  <a:pt x="2940956" y="905876"/>
                  <a:pt x="2940465" y="906854"/>
                </a:cubicBezTo>
                <a:cubicBezTo>
                  <a:pt x="2936536" y="912846"/>
                  <a:pt x="2930889" y="915822"/>
                  <a:pt x="2923605" y="915822"/>
                </a:cubicBezTo>
                <a:cubicBezTo>
                  <a:pt x="2918612" y="915822"/>
                  <a:pt x="2914438" y="914721"/>
                  <a:pt x="2911123" y="912520"/>
                </a:cubicBezTo>
                <a:cubicBezTo>
                  <a:pt x="2907849" y="910319"/>
                  <a:pt x="2905639" y="907262"/>
                  <a:pt x="2904575" y="903308"/>
                </a:cubicBezTo>
                <a:cubicBezTo>
                  <a:pt x="2903961" y="901555"/>
                  <a:pt x="2903675" y="898987"/>
                  <a:pt x="2903675" y="895686"/>
                </a:cubicBezTo>
                <a:cubicBezTo>
                  <a:pt x="2903675" y="895278"/>
                  <a:pt x="2903880" y="895074"/>
                  <a:pt x="2904248" y="895074"/>
                </a:cubicBezTo>
                <a:cubicBezTo>
                  <a:pt x="2904248" y="895074"/>
                  <a:pt x="2904248" y="895074"/>
                  <a:pt x="2951392" y="895074"/>
                </a:cubicBezTo>
                <a:cubicBezTo>
                  <a:pt x="2952374" y="895074"/>
                  <a:pt x="2952865" y="894585"/>
                  <a:pt x="2952865" y="893607"/>
                </a:cubicBezTo>
                <a:cubicBezTo>
                  <a:pt x="2952947" y="888593"/>
                  <a:pt x="2952824" y="884109"/>
                  <a:pt x="2952415" y="880074"/>
                </a:cubicBezTo>
                <a:cubicBezTo>
                  <a:pt x="2951351" y="870454"/>
                  <a:pt x="2948323" y="863199"/>
                  <a:pt x="2943412" y="858226"/>
                </a:cubicBezTo>
                <a:cubicBezTo>
                  <a:pt x="2938501" y="853253"/>
                  <a:pt x="2931053" y="850807"/>
                  <a:pt x="2921108" y="850807"/>
                </a:cubicBezTo>
                <a:close/>
                <a:moveTo>
                  <a:pt x="2845298" y="850807"/>
                </a:moveTo>
                <a:cubicBezTo>
                  <a:pt x="2837055" y="850807"/>
                  <a:pt x="2830812" y="853500"/>
                  <a:pt x="2826568" y="858926"/>
                </a:cubicBezTo>
                <a:cubicBezTo>
                  <a:pt x="2826486" y="859130"/>
                  <a:pt x="2826364" y="859170"/>
                  <a:pt x="2826242" y="859048"/>
                </a:cubicBezTo>
                <a:cubicBezTo>
                  <a:pt x="2826078" y="858967"/>
                  <a:pt x="2825997" y="858803"/>
                  <a:pt x="2825997" y="858640"/>
                </a:cubicBezTo>
                <a:cubicBezTo>
                  <a:pt x="2825997" y="858640"/>
                  <a:pt x="2825997" y="858640"/>
                  <a:pt x="2825997" y="853337"/>
                </a:cubicBezTo>
                <a:cubicBezTo>
                  <a:pt x="2825997" y="852357"/>
                  <a:pt x="2825507" y="851868"/>
                  <a:pt x="2824528" y="851868"/>
                </a:cubicBezTo>
                <a:cubicBezTo>
                  <a:pt x="2824528" y="851868"/>
                  <a:pt x="2824528" y="851868"/>
                  <a:pt x="2813347" y="851868"/>
                </a:cubicBezTo>
                <a:cubicBezTo>
                  <a:pt x="2812368" y="851868"/>
                  <a:pt x="2811837" y="852357"/>
                  <a:pt x="2811837" y="853337"/>
                </a:cubicBezTo>
                <a:cubicBezTo>
                  <a:pt x="2811837" y="853337"/>
                  <a:pt x="2811837" y="853337"/>
                  <a:pt x="2811837" y="925342"/>
                </a:cubicBezTo>
                <a:cubicBezTo>
                  <a:pt x="2811837" y="926321"/>
                  <a:pt x="2812368" y="926811"/>
                  <a:pt x="2813347" y="926811"/>
                </a:cubicBezTo>
                <a:cubicBezTo>
                  <a:pt x="2813347" y="926811"/>
                  <a:pt x="2813347" y="926811"/>
                  <a:pt x="2824528" y="926811"/>
                </a:cubicBezTo>
                <a:cubicBezTo>
                  <a:pt x="2825507" y="926811"/>
                  <a:pt x="2825997" y="926321"/>
                  <a:pt x="2825997" y="925342"/>
                </a:cubicBezTo>
                <a:cubicBezTo>
                  <a:pt x="2825997" y="925342"/>
                  <a:pt x="2825997" y="925342"/>
                  <a:pt x="2825997" y="879405"/>
                </a:cubicBezTo>
                <a:cubicBezTo>
                  <a:pt x="2825997" y="874591"/>
                  <a:pt x="2827466" y="870634"/>
                  <a:pt x="2830404" y="867615"/>
                </a:cubicBezTo>
                <a:cubicBezTo>
                  <a:pt x="2833383" y="864556"/>
                  <a:pt x="2837137" y="863046"/>
                  <a:pt x="2841748" y="863046"/>
                </a:cubicBezTo>
                <a:cubicBezTo>
                  <a:pt x="2846481" y="863046"/>
                  <a:pt x="2850236" y="864556"/>
                  <a:pt x="2853092" y="867615"/>
                </a:cubicBezTo>
                <a:cubicBezTo>
                  <a:pt x="2855948" y="870634"/>
                  <a:pt x="2857377" y="874632"/>
                  <a:pt x="2857377" y="879528"/>
                </a:cubicBezTo>
                <a:cubicBezTo>
                  <a:pt x="2857377" y="879528"/>
                  <a:pt x="2857377" y="879528"/>
                  <a:pt x="2857377" y="925342"/>
                </a:cubicBezTo>
                <a:cubicBezTo>
                  <a:pt x="2857377" y="926321"/>
                  <a:pt x="2857866" y="926811"/>
                  <a:pt x="2858846" y="926811"/>
                </a:cubicBezTo>
                <a:cubicBezTo>
                  <a:pt x="2858846" y="926811"/>
                  <a:pt x="2858846" y="926811"/>
                  <a:pt x="2870026" y="926811"/>
                </a:cubicBezTo>
                <a:cubicBezTo>
                  <a:pt x="2871006" y="926811"/>
                  <a:pt x="2871496" y="926321"/>
                  <a:pt x="2871496" y="925342"/>
                </a:cubicBezTo>
                <a:cubicBezTo>
                  <a:pt x="2871496" y="925342"/>
                  <a:pt x="2871496" y="925342"/>
                  <a:pt x="2871496" y="876754"/>
                </a:cubicBezTo>
                <a:cubicBezTo>
                  <a:pt x="2871496" y="868798"/>
                  <a:pt x="2869170" y="862475"/>
                  <a:pt x="2864436" y="857824"/>
                </a:cubicBezTo>
                <a:cubicBezTo>
                  <a:pt x="2859743" y="853133"/>
                  <a:pt x="2853337" y="850807"/>
                  <a:pt x="2845298" y="850807"/>
                </a:cubicBezTo>
                <a:close/>
                <a:moveTo>
                  <a:pt x="2706291" y="850807"/>
                </a:moveTo>
                <a:cubicBezTo>
                  <a:pt x="2698748" y="850807"/>
                  <a:pt x="2692305" y="852764"/>
                  <a:pt x="2687005" y="856677"/>
                </a:cubicBezTo>
                <a:cubicBezTo>
                  <a:pt x="2681704" y="860590"/>
                  <a:pt x="2678198" y="865930"/>
                  <a:pt x="2676404" y="872737"/>
                </a:cubicBezTo>
                <a:cubicBezTo>
                  <a:pt x="2675343" y="876446"/>
                  <a:pt x="2674814" y="881908"/>
                  <a:pt x="2674814" y="889042"/>
                </a:cubicBezTo>
                <a:cubicBezTo>
                  <a:pt x="2674814" y="897275"/>
                  <a:pt x="2675955" y="904286"/>
                  <a:pt x="2678320" y="910075"/>
                </a:cubicBezTo>
                <a:cubicBezTo>
                  <a:pt x="2680766" y="915862"/>
                  <a:pt x="2684436" y="920346"/>
                  <a:pt x="2689370" y="923485"/>
                </a:cubicBezTo>
                <a:cubicBezTo>
                  <a:pt x="2694263" y="926624"/>
                  <a:pt x="2700297" y="928173"/>
                  <a:pt x="2707473" y="928173"/>
                </a:cubicBezTo>
                <a:cubicBezTo>
                  <a:pt x="2713834" y="928173"/>
                  <a:pt x="2719543" y="926909"/>
                  <a:pt x="2724598" y="924341"/>
                </a:cubicBezTo>
                <a:cubicBezTo>
                  <a:pt x="2729654" y="921814"/>
                  <a:pt x="2733569" y="918349"/>
                  <a:pt x="2736301" y="913906"/>
                </a:cubicBezTo>
                <a:cubicBezTo>
                  <a:pt x="2736708" y="913213"/>
                  <a:pt x="2736545" y="912602"/>
                  <a:pt x="2735852" y="911990"/>
                </a:cubicBezTo>
                <a:cubicBezTo>
                  <a:pt x="2735852" y="911990"/>
                  <a:pt x="2735852" y="911990"/>
                  <a:pt x="2727494" y="906406"/>
                </a:cubicBezTo>
                <a:cubicBezTo>
                  <a:pt x="2726678" y="905713"/>
                  <a:pt x="2726066" y="905876"/>
                  <a:pt x="2725577" y="906854"/>
                </a:cubicBezTo>
                <a:cubicBezTo>
                  <a:pt x="2721663" y="912846"/>
                  <a:pt x="2716036" y="915822"/>
                  <a:pt x="2708778" y="915822"/>
                </a:cubicBezTo>
                <a:cubicBezTo>
                  <a:pt x="2703804" y="915822"/>
                  <a:pt x="2699645" y="914721"/>
                  <a:pt x="2696342" y="912520"/>
                </a:cubicBezTo>
                <a:cubicBezTo>
                  <a:pt x="2693080" y="910319"/>
                  <a:pt x="2690879" y="907262"/>
                  <a:pt x="2689818" y="903308"/>
                </a:cubicBezTo>
                <a:cubicBezTo>
                  <a:pt x="2689207" y="901555"/>
                  <a:pt x="2688921" y="898987"/>
                  <a:pt x="2688921" y="895686"/>
                </a:cubicBezTo>
                <a:cubicBezTo>
                  <a:pt x="2688921" y="895278"/>
                  <a:pt x="2689125" y="895074"/>
                  <a:pt x="2689492" y="895074"/>
                </a:cubicBezTo>
                <a:cubicBezTo>
                  <a:pt x="2689492" y="895074"/>
                  <a:pt x="2689492" y="895074"/>
                  <a:pt x="2736464" y="895074"/>
                </a:cubicBezTo>
                <a:cubicBezTo>
                  <a:pt x="2737442" y="895074"/>
                  <a:pt x="2737932" y="894585"/>
                  <a:pt x="2737932" y="893607"/>
                </a:cubicBezTo>
                <a:cubicBezTo>
                  <a:pt x="2738013" y="888593"/>
                  <a:pt x="2737891" y="884109"/>
                  <a:pt x="2737483" y="880074"/>
                </a:cubicBezTo>
                <a:cubicBezTo>
                  <a:pt x="2736423" y="870454"/>
                  <a:pt x="2733406" y="863199"/>
                  <a:pt x="2728513" y="858226"/>
                </a:cubicBezTo>
                <a:cubicBezTo>
                  <a:pt x="2723620" y="853253"/>
                  <a:pt x="2716199" y="850807"/>
                  <a:pt x="2706291" y="850807"/>
                </a:cubicBezTo>
                <a:close/>
                <a:moveTo>
                  <a:pt x="2576154" y="850807"/>
                </a:moveTo>
                <a:cubicBezTo>
                  <a:pt x="2567912" y="850807"/>
                  <a:pt x="2561668" y="853500"/>
                  <a:pt x="2557424" y="858926"/>
                </a:cubicBezTo>
                <a:cubicBezTo>
                  <a:pt x="2557343" y="859130"/>
                  <a:pt x="2557220" y="859170"/>
                  <a:pt x="2557057" y="859048"/>
                </a:cubicBezTo>
                <a:cubicBezTo>
                  <a:pt x="2556894" y="858967"/>
                  <a:pt x="2556853" y="858803"/>
                  <a:pt x="2556853" y="858640"/>
                </a:cubicBezTo>
                <a:cubicBezTo>
                  <a:pt x="2556853" y="858640"/>
                  <a:pt x="2556853" y="858640"/>
                  <a:pt x="2556853" y="853337"/>
                </a:cubicBezTo>
                <a:cubicBezTo>
                  <a:pt x="2556853" y="852357"/>
                  <a:pt x="2556364" y="851868"/>
                  <a:pt x="2555384" y="851868"/>
                </a:cubicBezTo>
                <a:cubicBezTo>
                  <a:pt x="2555384" y="851868"/>
                  <a:pt x="2555384" y="851868"/>
                  <a:pt x="2544162" y="851868"/>
                </a:cubicBezTo>
                <a:cubicBezTo>
                  <a:pt x="2543183" y="851868"/>
                  <a:pt x="2542693" y="852357"/>
                  <a:pt x="2542693" y="853337"/>
                </a:cubicBezTo>
                <a:cubicBezTo>
                  <a:pt x="2542693" y="853337"/>
                  <a:pt x="2542693" y="853337"/>
                  <a:pt x="2542693" y="925342"/>
                </a:cubicBezTo>
                <a:cubicBezTo>
                  <a:pt x="2542693" y="926321"/>
                  <a:pt x="2543183" y="926811"/>
                  <a:pt x="2544162" y="926811"/>
                </a:cubicBezTo>
                <a:cubicBezTo>
                  <a:pt x="2544162" y="926811"/>
                  <a:pt x="2544162" y="926811"/>
                  <a:pt x="2555384" y="926811"/>
                </a:cubicBezTo>
                <a:cubicBezTo>
                  <a:pt x="2556364" y="926811"/>
                  <a:pt x="2556853" y="926321"/>
                  <a:pt x="2556853" y="925342"/>
                </a:cubicBezTo>
                <a:cubicBezTo>
                  <a:pt x="2556853" y="925342"/>
                  <a:pt x="2556853" y="925342"/>
                  <a:pt x="2556853" y="879405"/>
                </a:cubicBezTo>
                <a:cubicBezTo>
                  <a:pt x="2556853" y="874591"/>
                  <a:pt x="2558322" y="870634"/>
                  <a:pt x="2561260" y="867615"/>
                </a:cubicBezTo>
                <a:cubicBezTo>
                  <a:pt x="2564198" y="864556"/>
                  <a:pt x="2567993" y="863046"/>
                  <a:pt x="2572604" y="863046"/>
                </a:cubicBezTo>
                <a:cubicBezTo>
                  <a:pt x="2577338" y="863046"/>
                  <a:pt x="2581092" y="864556"/>
                  <a:pt x="2583948" y="867615"/>
                </a:cubicBezTo>
                <a:cubicBezTo>
                  <a:pt x="2586805" y="870634"/>
                  <a:pt x="2588233" y="874632"/>
                  <a:pt x="2588233" y="879528"/>
                </a:cubicBezTo>
                <a:cubicBezTo>
                  <a:pt x="2588233" y="879528"/>
                  <a:pt x="2588233" y="879528"/>
                  <a:pt x="2588233" y="925342"/>
                </a:cubicBezTo>
                <a:cubicBezTo>
                  <a:pt x="2588233" y="926321"/>
                  <a:pt x="2588722" y="926811"/>
                  <a:pt x="2589702" y="926811"/>
                </a:cubicBezTo>
                <a:cubicBezTo>
                  <a:pt x="2589702" y="926811"/>
                  <a:pt x="2589702" y="926811"/>
                  <a:pt x="2600883" y="926811"/>
                </a:cubicBezTo>
                <a:cubicBezTo>
                  <a:pt x="2601862" y="926811"/>
                  <a:pt x="2602352" y="926321"/>
                  <a:pt x="2602352" y="925342"/>
                </a:cubicBezTo>
                <a:cubicBezTo>
                  <a:pt x="2602352" y="925342"/>
                  <a:pt x="2602352" y="925342"/>
                  <a:pt x="2602352" y="876754"/>
                </a:cubicBezTo>
                <a:cubicBezTo>
                  <a:pt x="2602352" y="868798"/>
                  <a:pt x="2599985" y="862475"/>
                  <a:pt x="2595292" y="857824"/>
                </a:cubicBezTo>
                <a:cubicBezTo>
                  <a:pt x="2590559" y="853133"/>
                  <a:pt x="2584193" y="850807"/>
                  <a:pt x="2576154" y="850807"/>
                </a:cubicBezTo>
                <a:close/>
                <a:moveTo>
                  <a:pt x="2630183" y="832283"/>
                </a:moveTo>
                <a:cubicBezTo>
                  <a:pt x="2629200" y="832283"/>
                  <a:pt x="2628709" y="832773"/>
                  <a:pt x="2628709" y="833754"/>
                </a:cubicBezTo>
                <a:cubicBezTo>
                  <a:pt x="2628709" y="833754"/>
                  <a:pt x="2628709" y="833754"/>
                  <a:pt x="2628709" y="851153"/>
                </a:cubicBezTo>
                <a:cubicBezTo>
                  <a:pt x="2628709" y="851562"/>
                  <a:pt x="2628504" y="851725"/>
                  <a:pt x="2628135" y="851725"/>
                </a:cubicBezTo>
                <a:cubicBezTo>
                  <a:pt x="2628135" y="851725"/>
                  <a:pt x="2628135" y="851725"/>
                  <a:pt x="2619123" y="851725"/>
                </a:cubicBezTo>
                <a:cubicBezTo>
                  <a:pt x="2618139" y="851725"/>
                  <a:pt x="2617607" y="852256"/>
                  <a:pt x="2617607" y="853236"/>
                </a:cubicBezTo>
                <a:cubicBezTo>
                  <a:pt x="2617607" y="853236"/>
                  <a:pt x="2617607" y="853236"/>
                  <a:pt x="2617607" y="861936"/>
                </a:cubicBezTo>
                <a:cubicBezTo>
                  <a:pt x="2617607" y="862916"/>
                  <a:pt x="2618139" y="863407"/>
                  <a:pt x="2619123" y="863407"/>
                </a:cubicBezTo>
                <a:cubicBezTo>
                  <a:pt x="2619123" y="863407"/>
                  <a:pt x="2619123" y="863407"/>
                  <a:pt x="2628135" y="863407"/>
                </a:cubicBezTo>
                <a:cubicBezTo>
                  <a:pt x="2628504" y="863407"/>
                  <a:pt x="2628709" y="863611"/>
                  <a:pt x="2628709" y="863978"/>
                </a:cubicBezTo>
                <a:cubicBezTo>
                  <a:pt x="2628709" y="863978"/>
                  <a:pt x="2628709" y="863978"/>
                  <a:pt x="2628709" y="908049"/>
                </a:cubicBezTo>
                <a:cubicBezTo>
                  <a:pt x="2628709" y="915361"/>
                  <a:pt x="2630634" y="920344"/>
                  <a:pt x="2634403" y="923039"/>
                </a:cubicBezTo>
                <a:cubicBezTo>
                  <a:pt x="2638213" y="925735"/>
                  <a:pt x="2643866" y="927083"/>
                  <a:pt x="2651363" y="927083"/>
                </a:cubicBezTo>
                <a:cubicBezTo>
                  <a:pt x="2652715" y="927083"/>
                  <a:pt x="2655009" y="927001"/>
                  <a:pt x="2658164" y="926797"/>
                </a:cubicBezTo>
                <a:cubicBezTo>
                  <a:pt x="2659147" y="926797"/>
                  <a:pt x="2659638" y="926307"/>
                  <a:pt x="2659638" y="925327"/>
                </a:cubicBezTo>
                <a:cubicBezTo>
                  <a:pt x="2659638" y="925327"/>
                  <a:pt x="2659638" y="925327"/>
                  <a:pt x="2659638" y="916177"/>
                </a:cubicBezTo>
                <a:cubicBezTo>
                  <a:pt x="2659638" y="915197"/>
                  <a:pt x="2659147" y="914707"/>
                  <a:pt x="2658164" y="914707"/>
                </a:cubicBezTo>
                <a:cubicBezTo>
                  <a:pt x="2658164" y="914707"/>
                  <a:pt x="2658164" y="914707"/>
                  <a:pt x="2653862" y="914707"/>
                </a:cubicBezTo>
                <a:cubicBezTo>
                  <a:pt x="2649929" y="914707"/>
                  <a:pt x="2647021" y="913809"/>
                  <a:pt x="2645136" y="911970"/>
                </a:cubicBezTo>
                <a:cubicBezTo>
                  <a:pt x="2643252" y="910173"/>
                  <a:pt x="2642309" y="907192"/>
                  <a:pt x="2642309" y="903066"/>
                </a:cubicBezTo>
                <a:cubicBezTo>
                  <a:pt x="2642309" y="903066"/>
                  <a:pt x="2642309" y="903066"/>
                  <a:pt x="2642309" y="863978"/>
                </a:cubicBezTo>
                <a:cubicBezTo>
                  <a:pt x="2642309" y="863611"/>
                  <a:pt x="2642515" y="863407"/>
                  <a:pt x="2642924" y="863407"/>
                </a:cubicBezTo>
                <a:cubicBezTo>
                  <a:pt x="2642924" y="863407"/>
                  <a:pt x="2642924" y="863407"/>
                  <a:pt x="2658901" y="863407"/>
                </a:cubicBezTo>
                <a:cubicBezTo>
                  <a:pt x="2659884" y="863407"/>
                  <a:pt x="2660376" y="862916"/>
                  <a:pt x="2660376" y="861936"/>
                </a:cubicBezTo>
                <a:cubicBezTo>
                  <a:pt x="2660376" y="861936"/>
                  <a:pt x="2660376" y="861936"/>
                  <a:pt x="2660376" y="853236"/>
                </a:cubicBezTo>
                <a:cubicBezTo>
                  <a:pt x="2660376" y="852256"/>
                  <a:pt x="2659884" y="851725"/>
                  <a:pt x="2658901" y="851725"/>
                </a:cubicBezTo>
                <a:cubicBezTo>
                  <a:pt x="2658901" y="851725"/>
                  <a:pt x="2658901" y="851725"/>
                  <a:pt x="2642924" y="851725"/>
                </a:cubicBezTo>
                <a:cubicBezTo>
                  <a:pt x="2642515" y="851725"/>
                  <a:pt x="2642309" y="851562"/>
                  <a:pt x="2642309" y="851153"/>
                </a:cubicBezTo>
                <a:cubicBezTo>
                  <a:pt x="2642309" y="851153"/>
                  <a:pt x="2642309" y="851153"/>
                  <a:pt x="2642309" y="833754"/>
                </a:cubicBezTo>
                <a:cubicBezTo>
                  <a:pt x="2642309" y="832773"/>
                  <a:pt x="2641818" y="832283"/>
                  <a:pt x="2640835" y="832283"/>
                </a:cubicBezTo>
                <a:cubicBezTo>
                  <a:pt x="2640835" y="832283"/>
                  <a:pt x="2640835" y="832283"/>
                  <a:pt x="2630183" y="832283"/>
                </a:cubicBezTo>
                <a:close/>
                <a:moveTo>
                  <a:pt x="2972940" y="823838"/>
                </a:moveTo>
                <a:cubicBezTo>
                  <a:pt x="2971960" y="823838"/>
                  <a:pt x="2971471" y="824327"/>
                  <a:pt x="2971471" y="825305"/>
                </a:cubicBezTo>
                <a:cubicBezTo>
                  <a:pt x="2971471" y="825305"/>
                  <a:pt x="2971471" y="825305"/>
                  <a:pt x="2971471" y="925343"/>
                </a:cubicBezTo>
                <a:cubicBezTo>
                  <a:pt x="2971471" y="926322"/>
                  <a:pt x="2971960" y="926810"/>
                  <a:pt x="2972940" y="926810"/>
                </a:cubicBezTo>
                <a:cubicBezTo>
                  <a:pt x="2972940" y="926810"/>
                  <a:pt x="2972940" y="926810"/>
                  <a:pt x="2984121" y="926810"/>
                </a:cubicBezTo>
                <a:cubicBezTo>
                  <a:pt x="2985100" y="926810"/>
                  <a:pt x="2985590" y="926322"/>
                  <a:pt x="2985590" y="925343"/>
                </a:cubicBezTo>
                <a:cubicBezTo>
                  <a:pt x="2985590" y="925343"/>
                  <a:pt x="2985590" y="925343"/>
                  <a:pt x="2985590" y="879460"/>
                </a:cubicBezTo>
                <a:cubicBezTo>
                  <a:pt x="2985590" y="874652"/>
                  <a:pt x="2987099" y="870699"/>
                  <a:pt x="2990037" y="867684"/>
                </a:cubicBezTo>
                <a:cubicBezTo>
                  <a:pt x="2992976" y="864628"/>
                  <a:pt x="2996770" y="863120"/>
                  <a:pt x="3001382" y="863120"/>
                </a:cubicBezTo>
                <a:cubicBezTo>
                  <a:pt x="3006074" y="863120"/>
                  <a:pt x="3009869" y="864628"/>
                  <a:pt x="3012726" y="867684"/>
                </a:cubicBezTo>
                <a:cubicBezTo>
                  <a:pt x="3015541" y="870699"/>
                  <a:pt x="3016970" y="874693"/>
                  <a:pt x="3016970" y="879583"/>
                </a:cubicBezTo>
                <a:cubicBezTo>
                  <a:pt x="3016970" y="879583"/>
                  <a:pt x="3016970" y="879583"/>
                  <a:pt x="3016970" y="925343"/>
                </a:cubicBezTo>
                <a:cubicBezTo>
                  <a:pt x="3016970" y="926322"/>
                  <a:pt x="3017459" y="926810"/>
                  <a:pt x="3018439" y="926810"/>
                </a:cubicBezTo>
                <a:cubicBezTo>
                  <a:pt x="3018439" y="926810"/>
                  <a:pt x="3018439" y="926810"/>
                  <a:pt x="3029660" y="926810"/>
                </a:cubicBezTo>
                <a:cubicBezTo>
                  <a:pt x="3030640" y="926810"/>
                  <a:pt x="3031129" y="926322"/>
                  <a:pt x="3031129" y="925343"/>
                </a:cubicBezTo>
                <a:cubicBezTo>
                  <a:pt x="3031129" y="925343"/>
                  <a:pt x="3031129" y="925343"/>
                  <a:pt x="3031129" y="876812"/>
                </a:cubicBezTo>
                <a:cubicBezTo>
                  <a:pt x="3031129" y="868866"/>
                  <a:pt x="3028762" y="862550"/>
                  <a:pt x="3024070" y="857904"/>
                </a:cubicBezTo>
                <a:cubicBezTo>
                  <a:pt x="3019336" y="853218"/>
                  <a:pt x="3012970" y="850895"/>
                  <a:pt x="3004891" y="850895"/>
                </a:cubicBezTo>
                <a:cubicBezTo>
                  <a:pt x="2996648" y="850895"/>
                  <a:pt x="2990405" y="853585"/>
                  <a:pt x="2986202" y="859005"/>
                </a:cubicBezTo>
                <a:cubicBezTo>
                  <a:pt x="2986079" y="859208"/>
                  <a:pt x="2985957" y="859249"/>
                  <a:pt x="2985834" y="859127"/>
                </a:cubicBezTo>
                <a:cubicBezTo>
                  <a:pt x="2985671" y="859045"/>
                  <a:pt x="2985590" y="858882"/>
                  <a:pt x="2985590" y="858719"/>
                </a:cubicBezTo>
                <a:cubicBezTo>
                  <a:pt x="2985590" y="858719"/>
                  <a:pt x="2985590" y="858719"/>
                  <a:pt x="2985590" y="825305"/>
                </a:cubicBezTo>
                <a:cubicBezTo>
                  <a:pt x="2985590" y="824327"/>
                  <a:pt x="2985100" y="823838"/>
                  <a:pt x="2984121" y="823838"/>
                </a:cubicBezTo>
                <a:cubicBezTo>
                  <a:pt x="2984121" y="823838"/>
                  <a:pt x="2984121" y="823838"/>
                  <a:pt x="2972940" y="823838"/>
                </a:cubicBezTo>
                <a:close/>
                <a:moveTo>
                  <a:pt x="3804508" y="821114"/>
                </a:moveTo>
                <a:cubicBezTo>
                  <a:pt x="3801742" y="821114"/>
                  <a:pt x="3799472" y="821981"/>
                  <a:pt x="3797656" y="823797"/>
                </a:cubicBezTo>
                <a:cubicBezTo>
                  <a:pt x="3795882" y="825572"/>
                  <a:pt x="3794973" y="827842"/>
                  <a:pt x="3794973" y="830649"/>
                </a:cubicBezTo>
                <a:cubicBezTo>
                  <a:pt x="3794973" y="833414"/>
                  <a:pt x="3795882" y="835684"/>
                  <a:pt x="3797656" y="837500"/>
                </a:cubicBezTo>
                <a:cubicBezTo>
                  <a:pt x="3799472" y="839275"/>
                  <a:pt x="3801742" y="840183"/>
                  <a:pt x="3804508" y="840183"/>
                </a:cubicBezTo>
                <a:cubicBezTo>
                  <a:pt x="3807314" y="840183"/>
                  <a:pt x="3809585" y="839275"/>
                  <a:pt x="3811401" y="837500"/>
                </a:cubicBezTo>
                <a:cubicBezTo>
                  <a:pt x="3813176" y="835684"/>
                  <a:pt x="3814042" y="833414"/>
                  <a:pt x="3814042" y="830649"/>
                </a:cubicBezTo>
                <a:cubicBezTo>
                  <a:pt x="3814042" y="827842"/>
                  <a:pt x="3813176" y="825572"/>
                  <a:pt x="3811401" y="823797"/>
                </a:cubicBezTo>
                <a:cubicBezTo>
                  <a:pt x="3809585" y="821981"/>
                  <a:pt x="3807314" y="821114"/>
                  <a:pt x="3804508" y="821114"/>
                </a:cubicBezTo>
                <a:close/>
                <a:moveTo>
                  <a:pt x="1956352" y="615715"/>
                </a:moveTo>
                <a:cubicBezTo>
                  <a:pt x="1956352" y="615715"/>
                  <a:pt x="1956352" y="615715"/>
                  <a:pt x="1994116" y="615715"/>
                </a:cubicBezTo>
                <a:cubicBezTo>
                  <a:pt x="1997331" y="615715"/>
                  <a:pt x="1998958" y="617186"/>
                  <a:pt x="1998958" y="620167"/>
                </a:cubicBezTo>
                <a:cubicBezTo>
                  <a:pt x="1998958" y="620167"/>
                  <a:pt x="1998958" y="620167"/>
                  <a:pt x="1998958" y="716581"/>
                </a:cubicBezTo>
                <a:cubicBezTo>
                  <a:pt x="1998958" y="720297"/>
                  <a:pt x="1995906" y="723318"/>
                  <a:pt x="1992163" y="723237"/>
                </a:cubicBezTo>
                <a:cubicBezTo>
                  <a:pt x="1984471" y="723114"/>
                  <a:pt x="1986384" y="722992"/>
                  <a:pt x="1971205" y="722992"/>
                </a:cubicBezTo>
                <a:cubicBezTo>
                  <a:pt x="1971205" y="722992"/>
                  <a:pt x="1971205" y="722992"/>
                  <a:pt x="1956352" y="722992"/>
                </a:cubicBezTo>
                <a:cubicBezTo>
                  <a:pt x="1947766" y="722992"/>
                  <a:pt x="1941743" y="721236"/>
                  <a:pt x="1938284" y="717724"/>
                </a:cubicBezTo>
                <a:cubicBezTo>
                  <a:pt x="1934784" y="714253"/>
                  <a:pt x="1933035" y="708209"/>
                  <a:pt x="1933035" y="699593"/>
                </a:cubicBezTo>
                <a:cubicBezTo>
                  <a:pt x="1933035" y="699593"/>
                  <a:pt x="1933035" y="699593"/>
                  <a:pt x="1933035" y="639523"/>
                </a:cubicBezTo>
                <a:cubicBezTo>
                  <a:pt x="1933035" y="630907"/>
                  <a:pt x="1934784" y="624781"/>
                  <a:pt x="1938284" y="621147"/>
                </a:cubicBezTo>
                <a:cubicBezTo>
                  <a:pt x="1941743" y="617553"/>
                  <a:pt x="1947766" y="615715"/>
                  <a:pt x="1956352" y="615715"/>
                </a:cubicBezTo>
                <a:close/>
                <a:moveTo>
                  <a:pt x="2891882" y="598281"/>
                </a:moveTo>
                <a:cubicBezTo>
                  <a:pt x="2891882" y="598281"/>
                  <a:pt x="2891882" y="598281"/>
                  <a:pt x="2920029" y="598281"/>
                </a:cubicBezTo>
                <a:cubicBezTo>
                  <a:pt x="2942505" y="598281"/>
                  <a:pt x="2953764" y="609798"/>
                  <a:pt x="2953764" y="632832"/>
                </a:cubicBezTo>
                <a:cubicBezTo>
                  <a:pt x="2953764" y="632832"/>
                  <a:pt x="2953764" y="632832"/>
                  <a:pt x="2953764" y="717330"/>
                </a:cubicBezTo>
                <a:cubicBezTo>
                  <a:pt x="2953764" y="740404"/>
                  <a:pt x="2942505" y="751921"/>
                  <a:pt x="2920029" y="751921"/>
                </a:cubicBezTo>
                <a:cubicBezTo>
                  <a:pt x="2920029" y="751921"/>
                  <a:pt x="2920029" y="751921"/>
                  <a:pt x="2891882" y="751921"/>
                </a:cubicBezTo>
                <a:cubicBezTo>
                  <a:pt x="2869406" y="751921"/>
                  <a:pt x="2858147" y="740404"/>
                  <a:pt x="2858147" y="717330"/>
                </a:cubicBezTo>
                <a:cubicBezTo>
                  <a:pt x="2858147" y="717330"/>
                  <a:pt x="2858147" y="717330"/>
                  <a:pt x="2858147" y="632832"/>
                </a:cubicBezTo>
                <a:cubicBezTo>
                  <a:pt x="2858147" y="609798"/>
                  <a:pt x="2869406" y="598281"/>
                  <a:pt x="2891882" y="598281"/>
                </a:cubicBezTo>
                <a:close/>
                <a:moveTo>
                  <a:pt x="3490038" y="598009"/>
                </a:moveTo>
                <a:cubicBezTo>
                  <a:pt x="3490038" y="598009"/>
                  <a:pt x="3490038" y="598009"/>
                  <a:pt x="3546346" y="598009"/>
                </a:cubicBezTo>
                <a:cubicBezTo>
                  <a:pt x="3549041" y="598009"/>
                  <a:pt x="3550347" y="599236"/>
                  <a:pt x="3550347" y="601649"/>
                </a:cubicBezTo>
                <a:cubicBezTo>
                  <a:pt x="3550347" y="601649"/>
                  <a:pt x="3550347" y="601649"/>
                  <a:pt x="3550347" y="714865"/>
                </a:cubicBezTo>
                <a:cubicBezTo>
                  <a:pt x="3550347" y="726685"/>
                  <a:pt x="3547162" y="735806"/>
                  <a:pt x="3540711" y="742269"/>
                </a:cubicBezTo>
                <a:cubicBezTo>
                  <a:pt x="3534259" y="748690"/>
                  <a:pt x="3525031" y="751921"/>
                  <a:pt x="3512945" y="751921"/>
                </a:cubicBezTo>
                <a:cubicBezTo>
                  <a:pt x="3512945" y="751921"/>
                  <a:pt x="3512945" y="751921"/>
                  <a:pt x="3490038" y="751921"/>
                </a:cubicBezTo>
                <a:cubicBezTo>
                  <a:pt x="3467784" y="751921"/>
                  <a:pt x="3456637" y="740224"/>
                  <a:pt x="3456637" y="716869"/>
                </a:cubicBezTo>
                <a:cubicBezTo>
                  <a:pt x="3456637" y="716869"/>
                  <a:pt x="3456637" y="716869"/>
                  <a:pt x="3456637" y="633061"/>
                </a:cubicBezTo>
                <a:cubicBezTo>
                  <a:pt x="3456637" y="609706"/>
                  <a:pt x="3467784" y="598009"/>
                  <a:pt x="3490038" y="598009"/>
                </a:cubicBezTo>
                <a:close/>
                <a:moveTo>
                  <a:pt x="3943409" y="572402"/>
                </a:moveTo>
                <a:cubicBezTo>
                  <a:pt x="3938592" y="572402"/>
                  <a:pt x="3935366" y="574158"/>
                  <a:pt x="3933774" y="577629"/>
                </a:cubicBezTo>
                <a:cubicBezTo>
                  <a:pt x="3933774" y="577629"/>
                  <a:pt x="3933774" y="577629"/>
                  <a:pt x="3876655" y="667716"/>
                </a:cubicBezTo>
                <a:cubicBezTo>
                  <a:pt x="3875063" y="670697"/>
                  <a:pt x="3875063" y="673515"/>
                  <a:pt x="3876655" y="676170"/>
                </a:cubicBezTo>
                <a:cubicBezTo>
                  <a:pt x="3876655" y="676170"/>
                  <a:pt x="3876655" y="676170"/>
                  <a:pt x="3938592" y="771893"/>
                </a:cubicBezTo>
                <a:cubicBezTo>
                  <a:pt x="3941000" y="775691"/>
                  <a:pt x="3944756" y="777528"/>
                  <a:pt x="3949860" y="777528"/>
                </a:cubicBezTo>
                <a:cubicBezTo>
                  <a:pt x="3949860" y="777528"/>
                  <a:pt x="3949860" y="777528"/>
                  <a:pt x="3968723" y="777528"/>
                </a:cubicBezTo>
                <a:cubicBezTo>
                  <a:pt x="3970887" y="777528"/>
                  <a:pt x="3972356" y="776956"/>
                  <a:pt x="3973173" y="775731"/>
                </a:cubicBezTo>
                <a:cubicBezTo>
                  <a:pt x="3973949" y="774547"/>
                  <a:pt x="3973826" y="772995"/>
                  <a:pt x="3972765" y="771117"/>
                </a:cubicBezTo>
                <a:cubicBezTo>
                  <a:pt x="3972765" y="771117"/>
                  <a:pt x="3972765" y="771117"/>
                  <a:pt x="3907603" y="672168"/>
                </a:cubicBezTo>
                <a:cubicBezTo>
                  <a:pt x="3907603" y="672168"/>
                  <a:pt x="3907603" y="672168"/>
                  <a:pt x="3907603" y="670534"/>
                </a:cubicBezTo>
                <a:cubicBezTo>
                  <a:pt x="3907603" y="670534"/>
                  <a:pt x="3907603" y="670534"/>
                  <a:pt x="3966722" y="578854"/>
                </a:cubicBezTo>
                <a:cubicBezTo>
                  <a:pt x="3968070" y="576976"/>
                  <a:pt x="3968396" y="575424"/>
                  <a:pt x="3967743" y="574199"/>
                </a:cubicBezTo>
                <a:cubicBezTo>
                  <a:pt x="3967090" y="573014"/>
                  <a:pt x="3965661" y="572402"/>
                  <a:pt x="3963497" y="572402"/>
                </a:cubicBezTo>
                <a:cubicBezTo>
                  <a:pt x="3963497" y="572402"/>
                  <a:pt x="3963497" y="572402"/>
                  <a:pt x="3943409" y="572402"/>
                </a:cubicBezTo>
                <a:close/>
                <a:moveTo>
                  <a:pt x="3765070" y="572402"/>
                </a:moveTo>
                <a:cubicBezTo>
                  <a:pt x="3761592" y="572402"/>
                  <a:pt x="3759832" y="574280"/>
                  <a:pt x="3759832" y="578037"/>
                </a:cubicBezTo>
                <a:cubicBezTo>
                  <a:pt x="3759832" y="578037"/>
                  <a:pt x="3759832" y="578037"/>
                  <a:pt x="3759832" y="771934"/>
                </a:cubicBezTo>
                <a:cubicBezTo>
                  <a:pt x="3759832" y="775691"/>
                  <a:pt x="3761714" y="777528"/>
                  <a:pt x="3765479" y="777528"/>
                </a:cubicBezTo>
                <a:cubicBezTo>
                  <a:pt x="3765479" y="777528"/>
                  <a:pt x="3765479" y="777528"/>
                  <a:pt x="3783647" y="777528"/>
                </a:cubicBezTo>
                <a:cubicBezTo>
                  <a:pt x="3787370" y="777528"/>
                  <a:pt x="3789253" y="775691"/>
                  <a:pt x="3789253" y="771934"/>
                </a:cubicBezTo>
                <a:cubicBezTo>
                  <a:pt x="3789253" y="771934"/>
                  <a:pt x="3789253" y="771934"/>
                  <a:pt x="3789253" y="578037"/>
                </a:cubicBezTo>
                <a:cubicBezTo>
                  <a:pt x="3789253" y="574280"/>
                  <a:pt x="3787370" y="572402"/>
                  <a:pt x="3783647" y="572402"/>
                </a:cubicBezTo>
                <a:cubicBezTo>
                  <a:pt x="3783647" y="572402"/>
                  <a:pt x="3783647" y="572402"/>
                  <a:pt x="3765070" y="572402"/>
                </a:cubicBezTo>
                <a:close/>
                <a:moveTo>
                  <a:pt x="3486799" y="572402"/>
                </a:moveTo>
                <a:cubicBezTo>
                  <a:pt x="3468287" y="572402"/>
                  <a:pt x="3453738" y="577629"/>
                  <a:pt x="3443154" y="588084"/>
                </a:cubicBezTo>
                <a:cubicBezTo>
                  <a:pt x="3432529" y="598538"/>
                  <a:pt x="3427217" y="613157"/>
                  <a:pt x="3427217" y="631943"/>
                </a:cubicBezTo>
                <a:cubicBezTo>
                  <a:pt x="3427217" y="631943"/>
                  <a:pt x="3427217" y="631943"/>
                  <a:pt x="3427217" y="718028"/>
                </a:cubicBezTo>
                <a:cubicBezTo>
                  <a:pt x="3427217" y="736772"/>
                  <a:pt x="3432529" y="751392"/>
                  <a:pt x="3443154" y="761847"/>
                </a:cubicBezTo>
                <a:cubicBezTo>
                  <a:pt x="3453738" y="772301"/>
                  <a:pt x="3468287" y="777528"/>
                  <a:pt x="3486799" y="777528"/>
                </a:cubicBezTo>
                <a:cubicBezTo>
                  <a:pt x="3486799" y="777528"/>
                  <a:pt x="3486799" y="777528"/>
                  <a:pt x="3507722" y="777528"/>
                </a:cubicBezTo>
                <a:cubicBezTo>
                  <a:pt x="3528400" y="777528"/>
                  <a:pt x="3542090" y="770423"/>
                  <a:pt x="3548792" y="756211"/>
                </a:cubicBezTo>
                <a:cubicBezTo>
                  <a:pt x="3548792" y="756211"/>
                  <a:pt x="3548792" y="756211"/>
                  <a:pt x="3550385" y="756211"/>
                </a:cubicBezTo>
                <a:cubicBezTo>
                  <a:pt x="3550385" y="756211"/>
                  <a:pt x="3550385" y="756211"/>
                  <a:pt x="3550385" y="771934"/>
                </a:cubicBezTo>
                <a:cubicBezTo>
                  <a:pt x="3550385" y="775691"/>
                  <a:pt x="3552265" y="777528"/>
                  <a:pt x="3556025" y="777528"/>
                </a:cubicBezTo>
                <a:cubicBezTo>
                  <a:pt x="3556025" y="777528"/>
                  <a:pt x="3556025" y="777528"/>
                  <a:pt x="3574169" y="777528"/>
                </a:cubicBezTo>
                <a:cubicBezTo>
                  <a:pt x="3577888" y="777528"/>
                  <a:pt x="3579768" y="775691"/>
                  <a:pt x="3579768" y="771934"/>
                </a:cubicBezTo>
                <a:cubicBezTo>
                  <a:pt x="3579768" y="771934"/>
                  <a:pt x="3579768" y="771934"/>
                  <a:pt x="3579768" y="578037"/>
                </a:cubicBezTo>
                <a:cubicBezTo>
                  <a:pt x="3579768" y="574280"/>
                  <a:pt x="3577888" y="572402"/>
                  <a:pt x="3574169" y="572402"/>
                </a:cubicBezTo>
                <a:cubicBezTo>
                  <a:pt x="3574169" y="572402"/>
                  <a:pt x="3574169" y="572402"/>
                  <a:pt x="3486799" y="572402"/>
                </a:cubicBezTo>
                <a:close/>
                <a:moveTo>
                  <a:pt x="3141366" y="572402"/>
                </a:moveTo>
                <a:cubicBezTo>
                  <a:pt x="3137612" y="572402"/>
                  <a:pt x="3135735" y="574280"/>
                  <a:pt x="3135735" y="578037"/>
                </a:cubicBezTo>
                <a:cubicBezTo>
                  <a:pt x="3135735" y="578037"/>
                  <a:pt x="3135735" y="578037"/>
                  <a:pt x="3135735" y="771893"/>
                </a:cubicBezTo>
                <a:cubicBezTo>
                  <a:pt x="3135735" y="775691"/>
                  <a:pt x="3137612" y="777528"/>
                  <a:pt x="3141366" y="777528"/>
                </a:cubicBezTo>
                <a:cubicBezTo>
                  <a:pt x="3141366" y="777528"/>
                  <a:pt x="3141366" y="777528"/>
                  <a:pt x="3159440" y="777528"/>
                </a:cubicBezTo>
                <a:cubicBezTo>
                  <a:pt x="3163194" y="777528"/>
                  <a:pt x="3165070" y="775691"/>
                  <a:pt x="3165070" y="771893"/>
                </a:cubicBezTo>
                <a:cubicBezTo>
                  <a:pt x="3165070" y="771893"/>
                  <a:pt x="3165070" y="771893"/>
                  <a:pt x="3165070" y="635169"/>
                </a:cubicBezTo>
                <a:cubicBezTo>
                  <a:pt x="3165070" y="623367"/>
                  <a:pt x="3168293" y="614260"/>
                  <a:pt x="3174699" y="607808"/>
                </a:cubicBezTo>
                <a:cubicBezTo>
                  <a:pt x="3181145" y="601356"/>
                  <a:pt x="3190366" y="598170"/>
                  <a:pt x="3202443" y="598170"/>
                </a:cubicBezTo>
                <a:cubicBezTo>
                  <a:pt x="3202443" y="598170"/>
                  <a:pt x="3202443" y="598170"/>
                  <a:pt x="3217294" y="598170"/>
                </a:cubicBezTo>
                <a:cubicBezTo>
                  <a:pt x="3239815" y="598170"/>
                  <a:pt x="3251076" y="609809"/>
                  <a:pt x="3251076" y="633127"/>
                </a:cubicBezTo>
                <a:cubicBezTo>
                  <a:pt x="3251076" y="633127"/>
                  <a:pt x="3251076" y="633127"/>
                  <a:pt x="3251076" y="771893"/>
                </a:cubicBezTo>
                <a:cubicBezTo>
                  <a:pt x="3251076" y="775691"/>
                  <a:pt x="3252953" y="777528"/>
                  <a:pt x="3256706" y="777528"/>
                </a:cubicBezTo>
                <a:cubicBezTo>
                  <a:pt x="3256706" y="777528"/>
                  <a:pt x="3256706" y="777528"/>
                  <a:pt x="3274780" y="777528"/>
                </a:cubicBezTo>
                <a:cubicBezTo>
                  <a:pt x="3278534" y="777528"/>
                  <a:pt x="3280411" y="775691"/>
                  <a:pt x="3280411" y="771893"/>
                </a:cubicBezTo>
                <a:cubicBezTo>
                  <a:pt x="3280411" y="771893"/>
                  <a:pt x="3280411" y="771893"/>
                  <a:pt x="3280411" y="636353"/>
                </a:cubicBezTo>
                <a:cubicBezTo>
                  <a:pt x="3280411" y="624551"/>
                  <a:pt x="3283675" y="615240"/>
                  <a:pt x="3290243" y="608420"/>
                </a:cubicBezTo>
                <a:cubicBezTo>
                  <a:pt x="3296812" y="601560"/>
                  <a:pt x="3306115" y="598170"/>
                  <a:pt x="3318191" y="598170"/>
                </a:cubicBezTo>
                <a:cubicBezTo>
                  <a:pt x="3318191" y="598170"/>
                  <a:pt x="3318191" y="598170"/>
                  <a:pt x="3331451" y="598170"/>
                </a:cubicBezTo>
                <a:cubicBezTo>
                  <a:pt x="3353932" y="598170"/>
                  <a:pt x="3365192" y="609809"/>
                  <a:pt x="3365192" y="633127"/>
                </a:cubicBezTo>
                <a:cubicBezTo>
                  <a:pt x="3365192" y="633127"/>
                  <a:pt x="3365192" y="633127"/>
                  <a:pt x="3365192" y="771893"/>
                </a:cubicBezTo>
                <a:cubicBezTo>
                  <a:pt x="3365192" y="775691"/>
                  <a:pt x="3367069" y="777528"/>
                  <a:pt x="3370823" y="777528"/>
                </a:cubicBezTo>
                <a:cubicBezTo>
                  <a:pt x="3370823" y="777528"/>
                  <a:pt x="3370823" y="777528"/>
                  <a:pt x="3388897" y="777528"/>
                </a:cubicBezTo>
                <a:cubicBezTo>
                  <a:pt x="3392650" y="777528"/>
                  <a:pt x="3394527" y="775691"/>
                  <a:pt x="3394527" y="771893"/>
                </a:cubicBezTo>
                <a:cubicBezTo>
                  <a:pt x="3394527" y="771893"/>
                  <a:pt x="3394527" y="771893"/>
                  <a:pt x="3394527" y="631943"/>
                </a:cubicBezTo>
                <a:cubicBezTo>
                  <a:pt x="3394527" y="613157"/>
                  <a:pt x="3389427" y="598538"/>
                  <a:pt x="3379268" y="588084"/>
                </a:cubicBezTo>
                <a:cubicBezTo>
                  <a:pt x="3369068" y="577629"/>
                  <a:pt x="3354870" y="572402"/>
                  <a:pt x="3336673" y="572402"/>
                </a:cubicBezTo>
                <a:cubicBezTo>
                  <a:pt x="3336673" y="572402"/>
                  <a:pt x="3336673" y="572402"/>
                  <a:pt x="3322597" y="572402"/>
                </a:cubicBezTo>
                <a:cubicBezTo>
                  <a:pt x="3312398" y="572402"/>
                  <a:pt x="3302687" y="574770"/>
                  <a:pt x="3293466" y="579426"/>
                </a:cubicBezTo>
                <a:cubicBezTo>
                  <a:pt x="3284205" y="584122"/>
                  <a:pt x="3277432" y="590901"/>
                  <a:pt x="3273189" y="599763"/>
                </a:cubicBezTo>
                <a:cubicBezTo>
                  <a:pt x="3264050" y="581508"/>
                  <a:pt x="3247689" y="572402"/>
                  <a:pt x="3224148" y="572402"/>
                </a:cubicBezTo>
                <a:cubicBezTo>
                  <a:pt x="3224148" y="572402"/>
                  <a:pt x="3224148" y="572402"/>
                  <a:pt x="3209256" y="572402"/>
                </a:cubicBezTo>
                <a:cubicBezTo>
                  <a:pt x="3188367" y="572402"/>
                  <a:pt x="3174169" y="579507"/>
                  <a:pt x="3166662" y="593719"/>
                </a:cubicBezTo>
                <a:cubicBezTo>
                  <a:pt x="3166662" y="593719"/>
                  <a:pt x="3166662" y="593719"/>
                  <a:pt x="3165070" y="593719"/>
                </a:cubicBezTo>
                <a:cubicBezTo>
                  <a:pt x="3165070" y="593719"/>
                  <a:pt x="3165070" y="593719"/>
                  <a:pt x="3165070" y="578037"/>
                </a:cubicBezTo>
                <a:cubicBezTo>
                  <a:pt x="3165070" y="574280"/>
                  <a:pt x="3163194" y="572402"/>
                  <a:pt x="3159440" y="572402"/>
                </a:cubicBezTo>
                <a:cubicBezTo>
                  <a:pt x="3159440" y="572402"/>
                  <a:pt x="3159440" y="572402"/>
                  <a:pt x="3141366" y="572402"/>
                </a:cubicBezTo>
                <a:close/>
                <a:moveTo>
                  <a:pt x="3020362" y="572402"/>
                </a:moveTo>
                <a:cubicBezTo>
                  <a:pt x="3016616" y="572402"/>
                  <a:pt x="3014784" y="574280"/>
                  <a:pt x="3014784" y="578037"/>
                </a:cubicBezTo>
                <a:cubicBezTo>
                  <a:pt x="3014784" y="578037"/>
                  <a:pt x="3014784" y="578037"/>
                  <a:pt x="3014784" y="771893"/>
                </a:cubicBezTo>
                <a:cubicBezTo>
                  <a:pt x="3014784" y="775691"/>
                  <a:pt x="3016616" y="777528"/>
                  <a:pt x="3020362" y="777528"/>
                </a:cubicBezTo>
                <a:cubicBezTo>
                  <a:pt x="3020362" y="777528"/>
                  <a:pt x="3020362" y="777528"/>
                  <a:pt x="3038439" y="777528"/>
                </a:cubicBezTo>
                <a:cubicBezTo>
                  <a:pt x="3042144" y="777528"/>
                  <a:pt x="3044017" y="775691"/>
                  <a:pt x="3044017" y="771893"/>
                </a:cubicBezTo>
                <a:cubicBezTo>
                  <a:pt x="3044017" y="771893"/>
                  <a:pt x="3044017" y="771893"/>
                  <a:pt x="3044017" y="638763"/>
                </a:cubicBezTo>
                <a:cubicBezTo>
                  <a:pt x="3044017" y="626185"/>
                  <a:pt x="3047233" y="616261"/>
                  <a:pt x="3053666" y="609033"/>
                </a:cubicBezTo>
                <a:cubicBezTo>
                  <a:pt x="3060098" y="601764"/>
                  <a:pt x="3069300" y="598170"/>
                  <a:pt x="3081351" y="598170"/>
                </a:cubicBezTo>
                <a:cubicBezTo>
                  <a:pt x="3081351" y="598170"/>
                  <a:pt x="3081351" y="598170"/>
                  <a:pt x="3103010" y="598170"/>
                </a:cubicBezTo>
                <a:cubicBezTo>
                  <a:pt x="3104843" y="598415"/>
                  <a:pt x="3106186" y="598088"/>
                  <a:pt x="3107000" y="597149"/>
                </a:cubicBezTo>
                <a:cubicBezTo>
                  <a:pt x="3107815" y="596210"/>
                  <a:pt x="3108222" y="594781"/>
                  <a:pt x="3108222" y="592902"/>
                </a:cubicBezTo>
                <a:cubicBezTo>
                  <a:pt x="3108222" y="592902"/>
                  <a:pt x="3108222" y="592902"/>
                  <a:pt x="3108222" y="578037"/>
                </a:cubicBezTo>
                <a:cubicBezTo>
                  <a:pt x="3108222" y="574280"/>
                  <a:pt x="3106471" y="572402"/>
                  <a:pt x="3103010" y="572402"/>
                </a:cubicBezTo>
                <a:cubicBezTo>
                  <a:pt x="3103010" y="572402"/>
                  <a:pt x="3103010" y="572402"/>
                  <a:pt x="3087336" y="572402"/>
                </a:cubicBezTo>
                <a:cubicBezTo>
                  <a:pt x="3077198" y="572402"/>
                  <a:pt x="3068363" y="574566"/>
                  <a:pt x="3060872" y="578854"/>
                </a:cubicBezTo>
                <a:cubicBezTo>
                  <a:pt x="3053381" y="583142"/>
                  <a:pt x="3048332" y="588247"/>
                  <a:pt x="3045645" y="594127"/>
                </a:cubicBezTo>
                <a:cubicBezTo>
                  <a:pt x="3045645" y="594127"/>
                  <a:pt x="3045645" y="594127"/>
                  <a:pt x="3044017" y="594127"/>
                </a:cubicBezTo>
                <a:cubicBezTo>
                  <a:pt x="3044017" y="594127"/>
                  <a:pt x="3044017" y="594127"/>
                  <a:pt x="3044017" y="578037"/>
                </a:cubicBezTo>
                <a:cubicBezTo>
                  <a:pt x="3044017" y="574280"/>
                  <a:pt x="3042144" y="572402"/>
                  <a:pt x="3038439" y="572402"/>
                </a:cubicBezTo>
                <a:cubicBezTo>
                  <a:pt x="3038439" y="572402"/>
                  <a:pt x="3038439" y="572402"/>
                  <a:pt x="3020362" y="572402"/>
                </a:cubicBezTo>
                <a:close/>
                <a:moveTo>
                  <a:pt x="2888670" y="572402"/>
                </a:moveTo>
                <a:cubicBezTo>
                  <a:pt x="2870202" y="572402"/>
                  <a:pt x="2855689" y="577629"/>
                  <a:pt x="2845130" y="588084"/>
                </a:cubicBezTo>
                <a:cubicBezTo>
                  <a:pt x="2834530" y="598538"/>
                  <a:pt x="2829271" y="613157"/>
                  <a:pt x="2829271" y="631943"/>
                </a:cubicBezTo>
                <a:cubicBezTo>
                  <a:pt x="2829271" y="631943"/>
                  <a:pt x="2829271" y="631943"/>
                  <a:pt x="2829271" y="718028"/>
                </a:cubicBezTo>
                <a:cubicBezTo>
                  <a:pt x="2829271" y="736772"/>
                  <a:pt x="2834530" y="751392"/>
                  <a:pt x="2845130" y="761847"/>
                </a:cubicBezTo>
                <a:cubicBezTo>
                  <a:pt x="2855689" y="772301"/>
                  <a:pt x="2870202" y="777528"/>
                  <a:pt x="2888670" y="777528"/>
                </a:cubicBezTo>
                <a:cubicBezTo>
                  <a:pt x="2888670" y="777528"/>
                  <a:pt x="2888670" y="777528"/>
                  <a:pt x="2923200" y="777528"/>
                </a:cubicBezTo>
                <a:cubicBezTo>
                  <a:pt x="2941668" y="777528"/>
                  <a:pt x="2956222" y="772301"/>
                  <a:pt x="2966781" y="761847"/>
                </a:cubicBezTo>
                <a:cubicBezTo>
                  <a:pt x="2977340" y="751392"/>
                  <a:pt x="2982640" y="736772"/>
                  <a:pt x="2982640" y="718028"/>
                </a:cubicBezTo>
                <a:cubicBezTo>
                  <a:pt x="2982640" y="718028"/>
                  <a:pt x="2982640" y="718028"/>
                  <a:pt x="2982640" y="631943"/>
                </a:cubicBezTo>
                <a:cubicBezTo>
                  <a:pt x="2982640" y="613157"/>
                  <a:pt x="2977340" y="598538"/>
                  <a:pt x="2966781" y="588084"/>
                </a:cubicBezTo>
                <a:cubicBezTo>
                  <a:pt x="2956222" y="577629"/>
                  <a:pt x="2941668" y="572402"/>
                  <a:pt x="2923200" y="572402"/>
                </a:cubicBezTo>
                <a:cubicBezTo>
                  <a:pt x="2923200" y="572402"/>
                  <a:pt x="2923200" y="572402"/>
                  <a:pt x="2888670" y="572402"/>
                </a:cubicBezTo>
                <a:close/>
                <a:moveTo>
                  <a:pt x="2536064" y="572402"/>
                </a:moveTo>
                <a:cubicBezTo>
                  <a:pt x="2532311" y="572402"/>
                  <a:pt x="2530435" y="574280"/>
                  <a:pt x="2530435" y="578037"/>
                </a:cubicBezTo>
                <a:cubicBezTo>
                  <a:pt x="2530435" y="578037"/>
                  <a:pt x="2530435" y="578037"/>
                  <a:pt x="2530435" y="771893"/>
                </a:cubicBezTo>
                <a:cubicBezTo>
                  <a:pt x="2530435" y="775691"/>
                  <a:pt x="2532311" y="777528"/>
                  <a:pt x="2536064" y="777528"/>
                </a:cubicBezTo>
                <a:cubicBezTo>
                  <a:pt x="2536064" y="777528"/>
                  <a:pt x="2536064" y="777528"/>
                  <a:pt x="2554135" y="777528"/>
                </a:cubicBezTo>
                <a:cubicBezTo>
                  <a:pt x="2557888" y="777528"/>
                  <a:pt x="2559765" y="775691"/>
                  <a:pt x="2559765" y="771893"/>
                </a:cubicBezTo>
                <a:cubicBezTo>
                  <a:pt x="2559765" y="771893"/>
                  <a:pt x="2559765" y="771893"/>
                  <a:pt x="2559765" y="635169"/>
                </a:cubicBezTo>
                <a:cubicBezTo>
                  <a:pt x="2559765" y="623367"/>
                  <a:pt x="2562988" y="614260"/>
                  <a:pt x="2569392" y="607808"/>
                </a:cubicBezTo>
                <a:cubicBezTo>
                  <a:pt x="2575837" y="601356"/>
                  <a:pt x="2585056" y="598170"/>
                  <a:pt x="2597131" y="598170"/>
                </a:cubicBezTo>
                <a:cubicBezTo>
                  <a:pt x="2597131" y="598170"/>
                  <a:pt x="2597131" y="598170"/>
                  <a:pt x="2619648" y="598170"/>
                </a:cubicBezTo>
                <a:cubicBezTo>
                  <a:pt x="2642125" y="598170"/>
                  <a:pt x="2653384" y="609809"/>
                  <a:pt x="2653384" y="633127"/>
                </a:cubicBezTo>
                <a:cubicBezTo>
                  <a:pt x="2653384" y="633127"/>
                  <a:pt x="2653384" y="633127"/>
                  <a:pt x="2653384" y="771893"/>
                </a:cubicBezTo>
                <a:cubicBezTo>
                  <a:pt x="2653384" y="775691"/>
                  <a:pt x="2655260" y="777528"/>
                  <a:pt x="2659013" y="777528"/>
                </a:cubicBezTo>
                <a:cubicBezTo>
                  <a:pt x="2659013" y="777528"/>
                  <a:pt x="2659013" y="777528"/>
                  <a:pt x="2677084" y="777528"/>
                </a:cubicBezTo>
                <a:cubicBezTo>
                  <a:pt x="2680837" y="777528"/>
                  <a:pt x="2682713" y="775691"/>
                  <a:pt x="2682713" y="771893"/>
                </a:cubicBezTo>
                <a:cubicBezTo>
                  <a:pt x="2682713" y="771893"/>
                  <a:pt x="2682713" y="771893"/>
                  <a:pt x="2682713" y="631943"/>
                </a:cubicBezTo>
                <a:cubicBezTo>
                  <a:pt x="2682713" y="613157"/>
                  <a:pt x="2677615" y="598538"/>
                  <a:pt x="2667457" y="588084"/>
                </a:cubicBezTo>
                <a:cubicBezTo>
                  <a:pt x="2657259" y="577629"/>
                  <a:pt x="2643063" y="572402"/>
                  <a:pt x="2624870" y="572402"/>
                </a:cubicBezTo>
                <a:cubicBezTo>
                  <a:pt x="2624870" y="572402"/>
                  <a:pt x="2624870" y="572402"/>
                  <a:pt x="2602352" y="572402"/>
                </a:cubicBezTo>
                <a:cubicBezTo>
                  <a:pt x="2581711" y="572402"/>
                  <a:pt x="2568046" y="579507"/>
                  <a:pt x="2561356" y="593719"/>
                </a:cubicBezTo>
                <a:cubicBezTo>
                  <a:pt x="2561356" y="593719"/>
                  <a:pt x="2561356" y="593719"/>
                  <a:pt x="2559765" y="593719"/>
                </a:cubicBezTo>
                <a:cubicBezTo>
                  <a:pt x="2559765" y="593719"/>
                  <a:pt x="2559765" y="593719"/>
                  <a:pt x="2559765" y="578037"/>
                </a:cubicBezTo>
                <a:cubicBezTo>
                  <a:pt x="2559765" y="574280"/>
                  <a:pt x="2557888" y="572402"/>
                  <a:pt x="2554135" y="572402"/>
                </a:cubicBezTo>
                <a:cubicBezTo>
                  <a:pt x="2554135" y="572402"/>
                  <a:pt x="2554135" y="572402"/>
                  <a:pt x="2536064" y="572402"/>
                </a:cubicBezTo>
                <a:close/>
                <a:moveTo>
                  <a:pt x="2468387" y="572402"/>
                </a:moveTo>
                <a:cubicBezTo>
                  <a:pt x="2464868" y="572402"/>
                  <a:pt x="2463149" y="574280"/>
                  <a:pt x="2463149" y="578037"/>
                </a:cubicBezTo>
                <a:cubicBezTo>
                  <a:pt x="2463149" y="578037"/>
                  <a:pt x="2463149" y="578037"/>
                  <a:pt x="2463149" y="771934"/>
                </a:cubicBezTo>
                <a:cubicBezTo>
                  <a:pt x="2463149" y="775691"/>
                  <a:pt x="2465031" y="777528"/>
                  <a:pt x="2468796" y="777528"/>
                </a:cubicBezTo>
                <a:cubicBezTo>
                  <a:pt x="2468796" y="777528"/>
                  <a:pt x="2468796" y="777528"/>
                  <a:pt x="2486923" y="777528"/>
                </a:cubicBezTo>
                <a:cubicBezTo>
                  <a:pt x="2490687" y="777528"/>
                  <a:pt x="2492570" y="775691"/>
                  <a:pt x="2492570" y="771934"/>
                </a:cubicBezTo>
                <a:cubicBezTo>
                  <a:pt x="2492570" y="771934"/>
                  <a:pt x="2492570" y="771934"/>
                  <a:pt x="2492570" y="578037"/>
                </a:cubicBezTo>
                <a:cubicBezTo>
                  <a:pt x="2492570" y="574280"/>
                  <a:pt x="2490687" y="572402"/>
                  <a:pt x="2486923" y="572402"/>
                </a:cubicBezTo>
                <a:cubicBezTo>
                  <a:pt x="2486923" y="572402"/>
                  <a:pt x="2486923" y="572402"/>
                  <a:pt x="2468387" y="572402"/>
                </a:cubicBezTo>
                <a:close/>
                <a:moveTo>
                  <a:pt x="2191833" y="571312"/>
                </a:moveTo>
                <a:cubicBezTo>
                  <a:pt x="2186199" y="571312"/>
                  <a:pt x="2184199" y="574130"/>
                  <a:pt x="2185791" y="579766"/>
                </a:cubicBezTo>
                <a:cubicBezTo>
                  <a:pt x="2185791" y="579766"/>
                  <a:pt x="2185791" y="579766"/>
                  <a:pt x="2236209" y="768121"/>
                </a:cubicBezTo>
                <a:cubicBezTo>
                  <a:pt x="2237801" y="774043"/>
                  <a:pt x="2241434" y="776984"/>
                  <a:pt x="2247068" y="776984"/>
                </a:cubicBezTo>
                <a:cubicBezTo>
                  <a:pt x="2247068" y="776984"/>
                  <a:pt x="2247068" y="776984"/>
                  <a:pt x="2298262" y="776984"/>
                </a:cubicBezTo>
                <a:cubicBezTo>
                  <a:pt x="2304467" y="776984"/>
                  <a:pt x="2308060" y="774043"/>
                  <a:pt x="2309162" y="768121"/>
                </a:cubicBezTo>
                <a:cubicBezTo>
                  <a:pt x="2309162" y="768121"/>
                  <a:pt x="2309162" y="768121"/>
                  <a:pt x="2359947" y="579766"/>
                </a:cubicBezTo>
                <a:cubicBezTo>
                  <a:pt x="2361539" y="574130"/>
                  <a:pt x="2359539" y="571312"/>
                  <a:pt x="2353905" y="571312"/>
                </a:cubicBezTo>
                <a:cubicBezTo>
                  <a:pt x="2353905" y="571312"/>
                  <a:pt x="2353905" y="571312"/>
                  <a:pt x="2318429" y="571312"/>
                </a:cubicBezTo>
                <a:cubicBezTo>
                  <a:pt x="2312795" y="571312"/>
                  <a:pt x="2309407" y="574130"/>
                  <a:pt x="2308345" y="579766"/>
                </a:cubicBezTo>
                <a:cubicBezTo>
                  <a:pt x="2308345" y="579766"/>
                  <a:pt x="2308345" y="579766"/>
                  <a:pt x="2274502" y="731406"/>
                </a:cubicBezTo>
                <a:cubicBezTo>
                  <a:pt x="2274502" y="731406"/>
                  <a:pt x="2274502" y="731406"/>
                  <a:pt x="2271644" y="731406"/>
                </a:cubicBezTo>
                <a:cubicBezTo>
                  <a:pt x="2271644" y="731406"/>
                  <a:pt x="2271644" y="731406"/>
                  <a:pt x="2236985" y="579766"/>
                </a:cubicBezTo>
                <a:cubicBezTo>
                  <a:pt x="2235923" y="574130"/>
                  <a:pt x="2232698" y="571312"/>
                  <a:pt x="2227309" y="571312"/>
                </a:cubicBezTo>
                <a:cubicBezTo>
                  <a:pt x="2227309" y="571312"/>
                  <a:pt x="2227309" y="571312"/>
                  <a:pt x="2191833" y="571312"/>
                </a:cubicBezTo>
                <a:close/>
                <a:moveTo>
                  <a:pt x="2128028" y="571312"/>
                </a:moveTo>
                <a:cubicBezTo>
                  <a:pt x="2121863" y="571312"/>
                  <a:pt x="2117290" y="574008"/>
                  <a:pt x="2114350" y="579358"/>
                </a:cubicBezTo>
                <a:cubicBezTo>
                  <a:pt x="2114350" y="579358"/>
                  <a:pt x="2114350" y="579358"/>
                  <a:pt x="2065970" y="665286"/>
                </a:cubicBezTo>
                <a:cubicBezTo>
                  <a:pt x="2063520" y="669860"/>
                  <a:pt x="2063520" y="674271"/>
                  <a:pt x="2065970" y="678600"/>
                </a:cubicBezTo>
                <a:cubicBezTo>
                  <a:pt x="2065970" y="678600"/>
                  <a:pt x="2065970" y="678600"/>
                  <a:pt x="2117168" y="768489"/>
                </a:cubicBezTo>
                <a:cubicBezTo>
                  <a:pt x="2119291" y="772001"/>
                  <a:pt x="2121414" y="774288"/>
                  <a:pt x="2123414" y="775350"/>
                </a:cubicBezTo>
                <a:cubicBezTo>
                  <a:pt x="2125415" y="776453"/>
                  <a:pt x="2128722" y="776984"/>
                  <a:pt x="2133294" y="776984"/>
                </a:cubicBezTo>
                <a:cubicBezTo>
                  <a:pt x="2133294" y="776984"/>
                  <a:pt x="2133294" y="776984"/>
                  <a:pt x="2167957" y="776984"/>
                </a:cubicBezTo>
                <a:cubicBezTo>
                  <a:pt x="2171427" y="776984"/>
                  <a:pt x="2173877" y="775963"/>
                  <a:pt x="2175224" y="773962"/>
                </a:cubicBezTo>
                <a:cubicBezTo>
                  <a:pt x="2176571" y="771920"/>
                  <a:pt x="2176408" y="769592"/>
                  <a:pt x="2174816" y="766896"/>
                </a:cubicBezTo>
                <a:cubicBezTo>
                  <a:pt x="2174816" y="766896"/>
                  <a:pt x="2174816" y="766896"/>
                  <a:pt x="2118760" y="671330"/>
                </a:cubicBezTo>
                <a:cubicBezTo>
                  <a:pt x="2118760" y="671330"/>
                  <a:pt x="2118760" y="671330"/>
                  <a:pt x="2118760" y="669697"/>
                </a:cubicBezTo>
                <a:cubicBezTo>
                  <a:pt x="2118760" y="669697"/>
                  <a:pt x="2118760" y="669697"/>
                  <a:pt x="2172407" y="581400"/>
                </a:cubicBezTo>
                <a:cubicBezTo>
                  <a:pt x="2174244" y="578459"/>
                  <a:pt x="2174652" y="576009"/>
                  <a:pt x="2173591" y="574130"/>
                </a:cubicBezTo>
                <a:cubicBezTo>
                  <a:pt x="2172529" y="572252"/>
                  <a:pt x="2170366" y="571312"/>
                  <a:pt x="2167140" y="571312"/>
                </a:cubicBezTo>
                <a:cubicBezTo>
                  <a:pt x="2167140" y="571312"/>
                  <a:pt x="2167140" y="571312"/>
                  <a:pt x="2128028" y="571312"/>
                </a:cubicBezTo>
                <a:close/>
                <a:moveTo>
                  <a:pt x="1948272" y="571312"/>
                </a:moveTo>
                <a:cubicBezTo>
                  <a:pt x="1927060" y="571312"/>
                  <a:pt x="1910661" y="576950"/>
                  <a:pt x="1899117" y="588266"/>
                </a:cubicBezTo>
                <a:cubicBezTo>
                  <a:pt x="1887573" y="599541"/>
                  <a:pt x="1881821" y="615841"/>
                  <a:pt x="1881821" y="637043"/>
                </a:cubicBezTo>
                <a:cubicBezTo>
                  <a:pt x="1881821" y="637043"/>
                  <a:pt x="1881821" y="637043"/>
                  <a:pt x="1881821" y="701997"/>
                </a:cubicBezTo>
                <a:cubicBezTo>
                  <a:pt x="1881821" y="723240"/>
                  <a:pt x="1887083" y="739499"/>
                  <a:pt x="1897689" y="750815"/>
                </a:cubicBezTo>
                <a:cubicBezTo>
                  <a:pt x="1908295" y="762090"/>
                  <a:pt x="1923960" y="767768"/>
                  <a:pt x="1944641" y="767768"/>
                </a:cubicBezTo>
                <a:cubicBezTo>
                  <a:pt x="1944641" y="767768"/>
                  <a:pt x="1944641" y="767768"/>
                  <a:pt x="1957940" y="767931"/>
                </a:cubicBezTo>
                <a:cubicBezTo>
                  <a:pt x="1966343" y="767809"/>
                  <a:pt x="1973278" y="767972"/>
                  <a:pt x="1981681" y="767931"/>
                </a:cubicBezTo>
                <a:cubicBezTo>
                  <a:pt x="1987800" y="767891"/>
                  <a:pt x="1990492" y="767931"/>
                  <a:pt x="1997386" y="767891"/>
                </a:cubicBezTo>
                <a:cubicBezTo>
                  <a:pt x="1997386" y="767891"/>
                  <a:pt x="1997386" y="767891"/>
                  <a:pt x="1999018" y="767891"/>
                </a:cubicBezTo>
                <a:cubicBezTo>
                  <a:pt x="1999018" y="767891"/>
                  <a:pt x="1999018" y="767891"/>
                  <a:pt x="1999018" y="776224"/>
                </a:cubicBezTo>
                <a:cubicBezTo>
                  <a:pt x="1999018" y="784558"/>
                  <a:pt x="1997182" y="790563"/>
                  <a:pt x="1993593" y="794199"/>
                </a:cubicBezTo>
                <a:cubicBezTo>
                  <a:pt x="1989921" y="797794"/>
                  <a:pt x="1983843" y="799632"/>
                  <a:pt x="1975236" y="799632"/>
                </a:cubicBezTo>
                <a:cubicBezTo>
                  <a:pt x="1975236" y="799632"/>
                  <a:pt x="1975236" y="799632"/>
                  <a:pt x="1906378" y="799632"/>
                </a:cubicBezTo>
                <a:cubicBezTo>
                  <a:pt x="1900708" y="799632"/>
                  <a:pt x="1897893" y="802451"/>
                  <a:pt x="1897893" y="808089"/>
                </a:cubicBezTo>
                <a:cubicBezTo>
                  <a:pt x="1897893" y="808089"/>
                  <a:pt x="1897893" y="808089"/>
                  <a:pt x="1897893" y="835909"/>
                </a:cubicBezTo>
                <a:cubicBezTo>
                  <a:pt x="1897893" y="838891"/>
                  <a:pt x="1898505" y="840974"/>
                  <a:pt x="1899729" y="842159"/>
                </a:cubicBezTo>
                <a:cubicBezTo>
                  <a:pt x="1900912" y="843385"/>
                  <a:pt x="1903155" y="843997"/>
                  <a:pt x="1906378" y="843997"/>
                </a:cubicBezTo>
                <a:cubicBezTo>
                  <a:pt x="1906378" y="843997"/>
                  <a:pt x="1906378" y="843997"/>
                  <a:pt x="1983721" y="843997"/>
                </a:cubicBezTo>
                <a:cubicBezTo>
                  <a:pt x="2004647" y="843997"/>
                  <a:pt x="2020964" y="838360"/>
                  <a:pt x="2032631" y="827044"/>
                </a:cubicBezTo>
                <a:cubicBezTo>
                  <a:pt x="2044298" y="815769"/>
                  <a:pt x="2050172" y="799632"/>
                  <a:pt x="2050172" y="778635"/>
                </a:cubicBezTo>
                <a:cubicBezTo>
                  <a:pt x="2050172" y="778635"/>
                  <a:pt x="2050172" y="778635"/>
                  <a:pt x="2050172" y="579769"/>
                </a:cubicBezTo>
                <a:cubicBezTo>
                  <a:pt x="2050172" y="574131"/>
                  <a:pt x="2047194" y="571312"/>
                  <a:pt x="2041279" y="571312"/>
                </a:cubicBezTo>
                <a:cubicBezTo>
                  <a:pt x="2041279" y="571312"/>
                  <a:pt x="2041279" y="571312"/>
                  <a:pt x="1948272" y="571312"/>
                </a:cubicBezTo>
                <a:close/>
                <a:moveTo>
                  <a:pt x="3646341" y="528543"/>
                </a:moveTo>
                <a:cubicBezTo>
                  <a:pt x="3642582" y="528543"/>
                  <a:pt x="3640744" y="530463"/>
                  <a:pt x="3640744" y="534179"/>
                </a:cubicBezTo>
                <a:cubicBezTo>
                  <a:pt x="3640744" y="534179"/>
                  <a:pt x="3640744" y="534179"/>
                  <a:pt x="3640744" y="568768"/>
                </a:cubicBezTo>
                <a:cubicBezTo>
                  <a:pt x="3640744" y="571218"/>
                  <a:pt x="3639395" y="572403"/>
                  <a:pt x="3636699" y="572403"/>
                </a:cubicBezTo>
                <a:cubicBezTo>
                  <a:pt x="3636699" y="572403"/>
                  <a:pt x="3636699" y="572403"/>
                  <a:pt x="3614554" y="572403"/>
                </a:cubicBezTo>
                <a:cubicBezTo>
                  <a:pt x="3610795" y="572403"/>
                  <a:pt x="3608916" y="574281"/>
                  <a:pt x="3608916" y="578038"/>
                </a:cubicBezTo>
                <a:cubicBezTo>
                  <a:pt x="3608916" y="578038"/>
                  <a:pt x="3608916" y="578038"/>
                  <a:pt x="3608916" y="592903"/>
                </a:cubicBezTo>
                <a:cubicBezTo>
                  <a:pt x="3608916" y="596415"/>
                  <a:pt x="3610795" y="598130"/>
                  <a:pt x="3614554" y="598130"/>
                </a:cubicBezTo>
                <a:cubicBezTo>
                  <a:pt x="3614554" y="598130"/>
                  <a:pt x="3614554" y="598130"/>
                  <a:pt x="3636699" y="598130"/>
                </a:cubicBezTo>
                <a:cubicBezTo>
                  <a:pt x="3639395" y="598130"/>
                  <a:pt x="3640744" y="599355"/>
                  <a:pt x="3640744" y="601765"/>
                </a:cubicBezTo>
                <a:cubicBezTo>
                  <a:pt x="3640744" y="601765"/>
                  <a:pt x="3640744" y="601765"/>
                  <a:pt x="3640744" y="718804"/>
                </a:cubicBezTo>
                <a:cubicBezTo>
                  <a:pt x="3640744" y="737344"/>
                  <a:pt x="3646218" y="751719"/>
                  <a:pt x="3657250" y="762051"/>
                </a:cubicBezTo>
                <a:cubicBezTo>
                  <a:pt x="3668200" y="772382"/>
                  <a:pt x="3682990" y="777528"/>
                  <a:pt x="3701498" y="777528"/>
                </a:cubicBezTo>
                <a:cubicBezTo>
                  <a:pt x="3701498" y="777528"/>
                  <a:pt x="3701498" y="777528"/>
                  <a:pt x="3720824" y="777528"/>
                </a:cubicBezTo>
                <a:cubicBezTo>
                  <a:pt x="3724828" y="777528"/>
                  <a:pt x="3726870" y="775813"/>
                  <a:pt x="3726870" y="772301"/>
                </a:cubicBezTo>
                <a:cubicBezTo>
                  <a:pt x="3726870" y="772301"/>
                  <a:pt x="3726870" y="772301"/>
                  <a:pt x="3726870" y="757436"/>
                </a:cubicBezTo>
                <a:cubicBezTo>
                  <a:pt x="3726870" y="753679"/>
                  <a:pt x="3724828" y="751801"/>
                  <a:pt x="3720824" y="751801"/>
                </a:cubicBezTo>
                <a:cubicBezTo>
                  <a:pt x="3720824" y="751801"/>
                  <a:pt x="3720824" y="751801"/>
                  <a:pt x="3705134" y="751801"/>
                </a:cubicBezTo>
                <a:cubicBezTo>
                  <a:pt x="3681519" y="751801"/>
                  <a:pt x="3669711" y="740407"/>
                  <a:pt x="3669711" y="717620"/>
                </a:cubicBezTo>
                <a:cubicBezTo>
                  <a:pt x="3669711" y="717620"/>
                  <a:pt x="3669711" y="717620"/>
                  <a:pt x="3669711" y="601765"/>
                </a:cubicBezTo>
                <a:cubicBezTo>
                  <a:pt x="3669711" y="599355"/>
                  <a:pt x="3671182" y="598130"/>
                  <a:pt x="3674124" y="598130"/>
                </a:cubicBezTo>
                <a:cubicBezTo>
                  <a:pt x="3674124" y="598130"/>
                  <a:pt x="3674124" y="598130"/>
                  <a:pt x="3716779" y="598130"/>
                </a:cubicBezTo>
                <a:cubicBezTo>
                  <a:pt x="3720824" y="598130"/>
                  <a:pt x="3722826" y="596415"/>
                  <a:pt x="3722826" y="592903"/>
                </a:cubicBezTo>
                <a:cubicBezTo>
                  <a:pt x="3722826" y="592903"/>
                  <a:pt x="3722826" y="592903"/>
                  <a:pt x="3722826" y="578038"/>
                </a:cubicBezTo>
                <a:cubicBezTo>
                  <a:pt x="3722826" y="574281"/>
                  <a:pt x="3720824" y="572403"/>
                  <a:pt x="3716779" y="572403"/>
                </a:cubicBezTo>
                <a:cubicBezTo>
                  <a:pt x="3716779" y="572403"/>
                  <a:pt x="3716779" y="572403"/>
                  <a:pt x="3674124" y="572403"/>
                </a:cubicBezTo>
                <a:cubicBezTo>
                  <a:pt x="3671182" y="572403"/>
                  <a:pt x="3669711" y="571218"/>
                  <a:pt x="3669711" y="568768"/>
                </a:cubicBezTo>
                <a:cubicBezTo>
                  <a:pt x="3669711" y="568768"/>
                  <a:pt x="3669711" y="568768"/>
                  <a:pt x="3669711" y="534179"/>
                </a:cubicBezTo>
                <a:cubicBezTo>
                  <a:pt x="3669711" y="530463"/>
                  <a:pt x="3667954" y="528543"/>
                  <a:pt x="3664482" y="528543"/>
                </a:cubicBezTo>
                <a:cubicBezTo>
                  <a:pt x="3664482" y="528543"/>
                  <a:pt x="3664482" y="528543"/>
                  <a:pt x="3646341" y="528543"/>
                </a:cubicBezTo>
                <a:close/>
                <a:moveTo>
                  <a:pt x="3765070" y="495037"/>
                </a:moveTo>
                <a:cubicBezTo>
                  <a:pt x="3761592" y="495037"/>
                  <a:pt x="3759832" y="496924"/>
                  <a:pt x="3759832" y="500698"/>
                </a:cubicBezTo>
                <a:cubicBezTo>
                  <a:pt x="3759832" y="500698"/>
                  <a:pt x="3759832" y="500698"/>
                  <a:pt x="3759832" y="538683"/>
                </a:cubicBezTo>
                <a:cubicBezTo>
                  <a:pt x="3759832" y="542457"/>
                  <a:pt x="3761592" y="544343"/>
                  <a:pt x="3765070" y="544343"/>
                </a:cubicBezTo>
                <a:cubicBezTo>
                  <a:pt x="3765070" y="544343"/>
                  <a:pt x="3765070" y="544343"/>
                  <a:pt x="3783647" y="544343"/>
                </a:cubicBezTo>
                <a:cubicBezTo>
                  <a:pt x="3787370" y="544343"/>
                  <a:pt x="3789253" y="542457"/>
                  <a:pt x="3789253" y="538683"/>
                </a:cubicBezTo>
                <a:cubicBezTo>
                  <a:pt x="3789253" y="538683"/>
                  <a:pt x="3789253" y="538683"/>
                  <a:pt x="3789253" y="500698"/>
                </a:cubicBezTo>
                <a:cubicBezTo>
                  <a:pt x="3789253" y="496924"/>
                  <a:pt x="3787370" y="495037"/>
                  <a:pt x="3783647" y="495037"/>
                </a:cubicBezTo>
                <a:cubicBezTo>
                  <a:pt x="3783647" y="495037"/>
                  <a:pt x="3783647" y="495037"/>
                  <a:pt x="3765070" y="495037"/>
                </a:cubicBezTo>
                <a:close/>
                <a:moveTo>
                  <a:pt x="2468387" y="495037"/>
                </a:moveTo>
                <a:cubicBezTo>
                  <a:pt x="2464868" y="495037"/>
                  <a:pt x="2463149" y="496924"/>
                  <a:pt x="2463149" y="500698"/>
                </a:cubicBezTo>
                <a:cubicBezTo>
                  <a:pt x="2463149" y="500698"/>
                  <a:pt x="2463149" y="500698"/>
                  <a:pt x="2463149" y="538683"/>
                </a:cubicBezTo>
                <a:cubicBezTo>
                  <a:pt x="2463149" y="542457"/>
                  <a:pt x="2464868" y="544343"/>
                  <a:pt x="2468387" y="544343"/>
                </a:cubicBezTo>
                <a:cubicBezTo>
                  <a:pt x="2468387" y="544343"/>
                  <a:pt x="2468387" y="544343"/>
                  <a:pt x="2486923" y="544343"/>
                </a:cubicBezTo>
                <a:cubicBezTo>
                  <a:pt x="2490687" y="544343"/>
                  <a:pt x="2492570" y="542457"/>
                  <a:pt x="2492570" y="538683"/>
                </a:cubicBezTo>
                <a:cubicBezTo>
                  <a:pt x="2492570" y="538683"/>
                  <a:pt x="2492570" y="538683"/>
                  <a:pt x="2492570" y="500698"/>
                </a:cubicBezTo>
                <a:cubicBezTo>
                  <a:pt x="2492570" y="496924"/>
                  <a:pt x="2490687" y="495037"/>
                  <a:pt x="2486923" y="495037"/>
                </a:cubicBezTo>
                <a:cubicBezTo>
                  <a:pt x="2486923" y="495037"/>
                  <a:pt x="2486923" y="495037"/>
                  <a:pt x="2468387" y="495037"/>
                </a:cubicBezTo>
                <a:close/>
                <a:moveTo>
                  <a:pt x="3832765" y="494764"/>
                </a:moveTo>
                <a:cubicBezTo>
                  <a:pt x="3829000" y="494764"/>
                  <a:pt x="3827118" y="496643"/>
                  <a:pt x="3827118" y="500400"/>
                </a:cubicBezTo>
                <a:cubicBezTo>
                  <a:pt x="3827118" y="500400"/>
                  <a:pt x="3827118" y="500400"/>
                  <a:pt x="3827118" y="771892"/>
                </a:cubicBezTo>
                <a:cubicBezTo>
                  <a:pt x="3827118" y="775690"/>
                  <a:pt x="3829000" y="777528"/>
                  <a:pt x="3832765" y="777528"/>
                </a:cubicBezTo>
                <a:cubicBezTo>
                  <a:pt x="3832765" y="777528"/>
                  <a:pt x="3832765" y="777528"/>
                  <a:pt x="3850933" y="777528"/>
                </a:cubicBezTo>
                <a:cubicBezTo>
                  <a:pt x="3854656" y="777528"/>
                  <a:pt x="3856539" y="775690"/>
                  <a:pt x="3856539" y="771892"/>
                </a:cubicBezTo>
                <a:cubicBezTo>
                  <a:pt x="3856539" y="771892"/>
                  <a:pt x="3856539" y="771892"/>
                  <a:pt x="3856539" y="500400"/>
                </a:cubicBezTo>
                <a:cubicBezTo>
                  <a:pt x="3856539" y="496643"/>
                  <a:pt x="3854656" y="494764"/>
                  <a:pt x="3850933" y="494764"/>
                </a:cubicBezTo>
                <a:cubicBezTo>
                  <a:pt x="3850933" y="494764"/>
                  <a:pt x="3850933" y="494764"/>
                  <a:pt x="3832765" y="494764"/>
                </a:cubicBezTo>
                <a:close/>
                <a:moveTo>
                  <a:pt x="2793054" y="494764"/>
                </a:moveTo>
                <a:cubicBezTo>
                  <a:pt x="2775075" y="494764"/>
                  <a:pt x="2761427" y="499869"/>
                  <a:pt x="2751988" y="510038"/>
                </a:cubicBezTo>
                <a:cubicBezTo>
                  <a:pt x="2742630" y="520247"/>
                  <a:pt x="2737931" y="534867"/>
                  <a:pt x="2737931" y="553898"/>
                </a:cubicBezTo>
                <a:cubicBezTo>
                  <a:pt x="2737931" y="553898"/>
                  <a:pt x="2737931" y="553898"/>
                  <a:pt x="2737931" y="568763"/>
                </a:cubicBezTo>
                <a:cubicBezTo>
                  <a:pt x="2737931" y="571173"/>
                  <a:pt x="2736583" y="572398"/>
                  <a:pt x="2733886" y="572398"/>
                </a:cubicBezTo>
                <a:cubicBezTo>
                  <a:pt x="2733886" y="572398"/>
                  <a:pt x="2733886" y="572398"/>
                  <a:pt x="2710145" y="572398"/>
                </a:cubicBezTo>
                <a:cubicBezTo>
                  <a:pt x="2706386" y="572398"/>
                  <a:pt x="2704506" y="574154"/>
                  <a:pt x="2704506" y="577625"/>
                </a:cubicBezTo>
                <a:cubicBezTo>
                  <a:pt x="2704506" y="577625"/>
                  <a:pt x="2704506" y="577625"/>
                  <a:pt x="2704506" y="592531"/>
                </a:cubicBezTo>
                <a:cubicBezTo>
                  <a:pt x="2704506" y="596288"/>
                  <a:pt x="2706386" y="598126"/>
                  <a:pt x="2710145" y="598126"/>
                </a:cubicBezTo>
                <a:cubicBezTo>
                  <a:pt x="2710145" y="598126"/>
                  <a:pt x="2710145" y="598126"/>
                  <a:pt x="2733886" y="598126"/>
                </a:cubicBezTo>
                <a:cubicBezTo>
                  <a:pt x="2736583" y="598126"/>
                  <a:pt x="2737931" y="599351"/>
                  <a:pt x="2737931" y="601760"/>
                </a:cubicBezTo>
                <a:cubicBezTo>
                  <a:pt x="2737931" y="601760"/>
                  <a:pt x="2737931" y="601760"/>
                  <a:pt x="2737931" y="771892"/>
                </a:cubicBezTo>
                <a:cubicBezTo>
                  <a:pt x="2737931" y="775690"/>
                  <a:pt x="2739811" y="777528"/>
                  <a:pt x="2743570" y="777528"/>
                </a:cubicBezTo>
                <a:cubicBezTo>
                  <a:pt x="2743570" y="777528"/>
                  <a:pt x="2743570" y="777528"/>
                  <a:pt x="2761264" y="777528"/>
                </a:cubicBezTo>
                <a:cubicBezTo>
                  <a:pt x="2765309" y="777528"/>
                  <a:pt x="2767311" y="775690"/>
                  <a:pt x="2767311" y="771892"/>
                </a:cubicBezTo>
                <a:cubicBezTo>
                  <a:pt x="2767311" y="771892"/>
                  <a:pt x="2767311" y="771892"/>
                  <a:pt x="2767311" y="601760"/>
                </a:cubicBezTo>
                <a:cubicBezTo>
                  <a:pt x="2767311" y="599351"/>
                  <a:pt x="2768496" y="598126"/>
                  <a:pt x="2770907" y="598126"/>
                </a:cubicBezTo>
                <a:cubicBezTo>
                  <a:pt x="2770907" y="598126"/>
                  <a:pt x="2770907" y="598126"/>
                  <a:pt x="2806334" y="598126"/>
                </a:cubicBezTo>
                <a:cubicBezTo>
                  <a:pt x="2810380" y="598126"/>
                  <a:pt x="2812382" y="596288"/>
                  <a:pt x="2812382" y="592531"/>
                </a:cubicBezTo>
                <a:cubicBezTo>
                  <a:pt x="2812382" y="592531"/>
                  <a:pt x="2812382" y="592531"/>
                  <a:pt x="2812382" y="577625"/>
                </a:cubicBezTo>
                <a:cubicBezTo>
                  <a:pt x="2812382" y="574154"/>
                  <a:pt x="2810380" y="572398"/>
                  <a:pt x="2806334" y="572398"/>
                </a:cubicBezTo>
                <a:cubicBezTo>
                  <a:pt x="2806334" y="572398"/>
                  <a:pt x="2806334" y="572398"/>
                  <a:pt x="2770907" y="572398"/>
                </a:cubicBezTo>
                <a:cubicBezTo>
                  <a:pt x="2768496" y="572398"/>
                  <a:pt x="2767311" y="571173"/>
                  <a:pt x="2767311" y="568763"/>
                </a:cubicBezTo>
                <a:cubicBezTo>
                  <a:pt x="2767311" y="568763"/>
                  <a:pt x="2767311" y="568763"/>
                  <a:pt x="2767311" y="555123"/>
                </a:cubicBezTo>
                <a:cubicBezTo>
                  <a:pt x="2767311" y="543035"/>
                  <a:pt x="2769436" y="534255"/>
                  <a:pt x="2773726" y="528742"/>
                </a:cubicBezTo>
                <a:cubicBezTo>
                  <a:pt x="2778058" y="523269"/>
                  <a:pt x="2785699" y="520492"/>
                  <a:pt x="2796691" y="520492"/>
                </a:cubicBezTo>
                <a:cubicBezTo>
                  <a:pt x="2796691" y="520492"/>
                  <a:pt x="2796691" y="520492"/>
                  <a:pt x="2806743" y="520492"/>
                </a:cubicBezTo>
                <a:cubicBezTo>
                  <a:pt x="2810502" y="520492"/>
                  <a:pt x="2812382" y="518655"/>
                  <a:pt x="2812382" y="514897"/>
                </a:cubicBezTo>
                <a:cubicBezTo>
                  <a:pt x="2812382" y="514897"/>
                  <a:pt x="2812382" y="514897"/>
                  <a:pt x="2812382" y="499992"/>
                </a:cubicBezTo>
                <a:cubicBezTo>
                  <a:pt x="2812382" y="496520"/>
                  <a:pt x="2810502" y="494764"/>
                  <a:pt x="2806743" y="494764"/>
                </a:cubicBezTo>
                <a:cubicBezTo>
                  <a:pt x="2806743" y="494764"/>
                  <a:pt x="2806743" y="494764"/>
                  <a:pt x="2793054" y="494764"/>
                </a:cubicBezTo>
                <a:close/>
                <a:moveTo>
                  <a:pt x="1812733" y="0"/>
                </a:moveTo>
                <a:lnTo>
                  <a:pt x="4516600" y="0"/>
                </a:lnTo>
                <a:lnTo>
                  <a:pt x="4516600" y="6857999"/>
                </a:lnTo>
                <a:lnTo>
                  <a:pt x="3680307" y="6857999"/>
                </a:lnTo>
                <a:lnTo>
                  <a:pt x="3701115" y="6823698"/>
                </a:lnTo>
                <a:cubicBezTo>
                  <a:pt x="3757942" y="6730024"/>
                  <a:pt x="3840598" y="6593770"/>
                  <a:pt x="3960826" y="6395583"/>
                </a:cubicBezTo>
                <a:cubicBezTo>
                  <a:pt x="3974238" y="6374358"/>
                  <a:pt x="3977175" y="6356969"/>
                  <a:pt x="3969512" y="6343543"/>
                </a:cubicBezTo>
                <a:cubicBezTo>
                  <a:pt x="3961720" y="6329990"/>
                  <a:pt x="3946392" y="6323213"/>
                  <a:pt x="3923273" y="6323213"/>
                </a:cubicBezTo>
                <a:cubicBezTo>
                  <a:pt x="3923273" y="6323213"/>
                  <a:pt x="3923273" y="6323213"/>
                  <a:pt x="3642646" y="6323213"/>
                </a:cubicBezTo>
                <a:cubicBezTo>
                  <a:pt x="3598195" y="6323213"/>
                  <a:pt x="3565495" y="6342521"/>
                  <a:pt x="3544292" y="6381135"/>
                </a:cubicBezTo>
                <a:cubicBezTo>
                  <a:pt x="3544292" y="6381135"/>
                  <a:pt x="3544292" y="6381135"/>
                  <a:pt x="3311712" y="6794349"/>
                </a:cubicBezTo>
                <a:lnTo>
                  <a:pt x="3275886" y="6857999"/>
                </a:lnTo>
                <a:lnTo>
                  <a:pt x="1920685" y="6857999"/>
                </a:lnTo>
                <a:lnTo>
                  <a:pt x="1833854" y="6705376"/>
                </a:lnTo>
                <a:cubicBezTo>
                  <a:pt x="68852" y="3603022"/>
                  <a:pt x="68852" y="3603022"/>
                  <a:pt x="68852" y="3603022"/>
                </a:cubicBezTo>
                <a:cubicBezTo>
                  <a:pt x="-22951" y="3440175"/>
                  <a:pt x="-22951" y="3271922"/>
                  <a:pt x="68852" y="3098263"/>
                </a:cubicBezTo>
                <a:cubicBezTo>
                  <a:pt x="1215555" y="1060977"/>
                  <a:pt x="1645568" y="296994"/>
                  <a:pt x="1806823" y="105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F3ADEE0-E3F0-4AC8-875A-84873DDD07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5532" y="1520891"/>
            <a:ext cx="5615299" cy="4506848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3600"/>
            </a:lvl1pPr>
          </a:lstStyle>
          <a:p>
            <a:pPr lvl="0"/>
            <a:r>
              <a:rPr lang="de-DE"/>
              <a:t>Bitte Zitat einfügen</a:t>
            </a:r>
          </a:p>
        </p:txBody>
      </p:sp>
    </p:spTree>
    <p:extLst>
      <p:ext uri="{BB962C8B-B14F-4D97-AF65-F5344CB8AC3E}">
        <p14:creationId xmlns:p14="http://schemas.microsoft.com/office/powerpoint/2010/main" val="104931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EBE4BCD-2552-4365-B7E1-68C543A3D280}"/>
              </a:ext>
            </a:extLst>
          </p:cNvPr>
          <p:cNvSpPr/>
          <p:nvPr userDrawn="1"/>
        </p:nvSpPr>
        <p:spPr>
          <a:xfrm>
            <a:off x="540070" y="1511300"/>
            <a:ext cx="11108934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238D9ED-FFE0-48EC-BB0F-85EECC26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2994" y="1511301"/>
            <a:ext cx="11106010" cy="530150"/>
          </a:xfrm>
        </p:spPr>
        <p:txBody>
          <a:bodyPr lIns="252000" tIns="140400" rIns="144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8C1C19F5-C302-46DF-817E-4B9F9FD4CF5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6" y="2041452"/>
            <a:ext cx="11106009" cy="376879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1475012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185C2E2D-3727-4CCB-9B28-B2F9D86B420A}"/>
              </a:ext>
            </a:extLst>
          </p:cNvPr>
          <p:cNvSpPr/>
          <p:nvPr userDrawn="1"/>
        </p:nvSpPr>
        <p:spPr>
          <a:xfrm>
            <a:off x="6186011" y="1511300"/>
            <a:ext cx="5465917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EBE4BCD-2552-4365-B7E1-68C543A3D280}"/>
              </a:ext>
            </a:extLst>
          </p:cNvPr>
          <p:cNvSpPr/>
          <p:nvPr userDrawn="1"/>
        </p:nvSpPr>
        <p:spPr>
          <a:xfrm>
            <a:off x="540071" y="1511300"/>
            <a:ext cx="5465917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238D9ED-FFE0-48EC-BB0F-85EECC26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2995" y="1511301"/>
            <a:ext cx="5462993" cy="530150"/>
          </a:xfrm>
        </p:spPr>
        <p:txBody>
          <a:bodyPr lIns="252000" tIns="140400" rIns="144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25F8D2B1-0579-4077-A3CD-A24FCAE6057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2996" y="2041452"/>
            <a:ext cx="5460067" cy="376879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A8EA06A6-6635-4887-B29B-506788309A3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12" y="2041452"/>
            <a:ext cx="5462992" cy="376879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6D70BB74-35A0-4A1A-9625-86F061A99E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6011" y="1511301"/>
            <a:ext cx="5462993" cy="530150"/>
          </a:xfrm>
        </p:spPr>
        <p:txBody>
          <a:bodyPr lIns="252000" tIns="140400" rIns="14400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7230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EBE4BCD-2552-4365-B7E1-68C543A3D280}"/>
              </a:ext>
            </a:extLst>
          </p:cNvPr>
          <p:cNvSpPr/>
          <p:nvPr userDrawn="1"/>
        </p:nvSpPr>
        <p:spPr>
          <a:xfrm>
            <a:off x="540068" y="1511300"/>
            <a:ext cx="3582466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238D9ED-FFE0-48EC-BB0F-85EECC26E0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993" y="1511301"/>
            <a:ext cx="3582466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2041451"/>
            <a:ext cx="3582466" cy="3768800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29B269B-0C08-4A94-9ACC-F8867606BC5F}"/>
              </a:ext>
            </a:extLst>
          </p:cNvPr>
          <p:cNvSpPr/>
          <p:nvPr userDrawn="1"/>
        </p:nvSpPr>
        <p:spPr>
          <a:xfrm>
            <a:off x="4303152" y="1511300"/>
            <a:ext cx="3582466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0AF97909-CC64-4B64-9921-6AE24E82E9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3152" y="1511301"/>
            <a:ext cx="3582466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171D48F3-237C-4C99-B212-DE3D70CE1B1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152" y="2041451"/>
            <a:ext cx="3582466" cy="3768800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8D509C48-1C19-4CAA-A2B3-4A5B96C0A944}"/>
              </a:ext>
            </a:extLst>
          </p:cNvPr>
          <p:cNvSpPr/>
          <p:nvPr userDrawn="1"/>
        </p:nvSpPr>
        <p:spPr>
          <a:xfrm>
            <a:off x="8066237" y="1511300"/>
            <a:ext cx="3582466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E2D05901-4766-4EF8-BB57-B511393C18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6237" y="1511301"/>
            <a:ext cx="3582466" cy="530150"/>
          </a:xfrm>
        </p:spPr>
        <p:txBody>
          <a:bodyPr lIns="252000" tIns="1080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07DEBDBF-B40E-4C42-8D9A-6702D489603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066237" y="2041451"/>
            <a:ext cx="3582466" cy="3768800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974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EBE4BCD-2552-4365-B7E1-68C543A3D280}"/>
              </a:ext>
            </a:extLst>
          </p:cNvPr>
          <p:cNvSpPr/>
          <p:nvPr userDrawn="1"/>
        </p:nvSpPr>
        <p:spPr>
          <a:xfrm>
            <a:off x="542995" y="1511299"/>
            <a:ext cx="5465511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238D9ED-FFE0-48EC-BB0F-85EECC26E0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995" y="1511301"/>
            <a:ext cx="5465511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2041451"/>
            <a:ext cx="5465511" cy="1529048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91B02A8-F146-4938-B329-791700A2A75B}"/>
              </a:ext>
            </a:extLst>
          </p:cNvPr>
          <p:cNvSpPr/>
          <p:nvPr userDrawn="1"/>
        </p:nvSpPr>
        <p:spPr>
          <a:xfrm>
            <a:off x="6183493" y="1511299"/>
            <a:ext cx="5465511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9A0E1F2-F7B8-4653-A7B0-F3951B6767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3493" y="1511301"/>
            <a:ext cx="5465511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6146F131-FA19-4E12-951A-F5D497A56AA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3493" y="2041451"/>
            <a:ext cx="5465511" cy="1529048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AE07004-A66B-42EF-915A-A27513E4BE7E}"/>
              </a:ext>
            </a:extLst>
          </p:cNvPr>
          <p:cNvSpPr/>
          <p:nvPr userDrawn="1"/>
        </p:nvSpPr>
        <p:spPr>
          <a:xfrm>
            <a:off x="542995" y="3751050"/>
            <a:ext cx="5465511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E26C115-AFFD-40AD-BF75-C93F2C53E2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2995" y="3751052"/>
            <a:ext cx="5465511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D2B6A949-B838-4D07-8DE1-CCF61B1AEDD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42995" y="4281202"/>
            <a:ext cx="5465511" cy="1529048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4262E41-ED55-41E7-84A6-5CDE537CA965}"/>
              </a:ext>
            </a:extLst>
          </p:cNvPr>
          <p:cNvSpPr/>
          <p:nvPr userDrawn="1"/>
        </p:nvSpPr>
        <p:spPr>
          <a:xfrm>
            <a:off x="6183493" y="3751050"/>
            <a:ext cx="5465511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3BC7A5E8-EADA-46B4-B2D9-7E3BC92DBF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3493" y="3751052"/>
            <a:ext cx="5465511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887C8E64-60A8-42D0-867C-D9B1AEEBD97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183493" y="4281202"/>
            <a:ext cx="5465511" cy="1529048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6820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5006628-E959-468F-A305-D5F5A7F7CBAF}"/>
              </a:ext>
            </a:extLst>
          </p:cNvPr>
          <p:cNvSpPr/>
          <p:nvPr userDrawn="1"/>
        </p:nvSpPr>
        <p:spPr>
          <a:xfrm>
            <a:off x="542995" y="1511300"/>
            <a:ext cx="3582466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AF12BE7-D747-4D0C-A504-805EF8981D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2995" y="151130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40" name="Inhaltsplatzhalter 3">
            <a:extLst>
              <a:ext uri="{FF2B5EF4-FFF2-40B4-BE49-F238E27FC236}">
                <a16:creationId xmlns:a16="http://schemas.microsoft.com/office/drawing/2014/main" id="{6BE85CF4-F42A-49F2-82A5-23B5601880A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2995" y="2041452"/>
            <a:ext cx="3582466" cy="152904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A62DC35-E1B8-4CFB-9760-5F51DC1275C0}"/>
              </a:ext>
            </a:extLst>
          </p:cNvPr>
          <p:cNvSpPr/>
          <p:nvPr userDrawn="1"/>
        </p:nvSpPr>
        <p:spPr>
          <a:xfrm>
            <a:off x="4304768" y="1511300"/>
            <a:ext cx="3582466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AAAADBDA-88B2-4B18-9ED3-0E0FFDA4337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4768" y="151130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D31A522A-5ADD-42E0-9CFA-620CCDCCD5B8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304768" y="2041452"/>
            <a:ext cx="3582466" cy="152904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9F4D36F-640E-4FDA-B8CC-69717F3EBAF4}"/>
              </a:ext>
            </a:extLst>
          </p:cNvPr>
          <p:cNvSpPr/>
          <p:nvPr userDrawn="1"/>
        </p:nvSpPr>
        <p:spPr>
          <a:xfrm>
            <a:off x="8066539" y="1511300"/>
            <a:ext cx="3582466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93DDFAA4-8172-4DEA-9467-656471F558D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66539" y="151130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4" name="Inhaltsplatzhalter 3">
            <a:extLst>
              <a:ext uri="{FF2B5EF4-FFF2-40B4-BE49-F238E27FC236}">
                <a16:creationId xmlns:a16="http://schemas.microsoft.com/office/drawing/2014/main" id="{01BD4C8D-CFFE-41B1-BC77-88D2BAB8D03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066539" y="2041452"/>
            <a:ext cx="3582466" cy="152904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FC470FF-CBBD-458A-8E37-DB35015D8CFE}"/>
              </a:ext>
            </a:extLst>
          </p:cNvPr>
          <p:cNvSpPr/>
          <p:nvPr userDrawn="1"/>
        </p:nvSpPr>
        <p:spPr>
          <a:xfrm>
            <a:off x="542995" y="3751050"/>
            <a:ext cx="3582466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9AEDBC8C-FEDC-4894-82CA-EA40770031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2995" y="375105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43" name="Inhaltsplatzhalter 3">
            <a:extLst>
              <a:ext uri="{FF2B5EF4-FFF2-40B4-BE49-F238E27FC236}">
                <a16:creationId xmlns:a16="http://schemas.microsoft.com/office/drawing/2014/main" id="{BFF67443-67F8-435D-BD3E-A75F8BF3BD5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542995" y="4281202"/>
            <a:ext cx="3582466" cy="152904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79B9525-A35B-4E85-92AB-C96231137DAA}"/>
              </a:ext>
            </a:extLst>
          </p:cNvPr>
          <p:cNvSpPr/>
          <p:nvPr userDrawn="1"/>
        </p:nvSpPr>
        <p:spPr>
          <a:xfrm>
            <a:off x="4304768" y="3751050"/>
            <a:ext cx="3582466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092FB6A1-5147-4B88-AB80-D9440E97D39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04768" y="375105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8ED4A1B-6647-452F-8A88-0BCD1F00AC96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04768" y="4281202"/>
            <a:ext cx="3582466" cy="152904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9615A9A8-4F3C-4DA5-95E2-171B1CCF1AD8}"/>
              </a:ext>
            </a:extLst>
          </p:cNvPr>
          <p:cNvSpPr/>
          <p:nvPr userDrawn="1"/>
        </p:nvSpPr>
        <p:spPr>
          <a:xfrm>
            <a:off x="8066539" y="3751050"/>
            <a:ext cx="3582466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E970B83-6D03-432A-80B4-9819DA462E7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66539" y="375105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49" name="Inhaltsplatzhalter 3">
            <a:extLst>
              <a:ext uri="{FF2B5EF4-FFF2-40B4-BE49-F238E27FC236}">
                <a16:creationId xmlns:a16="http://schemas.microsoft.com/office/drawing/2014/main" id="{08F4FB2D-BD1E-4EF6-9C01-3483978D0F33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066539" y="4281202"/>
            <a:ext cx="3582466" cy="1529049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1125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EBE4BCD-2552-4365-B7E1-68C543A3D280}"/>
              </a:ext>
            </a:extLst>
          </p:cNvPr>
          <p:cNvSpPr/>
          <p:nvPr userDrawn="1"/>
        </p:nvSpPr>
        <p:spPr>
          <a:xfrm>
            <a:off x="540070" y="1511300"/>
            <a:ext cx="2642744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238D9ED-FFE0-48EC-BB0F-85EECC26E0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994" y="1511301"/>
            <a:ext cx="2639820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6" y="2041451"/>
            <a:ext cx="2639819" cy="3768800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74F50DA-67A4-46C9-AEB1-8A4B279DF0DD}"/>
              </a:ext>
            </a:extLst>
          </p:cNvPr>
          <p:cNvSpPr/>
          <p:nvPr userDrawn="1"/>
        </p:nvSpPr>
        <p:spPr>
          <a:xfrm>
            <a:off x="3364084" y="1511300"/>
            <a:ext cx="2642744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D153AE97-EC34-4256-BAA3-620FB25D1B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7008" y="1511301"/>
            <a:ext cx="2639820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A1F62AAA-61ED-43B4-9230-FFB35C01BC8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67010" y="2041451"/>
            <a:ext cx="2639819" cy="3768800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357597E-3D7D-46CE-9599-B94ED7EA9D38}"/>
              </a:ext>
            </a:extLst>
          </p:cNvPr>
          <p:cNvSpPr/>
          <p:nvPr userDrawn="1"/>
        </p:nvSpPr>
        <p:spPr>
          <a:xfrm>
            <a:off x="6185173" y="1511300"/>
            <a:ext cx="2642744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A0C27D75-DA3E-4B6C-B0C1-F0D8CF57A4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8097" y="1511301"/>
            <a:ext cx="2639820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99967D1A-D93A-40B1-90A4-0B424F6091E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8099" y="2041451"/>
            <a:ext cx="2639819" cy="3768800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C4620D5-0CCB-4588-93DE-D6526E13C002}"/>
              </a:ext>
            </a:extLst>
          </p:cNvPr>
          <p:cNvSpPr/>
          <p:nvPr userDrawn="1"/>
        </p:nvSpPr>
        <p:spPr>
          <a:xfrm>
            <a:off x="9003336" y="1511300"/>
            <a:ext cx="2642744" cy="429895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C00E396C-4FAF-4778-B510-425A6B3301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06260" y="1511301"/>
            <a:ext cx="2639820" cy="530150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5" name="Inhaltsplatzhalter 3">
            <a:extLst>
              <a:ext uri="{FF2B5EF4-FFF2-40B4-BE49-F238E27FC236}">
                <a16:creationId xmlns:a16="http://schemas.microsoft.com/office/drawing/2014/main" id="{56502E66-96D3-4742-AB8B-E305BA642AD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06262" y="2041451"/>
            <a:ext cx="2639819" cy="3768800"/>
          </a:xfrm>
        </p:spPr>
        <p:txBody>
          <a:bodyPr lIns="252000" tIns="36000" rIns="144000"/>
          <a:lstStyle>
            <a:lvl1pPr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4075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EBE4BCD-2552-4365-B7E1-68C543A3D280}"/>
              </a:ext>
            </a:extLst>
          </p:cNvPr>
          <p:cNvSpPr/>
          <p:nvPr userDrawn="1"/>
        </p:nvSpPr>
        <p:spPr>
          <a:xfrm>
            <a:off x="542995" y="1511300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238D9ED-FFE0-48EC-BB0F-85EECC26E0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994" y="151130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2041452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74F50DA-67A4-46C9-AEB1-8A4B279DF0DD}"/>
              </a:ext>
            </a:extLst>
          </p:cNvPr>
          <p:cNvSpPr/>
          <p:nvPr userDrawn="1"/>
        </p:nvSpPr>
        <p:spPr>
          <a:xfrm>
            <a:off x="3364084" y="1511300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D153AE97-EC34-4256-BAA3-620FB25D1B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7008" y="151130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A1F62AAA-61ED-43B4-9230-FFB35C01BC8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67010" y="2041452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357597E-3D7D-46CE-9599-B94ED7EA9D38}"/>
              </a:ext>
            </a:extLst>
          </p:cNvPr>
          <p:cNvSpPr/>
          <p:nvPr userDrawn="1"/>
        </p:nvSpPr>
        <p:spPr>
          <a:xfrm>
            <a:off x="6185173" y="1511300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A0C27D75-DA3E-4B6C-B0C1-F0D8CF57A4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8097" y="151130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99967D1A-D93A-40B1-90A4-0B424F6091E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8099" y="2041452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C4620D5-0CCB-4588-93DE-D6526E13C002}"/>
              </a:ext>
            </a:extLst>
          </p:cNvPr>
          <p:cNvSpPr/>
          <p:nvPr userDrawn="1"/>
        </p:nvSpPr>
        <p:spPr>
          <a:xfrm>
            <a:off x="9003336" y="1511300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C00E396C-4FAF-4778-B510-425A6B3301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06260" y="151130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5" name="Inhaltsplatzhalter 3">
            <a:extLst>
              <a:ext uri="{FF2B5EF4-FFF2-40B4-BE49-F238E27FC236}">
                <a16:creationId xmlns:a16="http://schemas.microsoft.com/office/drawing/2014/main" id="{56502E66-96D3-4742-AB8B-E305BA642AD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06262" y="2041452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CCB04D3-F6E3-473B-B800-71D0F56DDF78}"/>
              </a:ext>
            </a:extLst>
          </p:cNvPr>
          <p:cNvSpPr/>
          <p:nvPr userDrawn="1"/>
        </p:nvSpPr>
        <p:spPr>
          <a:xfrm>
            <a:off x="542995" y="3745251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1C4072D7-363F-49D1-A13F-E6A9550ED17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2994" y="374525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984C7382-F6F1-4520-BF8A-1DFA34CDD71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42995" y="4275403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D3AAA29-91FF-4FC1-A3E5-F47416B3121B}"/>
              </a:ext>
            </a:extLst>
          </p:cNvPr>
          <p:cNvSpPr/>
          <p:nvPr userDrawn="1"/>
        </p:nvSpPr>
        <p:spPr>
          <a:xfrm>
            <a:off x="3364084" y="3745251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21D621BB-BF14-439B-A5A6-CCE9A79A50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7008" y="374525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B3866A09-7999-460E-AB66-BF4897D2D32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367010" y="4275403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485CF59-6C98-4013-A275-94734FB18F0C}"/>
              </a:ext>
            </a:extLst>
          </p:cNvPr>
          <p:cNvSpPr/>
          <p:nvPr userDrawn="1"/>
        </p:nvSpPr>
        <p:spPr>
          <a:xfrm>
            <a:off x="6185173" y="3745251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3C3176AB-37C9-4D8B-B480-5DE5861CD06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8097" y="374525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6" name="Inhaltsplatzhalter 3">
            <a:extLst>
              <a:ext uri="{FF2B5EF4-FFF2-40B4-BE49-F238E27FC236}">
                <a16:creationId xmlns:a16="http://schemas.microsoft.com/office/drawing/2014/main" id="{819F75F6-EF26-480D-957C-3817064A512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188099" y="4275403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910BCD1A-620C-49E9-8FDA-A44A940BCFA0}"/>
              </a:ext>
            </a:extLst>
          </p:cNvPr>
          <p:cNvSpPr/>
          <p:nvPr userDrawn="1"/>
        </p:nvSpPr>
        <p:spPr>
          <a:xfrm>
            <a:off x="9003336" y="3745251"/>
            <a:ext cx="2642744" cy="20592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728F01DF-C21A-440D-815D-BCE71D73B93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6260" y="3745251"/>
            <a:ext cx="2639820" cy="530151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9" name="Inhaltsplatzhalter 3">
            <a:extLst>
              <a:ext uri="{FF2B5EF4-FFF2-40B4-BE49-F238E27FC236}">
                <a16:creationId xmlns:a16="http://schemas.microsoft.com/office/drawing/2014/main" id="{CDF4B359-E2AE-469C-BB70-8258E1777D9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9006262" y="4275403"/>
            <a:ext cx="2639819" cy="1529048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8767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box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5006628-E959-468F-A305-D5F5A7F7CBAF}"/>
              </a:ext>
            </a:extLst>
          </p:cNvPr>
          <p:cNvSpPr/>
          <p:nvPr userDrawn="1"/>
        </p:nvSpPr>
        <p:spPr>
          <a:xfrm>
            <a:off x="542995" y="1511300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AF12BE7-D747-4D0C-A504-805EF8981D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2995" y="151130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40" name="Inhaltsplatzhalter 3">
            <a:extLst>
              <a:ext uri="{FF2B5EF4-FFF2-40B4-BE49-F238E27FC236}">
                <a16:creationId xmlns:a16="http://schemas.microsoft.com/office/drawing/2014/main" id="{6BE85CF4-F42A-49F2-82A5-23B5601880A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42995" y="2041451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A62DC35-E1B8-4CFB-9760-5F51DC1275C0}"/>
              </a:ext>
            </a:extLst>
          </p:cNvPr>
          <p:cNvSpPr/>
          <p:nvPr userDrawn="1"/>
        </p:nvSpPr>
        <p:spPr>
          <a:xfrm>
            <a:off x="4304768" y="1511300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AAAADBDA-88B2-4B18-9ED3-0E0FFDA4337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4768" y="151130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D31A522A-5ADD-42E0-9CFA-620CCDCCD5B8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304768" y="2041451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  <a:lvl4pPr marL="360000" indent="0">
              <a:buNone/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9F4D36F-640E-4FDA-B8CC-69717F3EBAF4}"/>
              </a:ext>
            </a:extLst>
          </p:cNvPr>
          <p:cNvSpPr/>
          <p:nvPr userDrawn="1"/>
        </p:nvSpPr>
        <p:spPr>
          <a:xfrm>
            <a:off x="8066539" y="1511300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93DDFAA4-8172-4DEA-9467-656471F558D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66539" y="151130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4" name="Inhaltsplatzhalter 3">
            <a:extLst>
              <a:ext uri="{FF2B5EF4-FFF2-40B4-BE49-F238E27FC236}">
                <a16:creationId xmlns:a16="http://schemas.microsoft.com/office/drawing/2014/main" id="{01BD4C8D-CFFE-41B1-BC77-88D2BAB8D03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066539" y="2041451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  <a:lvl3pP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24552946-EEE8-4B24-AB32-3921677F49F0}"/>
              </a:ext>
            </a:extLst>
          </p:cNvPr>
          <p:cNvSpPr/>
          <p:nvPr userDrawn="1"/>
        </p:nvSpPr>
        <p:spPr>
          <a:xfrm>
            <a:off x="542995" y="3003773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E72437FE-F106-4C5D-940F-3E75F932F3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2995" y="3003774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3" name="Inhaltsplatzhalter 3">
            <a:extLst>
              <a:ext uri="{FF2B5EF4-FFF2-40B4-BE49-F238E27FC236}">
                <a16:creationId xmlns:a16="http://schemas.microsoft.com/office/drawing/2014/main" id="{27209E24-B9B8-4D47-836A-106329E7B90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542995" y="3533927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DB2F53A-D2EB-439E-AF5D-ACA214D3B6F2}"/>
              </a:ext>
            </a:extLst>
          </p:cNvPr>
          <p:cNvSpPr/>
          <p:nvPr userDrawn="1"/>
        </p:nvSpPr>
        <p:spPr>
          <a:xfrm>
            <a:off x="4304768" y="3003773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032E89BE-EBB8-46D1-980D-D40CF246140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04768" y="3003774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37" name="Inhaltsplatzhalter 3">
            <a:extLst>
              <a:ext uri="{FF2B5EF4-FFF2-40B4-BE49-F238E27FC236}">
                <a16:creationId xmlns:a16="http://schemas.microsoft.com/office/drawing/2014/main" id="{235C47DE-2A4D-499F-9F2C-3AF1CE0DEBF5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04768" y="3533927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  <a:lvl4pPr marL="360000" indent="0">
              <a:buNone/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1EDC59E4-F60A-4DC6-A3C3-CD6CFFAB2E56}"/>
              </a:ext>
            </a:extLst>
          </p:cNvPr>
          <p:cNvSpPr/>
          <p:nvPr userDrawn="1"/>
        </p:nvSpPr>
        <p:spPr>
          <a:xfrm>
            <a:off x="8066539" y="3003773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795B2A5F-E368-451B-8B85-9C842FED05D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66539" y="3003774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52" name="Inhaltsplatzhalter 3">
            <a:extLst>
              <a:ext uri="{FF2B5EF4-FFF2-40B4-BE49-F238E27FC236}">
                <a16:creationId xmlns:a16="http://schemas.microsoft.com/office/drawing/2014/main" id="{C471A540-73C4-4EFF-A953-5742A86334AA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066539" y="3533927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  <a:lvl3pP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95FB2FD1-AE5D-400A-8D98-4CD36F6EC3CC}"/>
              </a:ext>
            </a:extLst>
          </p:cNvPr>
          <p:cNvSpPr/>
          <p:nvPr userDrawn="1"/>
        </p:nvSpPr>
        <p:spPr>
          <a:xfrm>
            <a:off x="542995" y="4496250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4" name="Textplatzhalter 6">
            <a:extLst>
              <a:ext uri="{FF2B5EF4-FFF2-40B4-BE49-F238E27FC236}">
                <a16:creationId xmlns:a16="http://schemas.microsoft.com/office/drawing/2014/main" id="{E73A7ADC-42A4-4B93-802D-3C4177C870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42995" y="449625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55" name="Inhaltsplatzhalter 3">
            <a:extLst>
              <a:ext uri="{FF2B5EF4-FFF2-40B4-BE49-F238E27FC236}">
                <a16:creationId xmlns:a16="http://schemas.microsoft.com/office/drawing/2014/main" id="{6AAB2F65-C1FB-4A97-9181-AC87FE259C00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542995" y="5026401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9D08419B-215E-462B-A696-2460C6560E51}"/>
              </a:ext>
            </a:extLst>
          </p:cNvPr>
          <p:cNvSpPr/>
          <p:nvPr userDrawn="1"/>
        </p:nvSpPr>
        <p:spPr>
          <a:xfrm>
            <a:off x="4304768" y="4496250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57" name="Textplatzhalter 6">
            <a:extLst>
              <a:ext uri="{FF2B5EF4-FFF2-40B4-BE49-F238E27FC236}">
                <a16:creationId xmlns:a16="http://schemas.microsoft.com/office/drawing/2014/main" id="{A08CF856-082B-4599-B976-0EF9EA9492F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304768" y="449625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58" name="Inhaltsplatzhalter 3">
            <a:extLst>
              <a:ext uri="{FF2B5EF4-FFF2-40B4-BE49-F238E27FC236}">
                <a16:creationId xmlns:a16="http://schemas.microsoft.com/office/drawing/2014/main" id="{C9714511-8F78-4EA5-9BE6-65BD95D22637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4304768" y="5026401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  <a:lvl4pPr marL="360000" indent="0">
              <a:buNone/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8FD4AD80-46B9-4665-B606-566102B8693A}"/>
              </a:ext>
            </a:extLst>
          </p:cNvPr>
          <p:cNvSpPr/>
          <p:nvPr userDrawn="1"/>
        </p:nvSpPr>
        <p:spPr>
          <a:xfrm>
            <a:off x="8066539" y="4496250"/>
            <a:ext cx="3582466" cy="1314000"/>
          </a:xfrm>
          <a:prstGeom prst="rect">
            <a:avLst/>
          </a:prstGeom>
          <a:solidFill>
            <a:srgbClr val="D9D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800" err="1"/>
          </a:p>
        </p:txBody>
      </p:sp>
      <p:sp>
        <p:nvSpPr>
          <p:cNvPr id="60" name="Textplatzhalter 6">
            <a:extLst>
              <a:ext uri="{FF2B5EF4-FFF2-40B4-BE49-F238E27FC236}">
                <a16:creationId xmlns:a16="http://schemas.microsoft.com/office/drawing/2014/main" id="{30234F12-66FA-41B1-B7BC-004BCF63982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066539" y="4496252"/>
            <a:ext cx="3582466" cy="530149"/>
          </a:xfrm>
        </p:spPr>
        <p:txBody>
          <a:bodyPr lIns="252000" tIns="154800" rIns="144000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Titel bearbeiten</a:t>
            </a:r>
          </a:p>
        </p:txBody>
      </p:sp>
      <p:sp>
        <p:nvSpPr>
          <p:cNvPr id="61" name="Inhaltsplatzhalter 3">
            <a:extLst>
              <a:ext uri="{FF2B5EF4-FFF2-40B4-BE49-F238E27FC236}">
                <a16:creationId xmlns:a16="http://schemas.microsoft.com/office/drawing/2014/main" id="{35BED763-A9BE-47BC-B235-8B7D8FB44544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8066539" y="5026401"/>
            <a:ext cx="3582466" cy="783847"/>
          </a:xfrm>
        </p:spPr>
        <p:txBody>
          <a:bodyPr lIns="252000" tIns="36000" rIns="144000"/>
          <a:lstStyle>
            <a:lvl1pPr>
              <a:defRPr sz="1400"/>
            </a:lvl1pPr>
            <a:lvl2pPr>
              <a:defRPr sz="1400"/>
            </a:lvl2pPr>
            <a:lvl3pPr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46941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boxen farbi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1511300"/>
            <a:ext cx="3582466" cy="4298950"/>
          </a:xfrm>
          <a:solidFill>
            <a:schemeClr val="accent6"/>
          </a:solidFill>
        </p:spPr>
        <p:txBody>
          <a:bodyPr lIns="252000" tIns="144000" rIns="144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171D48F3-237C-4C99-B212-DE3D70CE1B1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152" y="1511300"/>
            <a:ext cx="3582466" cy="4298950"/>
          </a:xfrm>
          <a:solidFill>
            <a:schemeClr val="accent5"/>
          </a:solidFill>
        </p:spPr>
        <p:txBody>
          <a:bodyPr lIns="252000" tIns="144000" rIns="144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07DEBDBF-B40E-4C42-8D9A-6702D489603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066237" y="1511300"/>
            <a:ext cx="3582466" cy="4298950"/>
          </a:xfrm>
          <a:solidFill>
            <a:schemeClr val="accent4"/>
          </a:solidFill>
        </p:spPr>
        <p:txBody>
          <a:bodyPr lIns="252000" tIns="144000" rIns="144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186339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1">
            <a:extLst>
              <a:ext uri="{FF2B5EF4-FFF2-40B4-BE49-F238E27FC236}">
                <a16:creationId xmlns:a16="http://schemas.microsoft.com/office/drawing/2014/main" id="{B695740E-45A7-8641-AB5C-927DD5F3D82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4576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699674 w 12192000"/>
              <a:gd name="connsiteY8" fmla="*/ 4509000 h 6858000"/>
              <a:gd name="connsiteX9" fmla="*/ 1861287 w 12192000"/>
              <a:gd name="connsiteY9" fmla="*/ 4509000 h 6858000"/>
              <a:gd name="connsiteX10" fmla="*/ 1869932 w 12192000"/>
              <a:gd name="connsiteY10" fmla="*/ 4509000 h 6858000"/>
              <a:gd name="connsiteX11" fmla="*/ 2227928 w 12192000"/>
              <a:gd name="connsiteY11" fmla="*/ 4509000 h 6858000"/>
              <a:gd name="connsiteX12" fmla="*/ 2238276 w 12192000"/>
              <a:gd name="connsiteY12" fmla="*/ 4509000 h 6858000"/>
              <a:gd name="connsiteX13" fmla="*/ 2594568 w 12192000"/>
              <a:gd name="connsiteY13" fmla="*/ 4509000 h 6858000"/>
              <a:gd name="connsiteX14" fmla="*/ 2606619 w 12192000"/>
              <a:gd name="connsiteY14" fmla="*/ 4509000 h 6858000"/>
              <a:gd name="connsiteX15" fmla="*/ 2764039 w 12192000"/>
              <a:gd name="connsiteY15" fmla="*/ 4509000 h 6858000"/>
              <a:gd name="connsiteX16" fmla="*/ 2776877 w 12192000"/>
              <a:gd name="connsiteY16" fmla="*/ 4509000 h 6858000"/>
              <a:gd name="connsiteX17" fmla="*/ 2916890 w 12192000"/>
              <a:gd name="connsiteY17" fmla="*/ 4509000 h 6858000"/>
              <a:gd name="connsiteX18" fmla="*/ 2930438 w 12192000"/>
              <a:gd name="connsiteY18" fmla="*/ 4509000 h 6858000"/>
              <a:gd name="connsiteX19" fmla="*/ 6257159 w 12192000"/>
              <a:gd name="connsiteY19" fmla="*/ 4509000 h 6858000"/>
              <a:gd name="connsiteX20" fmla="*/ 6286220 w 12192000"/>
              <a:gd name="connsiteY20" fmla="*/ 4509000 h 6858000"/>
              <a:gd name="connsiteX21" fmla="*/ 6979034 w 12192000"/>
              <a:gd name="connsiteY21" fmla="*/ 3819388 h 6858000"/>
              <a:gd name="connsiteX22" fmla="*/ 6979034 w 12192000"/>
              <a:gd name="connsiteY22" fmla="*/ 3140165 h 6858000"/>
              <a:gd name="connsiteX23" fmla="*/ 7671849 w 12192000"/>
              <a:gd name="connsiteY23" fmla="*/ 2450553 h 6858000"/>
              <a:gd name="connsiteX24" fmla="*/ 8029891 w 12192000"/>
              <a:gd name="connsiteY24" fmla="*/ 2450553 h 6858000"/>
              <a:gd name="connsiteX25" fmla="*/ 8067185 w 12192000"/>
              <a:gd name="connsiteY25" fmla="*/ 2450553 h 6858000"/>
              <a:gd name="connsiteX26" fmla="*/ 8759999 w 12192000"/>
              <a:gd name="connsiteY26" fmla="*/ 1760941 h 6858000"/>
              <a:gd name="connsiteX27" fmla="*/ 8759999 w 12192000"/>
              <a:gd name="connsiteY2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861287 w 12192000"/>
              <a:gd name="connsiteY8" fmla="*/ 4509000 h 6858000"/>
              <a:gd name="connsiteX9" fmla="*/ 1869932 w 12192000"/>
              <a:gd name="connsiteY9" fmla="*/ 4509000 h 6858000"/>
              <a:gd name="connsiteX10" fmla="*/ 2227928 w 12192000"/>
              <a:gd name="connsiteY10" fmla="*/ 4509000 h 6858000"/>
              <a:gd name="connsiteX11" fmla="*/ 2238276 w 12192000"/>
              <a:gd name="connsiteY11" fmla="*/ 4509000 h 6858000"/>
              <a:gd name="connsiteX12" fmla="*/ 2594568 w 12192000"/>
              <a:gd name="connsiteY12" fmla="*/ 4509000 h 6858000"/>
              <a:gd name="connsiteX13" fmla="*/ 2606619 w 12192000"/>
              <a:gd name="connsiteY13" fmla="*/ 4509000 h 6858000"/>
              <a:gd name="connsiteX14" fmla="*/ 2764039 w 12192000"/>
              <a:gd name="connsiteY14" fmla="*/ 4509000 h 6858000"/>
              <a:gd name="connsiteX15" fmla="*/ 2776877 w 12192000"/>
              <a:gd name="connsiteY15" fmla="*/ 4509000 h 6858000"/>
              <a:gd name="connsiteX16" fmla="*/ 2916890 w 12192000"/>
              <a:gd name="connsiteY16" fmla="*/ 4509000 h 6858000"/>
              <a:gd name="connsiteX17" fmla="*/ 2930438 w 12192000"/>
              <a:gd name="connsiteY17" fmla="*/ 4509000 h 6858000"/>
              <a:gd name="connsiteX18" fmla="*/ 6257159 w 12192000"/>
              <a:gd name="connsiteY18" fmla="*/ 4509000 h 6858000"/>
              <a:gd name="connsiteX19" fmla="*/ 6286220 w 12192000"/>
              <a:gd name="connsiteY19" fmla="*/ 4509000 h 6858000"/>
              <a:gd name="connsiteX20" fmla="*/ 6979034 w 12192000"/>
              <a:gd name="connsiteY20" fmla="*/ 3819388 h 6858000"/>
              <a:gd name="connsiteX21" fmla="*/ 6979034 w 12192000"/>
              <a:gd name="connsiteY21" fmla="*/ 3140165 h 6858000"/>
              <a:gd name="connsiteX22" fmla="*/ 7671849 w 12192000"/>
              <a:gd name="connsiteY22" fmla="*/ 2450553 h 6858000"/>
              <a:gd name="connsiteX23" fmla="*/ 8029891 w 12192000"/>
              <a:gd name="connsiteY23" fmla="*/ 2450553 h 6858000"/>
              <a:gd name="connsiteX24" fmla="*/ 8067185 w 12192000"/>
              <a:gd name="connsiteY24" fmla="*/ 2450553 h 6858000"/>
              <a:gd name="connsiteX25" fmla="*/ 8759999 w 12192000"/>
              <a:gd name="connsiteY25" fmla="*/ 1760941 h 6858000"/>
              <a:gd name="connsiteX26" fmla="*/ 8759999 w 12192000"/>
              <a:gd name="connsiteY2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1869932 w 12192000"/>
              <a:gd name="connsiteY8" fmla="*/ 4509000 h 6858000"/>
              <a:gd name="connsiteX9" fmla="*/ 2227928 w 12192000"/>
              <a:gd name="connsiteY9" fmla="*/ 4509000 h 6858000"/>
              <a:gd name="connsiteX10" fmla="*/ 2238276 w 12192000"/>
              <a:gd name="connsiteY10" fmla="*/ 4509000 h 6858000"/>
              <a:gd name="connsiteX11" fmla="*/ 2594568 w 12192000"/>
              <a:gd name="connsiteY11" fmla="*/ 4509000 h 6858000"/>
              <a:gd name="connsiteX12" fmla="*/ 2606619 w 12192000"/>
              <a:gd name="connsiteY12" fmla="*/ 4509000 h 6858000"/>
              <a:gd name="connsiteX13" fmla="*/ 2764039 w 12192000"/>
              <a:gd name="connsiteY13" fmla="*/ 4509000 h 6858000"/>
              <a:gd name="connsiteX14" fmla="*/ 2776877 w 12192000"/>
              <a:gd name="connsiteY14" fmla="*/ 4509000 h 6858000"/>
              <a:gd name="connsiteX15" fmla="*/ 2916890 w 12192000"/>
              <a:gd name="connsiteY15" fmla="*/ 4509000 h 6858000"/>
              <a:gd name="connsiteX16" fmla="*/ 2930438 w 12192000"/>
              <a:gd name="connsiteY16" fmla="*/ 4509000 h 6858000"/>
              <a:gd name="connsiteX17" fmla="*/ 6257159 w 12192000"/>
              <a:gd name="connsiteY17" fmla="*/ 4509000 h 6858000"/>
              <a:gd name="connsiteX18" fmla="*/ 6286220 w 12192000"/>
              <a:gd name="connsiteY18" fmla="*/ 4509000 h 6858000"/>
              <a:gd name="connsiteX19" fmla="*/ 6979034 w 12192000"/>
              <a:gd name="connsiteY19" fmla="*/ 3819388 h 6858000"/>
              <a:gd name="connsiteX20" fmla="*/ 6979034 w 12192000"/>
              <a:gd name="connsiteY20" fmla="*/ 3140165 h 6858000"/>
              <a:gd name="connsiteX21" fmla="*/ 7671849 w 12192000"/>
              <a:gd name="connsiteY21" fmla="*/ 2450553 h 6858000"/>
              <a:gd name="connsiteX22" fmla="*/ 8029891 w 12192000"/>
              <a:gd name="connsiteY22" fmla="*/ 2450553 h 6858000"/>
              <a:gd name="connsiteX23" fmla="*/ 8067185 w 12192000"/>
              <a:gd name="connsiteY23" fmla="*/ 2450553 h 6858000"/>
              <a:gd name="connsiteX24" fmla="*/ 8759999 w 12192000"/>
              <a:gd name="connsiteY24" fmla="*/ 1760941 h 6858000"/>
              <a:gd name="connsiteX25" fmla="*/ 8759999 w 12192000"/>
              <a:gd name="connsiteY2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2227928 w 12192000"/>
              <a:gd name="connsiteY8" fmla="*/ 4509000 h 6858000"/>
              <a:gd name="connsiteX9" fmla="*/ 2238276 w 12192000"/>
              <a:gd name="connsiteY9" fmla="*/ 4509000 h 6858000"/>
              <a:gd name="connsiteX10" fmla="*/ 2594568 w 12192000"/>
              <a:gd name="connsiteY10" fmla="*/ 4509000 h 6858000"/>
              <a:gd name="connsiteX11" fmla="*/ 2606619 w 12192000"/>
              <a:gd name="connsiteY11" fmla="*/ 4509000 h 6858000"/>
              <a:gd name="connsiteX12" fmla="*/ 2764039 w 12192000"/>
              <a:gd name="connsiteY12" fmla="*/ 4509000 h 6858000"/>
              <a:gd name="connsiteX13" fmla="*/ 2776877 w 12192000"/>
              <a:gd name="connsiteY13" fmla="*/ 4509000 h 6858000"/>
              <a:gd name="connsiteX14" fmla="*/ 2916890 w 12192000"/>
              <a:gd name="connsiteY14" fmla="*/ 4509000 h 6858000"/>
              <a:gd name="connsiteX15" fmla="*/ 2930438 w 12192000"/>
              <a:gd name="connsiteY15" fmla="*/ 4509000 h 6858000"/>
              <a:gd name="connsiteX16" fmla="*/ 6257159 w 12192000"/>
              <a:gd name="connsiteY16" fmla="*/ 4509000 h 6858000"/>
              <a:gd name="connsiteX17" fmla="*/ 6286220 w 12192000"/>
              <a:gd name="connsiteY17" fmla="*/ 4509000 h 6858000"/>
              <a:gd name="connsiteX18" fmla="*/ 6979034 w 12192000"/>
              <a:gd name="connsiteY18" fmla="*/ 3819388 h 6858000"/>
              <a:gd name="connsiteX19" fmla="*/ 6979034 w 12192000"/>
              <a:gd name="connsiteY19" fmla="*/ 3140165 h 6858000"/>
              <a:gd name="connsiteX20" fmla="*/ 7671849 w 12192000"/>
              <a:gd name="connsiteY20" fmla="*/ 2450553 h 6858000"/>
              <a:gd name="connsiteX21" fmla="*/ 8029891 w 12192000"/>
              <a:gd name="connsiteY21" fmla="*/ 2450553 h 6858000"/>
              <a:gd name="connsiteX22" fmla="*/ 8067185 w 12192000"/>
              <a:gd name="connsiteY22" fmla="*/ 2450553 h 6858000"/>
              <a:gd name="connsiteX23" fmla="*/ 8759999 w 12192000"/>
              <a:gd name="connsiteY23" fmla="*/ 1760941 h 6858000"/>
              <a:gd name="connsiteX24" fmla="*/ 8759999 w 12192000"/>
              <a:gd name="connsiteY2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238276 w 12192000"/>
              <a:gd name="connsiteY8" fmla="*/ 4509000 h 6858000"/>
              <a:gd name="connsiteX9" fmla="*/ 2594568 w 12192000"/>
              <a:gd name="connsiteY9" fmla="*/ 4509000 h 6858000"/>
              <a:gd name="connsiteX10" fmla="*/ 2606619 w 12192000"/>
              <a:gd name="connsiteY10" fmla="*/ 4509000 h 6858000"/>
              <a:gd name="connsiteX11" fmla="*/ 2764039 w 12192000"/>
              <a:gd name="connsiteY11" fmla="*/ 4509000 h 6858000"/>
              <a:gd name="connsiteX12" fmla="*/ 2776877 w 12192000"/>
              <a:gd name="connsiteY12" fmla="*/ 4509000 h 6858000"/>
              <a:gd name="connsiteX13" fmla="*/ 2916890 w 12192000"/>
              <a:gd name="connsiteY13" fmla="*/ 4509000 h 6858000"/>
              <a:gd name="connsiteX14" fmla="*/ 2930438 w 12192000"/>
              <a:gd name="connsiteY14" fmla="*/ 4509000 h 6858000"/>
              <a:gd name="connsiteX15" fmla="*/ 6257159 w 12192000"/>
              <a:gd name="connsiteY15" fmla="*/ 4509000 h 6858000"/>
              <a:gd name="connsiteX16" fmla="*/ 6286220 w 12192000"/>
              <a:gd name="connsiteY16" fmla="*/ 4509000 h 6858000"/>
              <a:gd name="connsiteX17" fmla="*/ 6979034 w 12192000"/>
              <a:gd name="connsiteY17" fmla="*/ 3819388 h 6858000"/>
              <a:gd name="connsiteX18" fmla="*/ 6979034 w 12192000"/>
              <a:gd name="connsiteY18" fmla="*/ 3140165 h 6858000"/>
              <a:gd name="connsiteX19" fmla="*/ 7671849 w 12192000"/>
              <a:gd name="connsiteY19" fmla="*/ 2450553 h 6858000"/>
              <a:gd name="connsiteX20" fmla="*/ 8029891 w 12192000"/>
              <a:gd name="connsiteY20" fmla="*/ 2450553 h 6858000"/>
              <a:gd name="connsiteX21" fmla="*/ 8067185 w 12192000"/>
              <a:gd name="connsiteY21" fmla="*/ 2450553 h 6858000"/>
              <a:gd name="connsiteX22" fmla="*/ 8759999 w 12192000"/>
              <a:gd name="connsiteY22" fmla="*/ 1760941 h 6858000"/>
              <a:gd name="connsiteX23" fmla="*/ 8759999 w 12192000"/>
              <a:gd name="connsiteY2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606619 w 12192000"/>
              <a:gd name="connsiteY9" fmla="*/ 4509000 h 6858000"/>
              <a:gd name="connsiteX10" fmla="*/ 2764039 w 12192000"/>
              <a:gd name="connsiteY10" fmla="*/ 4509000 h 6858000"/>
              <a:gd name="connsiteX11" fmla="*/ 2776877 w 12192000"/>
              <a:gd name="connsiteY11" fmla="*/ 4509000 h 6858000"/>
              <a:gd name="connsiteX12" fmla="*/ 2916890 w 12192000"/>
              <a:gd name="connsiteY12" fmla="*/ 4509000 h 6858000"/>
              <a:gd name="connsiteX13" fmla="*/ 2930438 w 12192000"/>
              <a:gd name="connsiteY13" fmla="*/ 4509000 h 6858000"/>
              <a:gd name="connsiteX14" fmla="*/ 6257159 w 12192000"/>
              <a:gd name="connsiteY14" fmla="*/ 4509000 h 6858000"/>
              <a:gd name="connsiteX15" fmla="*/ 6286220 w 12192000"/>
              <a:gd name="connsiteY15" fmla="*/ 4509000 h 6858000"/>
              <a:gd name="connsiteX16" fmla="*/ 6979034 w 12192000"/>
              <a:gd name="connsiteY16" fmla="*/ 3819388 h 6858000"/>
              <a:gd name="connsiteX17" fmla="*/ 6979034 w 12192000"/>
              <a:gd name="connsiteY17" fmla="*/ 3140165 h 6858000"/>
              <a:gd name="connsiteX18" fmla="*/ 7671849 w 12192000"/>
              <a:gd name="connsiteY18" fmla="*/ 2450553 h 6858000"/>
              <a:gd name="connsiteX19" fmla="*/ 8029891 w 12192000"/>
              <a:gd name="connsiteY19" fmla="*/ 2450553 h 6858000"/>
              <a:gd name="connsiteX20" fmla="*/ 8067185 w 12192000"/>
              <a:gd name="connsiteY20" fmla="*/ 2450553 h 6858000"/>
              <a:gd name="connsiteX21" fmla="*/ 8759999 w 12192000"/>
              <a:gd name="connsiteY21" fmla="*/ 1760941 h 6858000"/>
              <a:gd name="connsiteX22" fmla="*/ 8759999 w 12192000"/>
              <a:gd name="connsiteY2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776877 w 12192000"/>
              <a:gd name="connsiteY10" fmla="*/ 4509000 h 6858000"/>
              <a:gd name="connsiteX11" fmla="*/ 2916890 w 12192000"/>
              <a:gd name="connsiteY11" fmla="*/ 4509000 h 6858000"/>
              <a:gd name="connsiteX12" fmla="*/ 2930438 w 12192000"/>
              <a:gd name="connsiteY12" fmla="*/ 4509000 h 6858000"/>
              <a:gd name="connsiteX13" fmla="*/ 6257159 w 12192000"/>
              <a:gd name="connsiteY13" fmla="*/ 4509000 h 6858000"/>
              <a:gd name="connsiteX14" fmla="*/ 6286220 w 12192000"/>
              <a:gd name="connsiteY14" fmla="*/ 4509000 h 6858000"/>
              <a:gd name="connsiteX15" fmla="*/ 6979034 w 12192000"/>
              <a:gd name="connsiteY15" fmla="*/ 3819388 h 6858000"/>
              <a:gd name="connsiteX16" fmla="*/ 6979034 w 12192000"/>
              <a:gd name="connsiteY16" fmla="*/ 3140165 h 6858000"/>
              <a:gd name="connsiteX17" fmla="*/ 7671849 w 12192000"/>
              <a:gd name="connsiteY17" fmla="*/ 2450553 h 6858000"/>
              <a:gd name="connsiteX18" fmla="*/ 8029891 w 12192000"/>
              <a:gd name="connsiteY18" fmla="*/ 2450553 h 6858000"/>
              <a:gd name="connsiteX19" fmla="*/ 8067185 w 12192000"/>
              <a:gd name="connsiteY19" fmla="*/ 2450553 h 6858000"/>
              <a:gd name="connsiteX20" fmla="*/ 8759999 w 12192000"/>
              <a:gd name="connsiteY20" fmla="*/ 1760941 h 6858000"/>
              <a:gd name="connsiteX21" fmla="*/ 8759999 w 12192000"/>
              <a:gd name="connsiteY2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916890 w 12192000"/>
              <a:gd name="connsiteY10" fmla="*/ 4509000 h 6858000"/>
              <a:gd name="connsiteX11" fmla="*/ 2930438 w 12192000"/>
              <a:gd name="connsiteY11" fmla="*/ 4509000 h 6858000"/>
              <a:gd name="connsiteX12" fmla="*/ 6257159 w 12192000"/>
              <a:gd name="connsiteY12" fmla="*/ 4509000 h 6858000"/>
              <a:gd name="connsiteX13" fmla="*/ 6286220 w 12192000"/>
              <a:gd name="connsiteY13" fmla="*/ 4509000 h 6858000"/>
              <a:gd name="connsiteX14" fmla="*/ 6979034 w 12192000"/>
              <a:gd name="connsiteY14" fmla="*/ 3819388 h 6858000"/>
              <a:gd name="connsiteX15" fmla="*/ 6979034 w 12192000"/>
              <a:gd name="connsiteY15" fmla="*/ 3140165 h 6858000"/>
              <a:gd name="connsiteX16" fmla="*/ 7671849 w 12192000"/>
              <a:gd name="connsiteY16" fmla="*/ 2450553 h 6858000"/>
              <a:gd name="connsiteX17" fmla="*/ 8029891 w 12192000"/>
              <a:gd name="connsiteY17" fmla="*/ 2450553 h 6858000"/>
              <a:gd name="connsiteX18" fmla="*/ 8067185 w 12192000"/>
              <a:gd name="connsiteY18" fmla="*/ 2450553 h 6858000"/>
              <a:gd name="connsiteX19" fmla="*/ 8759999 w 12192000"/>
              <a:gd name="connsiteY19" fmla="*/ 1760941 h 6858000"/>
              <a:gd name="connsiteX20" fmla="*/ 8759999 w 12192000"/>
              <a:gd name="connsiteY2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2930438 w 12192000"/>
              <a:gd name="connsiteY10" fmla="*/ 4509000 h 6858000"/>
              <a:gd name="connsiteX11" fmla="*/ 6257159 w 12192000"/>
              <a:gd name="connsiteY11" fmla="*/ 4509000 h 6858000"/>
              <a:gd name="connsiteX12" fmla="*/ 6286220 w 12192000"/>
              <a:gd name="connsiteY12" fmla="*/ 4509000 h 6858000"/>
              <a:gd name="connsiteX13" fmla="*/ 6979034 w 12192000"/>
              <a:gd name="connsiteY13" fmla="*/ 3819388 h 6858000"/>
              <a:gd name="connsiteX14" fmla="*/ 6979034 w 12192000"/>
              <a:gd name="connsiteY14" fmla="*/ 3140165 h 6858000"/>
              <a:gd name="connsiteX15" fmla="*/ 7671849 w 12192000"/>
              <a:gd name="connsiteY15" fmla="*/ 2450553 h 6858000"/>
              <a:gd name="connsiteX16" fmla="*/ 8029891 w 12192000"/>
              <a:gd name="connsiteY16" fmla="*/ 2450553 h 6858000"/>
              <a:gd name="connsiteX17" fmla="*/ 8067185 w 12192000"/>
              <a:gd name="connsiteY17" fmla="*/ 2450553 h 6858000"/>
              <a:gd name="connsiteX18" fmla="*/ 8759999 w 12192000"/>
              <a:gd name="connsiteY18" fmla="*/ 1760941 h 6858000"/>
              <a:gd name="connsiteX19" fmla="*/ 8759999 w 12192000"/>
              <a:gd name="connsiteY1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6257159 w 12192000"/>
              <a:gd name="connsiteY10" fmla="*/ 4509000 h 6858000"/>
              <a:gd name="connsiteX11" fmla="*/ 6286220 w 12192000"/>
              <a:gd name="connsiteY11" fmla="*/ 4509000 h 6858000"/>
              <a:gd name="connsiteX12" fmla="*/ 6979034 w 12192000"/>
              <a:gd name="connsiteY12" fmla="*/ 3819388 h 6858000"/>
              <a:gd name="connsiteX13" fmla="*/ 6979034 w 12192000"/>
              <a:gd name="connsiteY13" fmla="*/ 3140165 h 6858000"/>
              <a:gd name="connsiteX14" fmla="*/ 7671849 w 12192000"/>
              <a:gd name="connsiteY14" fmla="*/ 2450553 h 6858000"/>
              <a:gd name="connsiteX15" fmla="*/ 8029891 w 12192000"/>
              <a:gd name="connsiteY15" fmla="*/ 2450553 h 6858000"/>
              <a:gd name="connsiteX16" fmla="*/ 8067185 w 12192000"/>
              <a:gd name="connsiteY16" fmla="*/ 2450553 h 6858000"/>
              <a:gd name="connsiteX17" fmla="*/ 8759999 w 12192000"/>
              <a:gd name="connsiteY17" fmla="*/ 1760941 h 6858000"/>
              <a:gd name="connsiteX18" fmla="*/ 8759999 w 12192000"/>
              <a:gd name="connsiteY1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916890 w 12192000"/>
              <a:gd name="connsiteY8" fmla="*/ 4509000 h 6858000"/>
              <a:gd name="connsiteX9" fmla="*/ 6257159 w 12192000"/>
              <a:gd name="connsiteY9" fmla="*/ 4509000 h 6858000"/>
              <a:gd name="connsiteX10" fmla="*/ 6286220 w 12192000"/>
              <a:gd name="connsiteY10" fmla="*/ 4509000 h 6858000"/>
              <a:gd name="connsiteX11" fmla="*/ 6979034 w 12192000"/>
              <a:gd name="connsiteY11" fmla="*/ 3819388 h 6858000"/>
              <a:gd name="connsiteX12" fmla="*/ 6979034 w 12192000"/>
              <a:gd name="connsiteY12" fmla="*/ 3140165 h 6858000"/>
              <a:gd name="connsiteX13" fmla="*/ 7671849 w 12192000"/>
              <a:gd name="connsiteY13" fmla="*/ 2450553 h 6858000"/>
              <a:gd name="connsiteX14" fmla="*/ 8029891 w 12192000"/>
              <a:gd name="connsiteY14" fmla="*/ 2450553 h 6858000"/>
              <a:gd name="connsiteX15" fmla="*/ 8067185 w 12192000"/>
              <a:gd name="connsiteY15" fmla="*/ 2450553 h 6858000"/>
              <a:gd name="connsiteX16" fmla="*/ 8759999 w 12192000"/>
              <a:gd name="connsiteY16" fmla="*/ 1760941 h 6858000"/>
              <a:gd name="connsiteX17" fmla="*/ 8759999 w 12192000"/>
              <a:gd name="connsiteY1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6257159 w 12192000"/>
              <a:gd name="connsiteY8" fmla="*/ 4509000 h 6858000"/>
              <a:gd name="connsiteX9" fmla="*/ 6286220 w 12192000"/>
              <a:gd name="connsiteY9" fmla="*/ 4509000 h 6858000"/>
              <a:gd name="connsiteX10" fmla="*/ 6979034 w 12192000"/>
              <a:gd name="connsiteY10" fmla="*/ 3819388 h 6858000"/>
              <a:gd name="connsiteX11" fmla="*/ 6979034 w 12192000"/>
              <a:gd name="connsiteY11" fmla="*/ 3140165 h 6858000"/>
              <a:gd name="connsiteX12" fmla="*/ 7671849 w 12192000"/>
              <a:gd name="connsiteY12" fmla="*/ 2450553 h 6858000"/>
              <a:gd name="connsiteX13" fmla="*/ 8029891 w 12192000"/>
              <a:gd name="connsiteY13" fmla="*/ 2450553 h 6858000"/>
              <a:gd name="connsiteX14" fmla="*/ 8067185 w 12192000"/>
              <a:gd name="connsiteY14" fmla="*/ 2450553 h 6858000"/>
              <a:gd name="connsiteX15" fmla="*/ 8759999 w 12192000"/>
              <a:gd name="connsiteY15" fmla="*/ 1760941 h 6858000"/>
              <a:gd name="connsiteX16" fmla="*/ 8759999 w 12192000"/>
              <a:gd name="connsiteY1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6257159 w 12192000"/>
              <a:gd name="connsiteY7" fmla="*/ 4509000 h 6858000"/>
              <a:gd name="connsiteX8" fmla="*/ 6286220 w 12192000"/>
              <a:gd name="connsiteY8" fmla="*/ 4509000 h 6858000"/>
              <a:gd name="connsiteX9" fmla="*/ 6979034 w 12192000"/>
              <a:gd name="connsiteY9" fmla="*/ 3819388 h 6858000"/>
              <a:gd name="connsiteX10" fmla="*/ 6979034 w 12192000"/>
              <a:gd name="connsiteY10" fmla="*/ 3140165 h 6858000"/>
              <a:gd name="connsiteX11" fmla="*/ 7671849 w 12192000"/>
              <a:gd name="connsiteY11" fmla="*/ 2450553 h 6858000"/>
              <a:gd name="connsiteX12" fmla="*/ 8029891 w 12192000"/>
              <a:gd name="connsiteY12" fmla="*/ 2450553 h 6858000"/>
              <a:gd name="connsiteX13" fmla="*/ 8067185 w 12192000"/>
              <a:gd name="connsiteY13" fmla="*/ 2450553 h 6858000"/>
              <a:gd name="connsiteX14" fmla="*/ 8759999 w 12192000"/>
              <a:gd name="connsiteY14" fmla="*/ 1760941 h 6858000"/>
              <a:gd name="connsiteX15" fmla="*/ 8759999 w 12192000"/>
              <a:gd name="connsiteY1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286220 w 12192000"/>
              <a:gd name="connsiteY7" fmla="*/ 4509000 h 6858000"/>
              <a:gd name="connsiteX8" fmla="*/ 6979034 w 12192000"/>
              <a:gd name="connsiteY8" fmla="*/ 3819388 h 6858000"/>
              <a:gd name="connsiteX9" fmla="*/ 6979034 w 12192000"/>
              <a:gd name="connsiteY9" fmla="*/ 3140165 h 6858000"/>
              <a:gd name="connsiteX10" fmla="*/ 7671849 w 12192000"/>
              <a:gd name="connsiteY10" fmla="*/ 2450553 h 6858000"/>
              <a:gd name="connsiteX11" fmla="*/ 8029891 w 12192000"/>
              <a:gd name="connsiteY11" fmla="*/ 2450553 h 6858000"/>
              <a:gd name="connsiteX12" fmla="*/ 8067185 w 12192000"/>
              <a:gd name="connsiteY12" fmla="*/ 2450553 h 6858000"/>
              <a:gd name="connsiteX13" fmla="*/ 8759999 w 12192000"/>
              <a:gd name="connsiteY13" fmla="*/ 1760941 h 6858000"/>
              <a:gd name="connsiteX14" fmla="*/ 8759999 w 12192000"/>
              <a:gd name="connsiteY1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979034 w 12192000"/>
              <a:gd name="connsiteY7" fmla="*/ 3819388 h 6858000"/>
              <a:gd name="connsiteX8" fmla="*/ 6979034 w 12192000"/>
              <a:gd name="connsiteY8" fmla="*/ 3140165 h 6858000"/>
              <a:gd name="connsiteX9" fmla="*/ 7671849 w 12192000"/>
              <a:gd name="connsiteY9" fmla="*/ 2450553 h 6858000"/>
              <a:gd name="connsiteX10" fmla="*/ 8029891 w 12192000"/>
              <a:gd name="connsiteY10" fmla="*/ 2450553 h 6858000"/>
              <a:gd name="connsiteX11" fmla="*/ 8067185 w 12192000"/>
              <a:gd name="connsiteY11" fmla="*/ 2450553 h 6858000"/>
              <a:gd name="connsiteX12" fmla="*/ 8759999 w 12192000"/>
              <a:gd name="connsiteY12" fmla="*/ 1760941 h 6858000"/>
              <a:gd name="connsiteX13" fmla="*/ 8759999 w 12192000"/>
              <a:gd name="connsiteY1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819388 h 6858000"/>
              <a:gd name="connsiteX7" fmla="*/ 6979034 w 12192000"/>
              <a:gd name="connsiteY7" fmla="*/ 3140165 h 6858000"/>
              <a:gd name="connsiteX8" fmla="*/ 7671849 w 12192000"/>
              <a:gd name="connsiteY8" fmla="*/ 2450553 h 6858000"/>
              <a:gd name="connsiteX9" fmla="*/ 8029891 w 12192000"/>
              <a:gd name="connsiteY9" fmla="*/ 2450553 h 6858000"/>
              <a:gd name="connsiteX10" fmla="*/ 8067185 w 12192000"/>
              <a:gd name="connsiteY10" fmla="*/ 2450553 h 6858000"/>
              <a:gd name="connsiteX11" fmla="*/ 8759999 w 12192000"/>
              <a:gd name="connsiteY11" fmla="*/ 1760941 h 6858000"/>
              <a:gd name="connsiteX12" fmla="*/ 8759999 w 12192000"/>
              <a:gd name="connsiteY1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140165 h 6858000"/>
              <a:gd name="connsiteX7" fmla="*/ 7671849 w 12192000"/>
              <a:gd name="connsiteY7" fmla="*/ 2450553 h 6858000"/>
              <a:gd name="connsiteX8" fmla="*/ 8029891 w 12192000"/>
              <a:gd name="connsiteY8" fmla="*/ 2450553 h 6858000"/>
              <a:gd name="connsiteX9" fmla="*/ 8067185 w 12192000"/>
              <a:gd name="connsiteY9" fmla="*/ 2450553 h 6858000"/>
              <a:gd name="connsiteX10" fmla="*/ 8759999 w 12192000"/>
              <a:gd name="connsiteY10" fmla="*/ 1760941 h 6858000"/>
              <a:gd name="connsiteX11" fmla="*/ 8759999 w 12192000"/>
              <a:gd name="connsiteY1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7671849 w 12192000"/>
              <a:gd name="connsiteY6" fmla="*/ 2450553 h 6858000"/>
              <a:gd name="connsiteX7" fmla="*/ 8029891 w 12192000"/>
              <a:gd name="connsiteY7" fmla="*/ 2450553 h 6858000"/>
              <a:gd name="connsiteX8" fmla="*/ 8067185 w 12192000"/>
              <a:gd name="connsiteY8" fmla="*/ 2450553 h 6858000"/>
              <a:gd name="connsiteX9" fmla="*/ 8759999 w 12192000"/>
              <a:gd name="connsiteY9" fmla="*/ 1760941 h 6858000"/>
              <a:gd name="connsiteX10" fmla="*/ 8759999 w 12192000"/>
              <a:gd name="connsiteY1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067185 w 12192000"/>
              <a:gd name="connsiteY7" fmla="*/ 2450553 h 6858000"/>
              <a:gd name="connsiteX8" fmla="*/ 8759999 w 12192000"/>
              <a:gd name="connsiteY8" fmla="*/ 1760941 h 6858000"/>
              <a:gd name="connsiteX9" fmla="*/ 8759999 w 12192000"/>
              <a:gd name="connsiteY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759999 w 12192000"/>
              <a:gd name="connsiteY7" fmla="*/ 1760941 h 6858000"/>
              <a:gd name="connsiteX8" fmla="*/ 8759999 w 12192000"/>
              <a:gd name="connsiteY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1760941 h 6858000"/>
              <a:gd name="connsiteX7" fmla="*/ 8759999 w 12192000"/>
              <a:gd name="connsiteY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6" fmla="*/ 8759999 w 12192000"/>
              <a:gd name="connsiteY6" fmla="*/ 0 h 6858000"/>
              <a:gd name="connsiteX0" fmla="*/ 8759999 w 12192000"/>
              <a:gd name="connsiteY0" fmla="*/ 508523 h 7366523"/>
              <a:gd name="connsiteX1" fmla="*/ 12192000 w 12192000"/>
              <a:gd name="connsiteY1" fmla="*/ 508523 h 7366523"/>
              <a:gd name="connsiteX2" fmla="*/ 12192000 w 12192000"/>
              <a:gd name="connsiteY2" fmla="*/ 7366523 h 7366523"/>
              <a:gd name="connsiteX3" fmla="*/ 0 w 12192000"/>
              <a:gd name="connsiteY3" fmla="*/ 7366523 h 7366523"/>
              <a:gd name="connsiteX4" fmla="*/ 0 w 12192000"/>
              <a:gd name="connsiteY4" fmla="*/ 5017523 h 7366523"/>
              <a:gd name="connsiteX5" fmla="*/ 9145 w 12192000"/>
              <a:gd name="connsiteY5" fmla="*/ 518675 h 7366523"/>
              <a:gd name="connsiteX6" fmla="*/ 8759999 w 12192000"/>
              <a:gd name="connsiteY6" fmla="*/ 508523 h 7366523"/>
              <a:gd name="connsiteX0" fmla="*/ 8759999 w 12192000"/>
              <a:gd name="connsiteY0" fmla="*/ 568584 h 7426584"/>
              <a:gd name="connsiteX1" fmla="*/ 12192000 w 12192000"/>
              <a:gd name="connsiteY1" fmla="*/ 568584 h 7426584"/>
              <a:gd name="connsiteX2" fmla="*/ 12192000 w 12192000"/>
              <a:gd name="connsiteY2" fmla="*/ 7426584 h 7426584"/>
              <a:gd name="connsiteX3" fmla="*/ 0 w 12192000"/>
              <a:gd name="connsiteY3" fmla="*/ 7426584 h 7426584"/>
              <a:gd name="connsiteX4" fmla="*/ 0 w 12192000"/>
              <a:gd name="connsiteY4" fmla="*/ 5077584 h 7426584"/>
              <a:gd name="connsiteX5" fmla="*/ 9145 w 12192000"/>
              <a:gd name="connsiteY5" fmla="*/ 578736 h 7426584"/>
              <a:gd name="connsiteX6" fmla="*/ 8759999 w 12192000"/>
              <a:gd name="connsiteY6" fmla="*/ 568584 h 7426584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5 w 12192000"/>
              <a:gd name="connsiteY4" fmla="*/ 101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9145" y="10152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ubicBezTo>
                  <a:pt x="3048" y="4575384"/>
                  <a:pt x="6097" y="2292768"/>
                  <a:pt x="9145" y="10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ACED6C9B-5DB2-C34F-9C08-4A4187E962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0800000">
            <a:off x="-287793" y="302861"/>
            <a:ext cx="12143937" cy="625227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087888" y="1989000"/>
            <a:ext cx="6480112" cy="2448000"/>
          </a:xfrm>
        </p:spPr>
        <p:txBody>
          <a:bodyPr anchor="b"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 </a:t>
            </a:r>
            <a:r>
              <a:rPr lang="de-DE" dirty="0" err="1"/>
              <a:t>separator</a:t>
            </a:r>
            <a:r>
              <a:rPr lang="de-DE" dirty="0"/>
              <a:t> </a:t>
            </a:r>
            <a:r>
              <a:rPr lang="de-DE" dirty="0" err="1"/>
              <a:t>pa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stinguis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pters</a:t>
            </a:r>
            <a:endParaRPr lang="de-DE" dirty="0"/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087888" y="4604814"/>
            <a:ext cx="6480112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 dirty="0"/>
              <a:t>This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7515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boxen farbi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3639450"/>
            <a:ext cx="3582466" cy="2170800"/>
          </a:xfrm>
          <a:solidFill>
            <a:schemeClr val="accent6"/>
          </a:solidFill>
        </p:spPr>
        <p:txBody>
          <a:bodyPr lIns="252000" tIns="144000" rIns="144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171D48F3-237C-4C99-B212-DE3D70CE1B1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152" y="3639450"/>
            <a:ext cx="3582466" cy="2170800"/>
          </a:xfrm>
          <a:solidFill>
            <a:schemeClr val="accent5"/>
          </a:solidFill>
        </p:spPr>
        <p:txBody>
          <a:bodyPr lIns="252000" tIns="144000" rIns="144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07DEBDBF-B40E-4C42-8D9A-6702D489603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066237" y="3639450"/>
            <a:ext cx="3582466" cy="2170800"/>
          </a:xfrm>
          <a:solidFill>
            <a:schemeClr val="accent4"/>
          </a:solidFill>
        </p:spPr>
        <p:txBody>
          <a:bodyPr lIns="252000" tIns="144000" rIns="144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B0ADE2CB-3A62-496A-9ECD-B2308CEE8BF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2997" y="1511300"/>
            <a:ext cx="11106008" cy="195331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0544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boxen farbi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3639450"/>
            <a:ext cx="5465511" cy="997200"/>
          </a:xfrm>
          <a:solidFill>
            <a:schemeClr val="accent6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B0ADE2CB-3A62-496A-9ECD-B2308CEE8BF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2997" y="1511300"/>
            <a:ext cx="11106008" cy="1954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4E1DC1A-1CAE-4702-8761-CA6B4C3634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183493" y="3639450"/>
            <a:ext cx="5465511" cy="997200"/>
          </a:xfrm>
          <a:solidFill>
            <a:schemeClr val="accent5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80000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A92EEDD-3483-47E6-8B6A-FFD38D702A2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42995" y="4813050"/>
            <a:ext cx="5465511" cy="997200"/>
          </a:xfrm>
          <a:solidFill>
            <a:schemeClr val="accent4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A5BF2697-5C6A-4BFA-A256-C2518283180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3493" y="4813050"/>
            <a:ext cx="5465511" cy="997200"/>
          </a:xfrm>
          <a:solidFill>
            <a:schemeClr val="accent1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9614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boxen farbig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F37ABA27-F333-4227-B5B9-F784029E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3639450"/>
            <a:ext cx="3582466" cy="997200"/>
          </a:xfrm>
          <a:solidFill>
            <a:schemeClr val="accent6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80000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554FFE-7B91-4BC2-9ED2-39544B6A07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1A920A7-2549-4FAA-8EB6-663AA67A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B68EF59-97E5-43F5-A42F-696612B552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B0ADE2CB-3A62-496A-9ECD-B2308CEE8BF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2997" y="1511300"/>
            <a:ext cx="11106008" cy="1954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4E1DC1A-1CAE-4702-8761-CA6B4C3634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04768" y="3639450"/>
            <a:ext cx="3582466" cy="997200"/>
          </a:xfrm>
          <a:solidFill>
            <a:schemeClr val="accent5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A92EEDD-3483-47E6-8B6A-FFD38D702A2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42995" y="4813050"/>
            <a:ext cx="3582466" cy="997200"/>
          </a:xfrm>
          <a:solidFill>
            <a:schemeClr val="accent1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80000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A5BF2697-5C6A-4BFA-A256-C2518283180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304768" y="4813050"/>
            <a:ext cx="3582466" cy="997200"/>
          </a:xfrm>
          <a:solidFill>
            <a:schemeClr val="accent2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80000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D866011E-8EEE-4BF1-A98F-77EBF24D4E6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066539" y="3639450"/>
            <a:ext cx="3582466" cy="997200"/>
          </a:xfrm>
          <a:solidFill>
            <a:schemeClr val="accent4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Inhaltsplatzhalter 3">
            <a:extLst>
              <a:ext uri="{FF2B5EF4-FFF2-40B4-BE49-F238E27FC236}">
                <a16:creationId xmlns:a16="http://schemas.microsoft.com/office/drawing/2014/main" id="{D80E1A00-F759-414A-8DFA-A0D0DBE4FD4C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066539" y="4813050"/>
            <a:ext cx="3582466" cy="997200"/>
          </a:xfrm>
          <a:solidFill>
            <a:schemeClr val="accent3"/>
          </a:solidFill>
        </p:spPr>
        <p:txBody>
          <a:bodyPr lIns="252000" tIns="108000" rIns="144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05707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925DBD9C-B432-47D2-B691-73F63F9B8D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2995" y="4629426"/>
            <a:ext cx="5461911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2E9A1AF5-1A2A-4296-AD95-1A36239E87E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87093" y="4629426"/>
            <a:ext cx="5461911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19B9E81-84C7-49CB-85B0-FE6F2DC7926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902347" y="1872000"/>
            <a:ext cx="2743207" cy="2484000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CE3005-8BB4-4C50-9507-79B88E49BC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7B722B9-85AF-4014-BA7B-F852B3EE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6C09141-A5DD-48BE-92DB-A9568420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62841D3-5FEF-41CA-B149-82384AB2C5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4538" y="2435400"/>
            <a:ext cx="1498826" cy="1357200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B49EB7C1-8101-40BC-BE36-927FBC34500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546445" y="1872000"/>
            <a:ext cx="2743207" cy="2484000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5D6F0696-CE83-4F0E-B764-2EA2F93813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168637" y="2435400"/>
            <a:ext cx="1498826" cy="1357200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</p:spTree>
    <p:extLst>
      <p:ext uri="{BB962C8B-B14F-4D97-AF65-F5344CB8AC3E}">
        <p14:creationId xmlns:p14="http://schemas.microsoft.com/office/powerpoint/2010/main" val="26227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19B9E81-84C7-49CB-85B0-FE6F2DC7926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962624" y="1872000"/>
            <a:ext cx="2743207" cy="2484000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CE3005-8BB4-4C50-9507-79B88E49BC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7B722B9-85AF-4014-BA7B-F852B3EE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6C09141-A5DD-48BE-92DB-A9568420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62841D3-5FEF-41CA-B149-82384AB2C5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84816" y="2435400"/>
            <a:ext cx="1498826" cy="1357200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B49EB7C1-8101-40BC-BE36-927FBC34500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724191" y="1872000"/>
            <a:ext cx="2743207" cy="2484000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5D6F0696-CE83-4F0E-B764-2EA2F93813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46382" y="2435400"/>
            <a:ext cx="1498826" cy="1357200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0680E69-A395-45F8-B48D-09D53ED1A2F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2995" y="4629426"/>
            <a:ext cx="3582466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8CD550E8-E918-4E11-9D62-C4A59A98C73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04561" y="4629426"/>
            <a:ext cx="3582466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77B020D7-8CF1-4A40-8036-F4177F752F5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66128" y="4629426"/>
            <a:ext cx="3582466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83676EA-CF5B-4152-A26F-179BD857422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485758" y="1872000"/>
            <a:ext cx="2743207" cy="2484000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7EB7950-9FA8-40F7-B3C2-25C4DF0076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107949" y="2435400"/>
            <a:ext cx="1498826" cy="1357200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4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</p:spTree>
    <p:extLst>
      <p:ext uri="{BB962C8B-B14F-4D97-AF65-F5344CB8AC3E}">
        <p14:creationId xmlns:p14="http://schemas.microsoft.com/office/powerpoint/2010/main" val="153176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19B9E81-84C7-49CB-85B0-FE6F2DC7926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21732" y="2079333"/>
            <a:ext cx="2285269" cy="2069334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CE3005-8BB4-4C50-9507-79B88E49BC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7B722B9-85AF-4014-BA7B-F852B3EE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6C09141-A5DD-48BE-92DB-A9568420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62841D3-5FEF-41CA-B149-82384AB2C5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70539" y="2485733"/>
            <a:ext cx="1387657" cy="1256534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</p:spPr>
        <p:txBody>
          <a:bodyPr wrap="square" tIns="54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B49EB7C1-8101-40BC-BE36-927FBC34500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42820" y="2079333"/>
            <a:ext cx="2285269" cy="2069334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5D6F0696-CE83-4F0E-B764-2EA2F93813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91627" y="2485733"/>
            <a:ext cx="1387657" cy="1256534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</p:spPr>
        <p:txBody>
          <a:bodyPr wrap="square" tIns="54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0680E69-A395-45F8-B48D-09D53ED1A2F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2995" y="4629426"/>
            <a:ext cx="2642744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83676EA-CF5B-4152-A26F-179BD857422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363501" y="2079333"/>
            <a:ext cx="2285269" cy="2069334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7EB7950-9FA8-40F7-B3C2-25C4DF0076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812308" y="2485733"/>
            <a:ext cx="1387657" cy="1256534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4">
              <a:alpha val="80000"/>
            </a:schemeClr>
          </a:solidFill>
        </p:spPr>
        <p:txBody>
          <a:bodyPr wrap="square" tIns="54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DB85387A-2989-4F39-80DA-355296A1234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364083" y="4629426"/>
            <a:ext cx="2642744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681D5384-8A1E-4E34-BDAA-ED0AA6A8AB4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185171" y="4629426"/>
            <a:ext cx="2642744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FBFE60A2-5525-48CF-9826-1981B72B58A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006260" y="4629426"/>
            <a:ext cx="2642744" cy="1180825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CA6D7857-D429-431E-B7DC-32D5BF339A7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9184181" y="2079333"/>
            <a:ext cx="2285269" cy="2069334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F3F6786C-326F-4D13-A62E-DAFFFB2049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9632171" y="2484993"/>
            <a:ext cx="1389291" cy="1258014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tIns="54000" anchor="ctr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</p:spTree>
    <p:extLst>
      <p:ext uri="{BB962C8B-B14F-4D97-AF65-F5344CB8AC3E}">
        <p14:creationId xmlns:p14="http://schemas.microsoft.com/office/powerpoint/2010/main" val="315156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19B9E81-84C7-49CB-85B0-FE6F2DC7926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8049" y="1511301"/>
            <a:ext cx="1967363" cy="1781467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CE3005-8BB4-4C50-9507-79B88E49BC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7B722B9-85AF-4014-BA7B-F852B3EE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6C09141-A5DD-48BE-92DB-A9568420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62841D3-5FEF-41CA-B149-82384AB2C5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11702" y="1885869"/>
            <a:ext cx="1140057" cy="103233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B49EB7C1-8101-40BC-BE36-927FBC34500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55184" y="1511301"/>
            <a:ext cx="1967363" cy="1781467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5D6F0696-CE83-4F0E-B764-2EA2F93813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68837" y="1885869"/>
            <a:ext cx="1140057" cy="103233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0680E69-A395-45F8-B48D-09D53ED1A2F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2995" y="3565236"/>
            <a:ext cx="2077470" cy="2245015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83676EA-CF5B-4152-A26F-179BD857422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112319" y="1511301"/>
            <a:ext cx="1967363" cy="1781467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7EB7950-9FA8-40F7-B3C2-25C4DF0076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25972" y="1885869"/>
            <a:ext cx="1140057" cy="103233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4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CA6D7857-D429-431E-B7DC-32D5BF339A7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7369454" y="1511301"/>
            <a:ext cx="1967363" cy="1781467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F3F6786C-326F-4D13-A62E-DAFFFB2049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782697" y="1885499"/>
            <a:ext cx="1140875" cy="103307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1B97A504-7D52-47EC-9EBE-87F2EC902FF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2800130" y="3565236"/>
            <a:ext cx="2077470" cy="2245015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03723CF-2494-4D26-80E3-E134C9F94886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5057264" y="3565236"/>
            <a:ext cx="2077470" cy="2245015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4BFDF1AF-8DB6-42EE-98B7-69659DB4BB73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7314399" y="3565236"/>
            <a:ext cx="2077470" cy="2245015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36ED5240-5E0D-4FEC-B917-8D23B937A4A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9571534" y="3565236"/>
            <a:ext cx="2077470" cy="2245015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6A6B7B32-153D-449B-8DAC-229E793E2F3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626589" y="1511301"/>
            <a:ext cx="1967363" cy="1781467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BC87436-AA63-4CA7-AE07-33D989C1F7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0039832" y="1885499"/>
            <a:ext cx="1140875" cy="103307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</p:spTree>
    <p:extLst>
      <p:ext uri="{BB962C8B-B14F-4D97-AF65-F5344CB8AC3E}">
        <p14:creationId xmlns:p14="http://schemas.microsoft.com/office/powerpoint/2010/main" val="413210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19B9E81-84C7-49CB-85B0-FE6F2DC7926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42995" y="1511301"/>
            <a:ext cx="1706666" cy="1545403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CE3005-8BB4-4C50-9507-79B88E49BC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7B722B9-85AF-4014-BA7B-F852B3EE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6C09141-A5DD-48BE-92DB-A9568420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62841D3-5FEF-41CA-B149-82384AB2C5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26300" y="1767837"/>
            <a:ext cx="1140057" cy="103233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B49EB7C1-8101-40BC-BE36-927FBC34500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423593" y="1511301"/>
            <a:ext cx="1706666" cy="1545403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5D6F0696-CE83-4F0E-B764-2EA2F93813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06898" y="1767837"/>
            <a:ext cx="1140057" cy="103233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0680E69-A395-45F8-B48D-09D53ED1A2F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4817" y="3383281"/>
            <a:ext cx="1703022" cy="242697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83676EA-CF5B-4152-A26F-179BD857422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304190" y="1511301"/>
            <a:ext cx="1706666" cy="1545403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7EB7950-9FA8-40F7-B3C2-25C4DF0076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587496" y="1767837"/>
            <a:ext cx="1140057" cy="103233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4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CA6D7857-D429-431E-B7DC-32D5BF339A7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84788" y="1511301"/>
            <a:ext cx="1706666" cy="1545403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F3F6786C-326F-4D13-A62E-DAFFFB2049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467684" y="1767467"/>
            <a:ext cx="1140875" cy="103307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6A6B7B32-153D-449B-8DAC-229E793E2F3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065386" y="1511301"/>
            <a:ext cx="1706666" cy="1545403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BC87436-AA63-4CA7-AE07-33D989C1F7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348281" y="1767467"/>
            <a:ext cx="1140875" cy="103307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795C9CC3-4B3A-4303-97EC-585916628DDD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2425415" y="3383281"/>
            <a:ext cx="1703022" cy="242697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5634AF77-7986-4C34-8D3F-9BE82A09AD99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306012" y="3383281"/>
            <a:ext cx="1703022" cy="242697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74FF295-FD51-49AE-8177-DF872165C83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6186610" y="3383281"/>
            <a:ext cx="1703022" cy="242697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3DC52983-2285-450A-9F56-BA1C110A7547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067208" y="3383281"/>
            <a:ext cx="1703022" cy="242697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4" name="Inhaltsplatzhalter 3">
            <a:extLst>
              <a:ext uri="{FF2B5EF4-FFF2-40B4-BE49-F238E27FC236}">
                <a16:creationId xmlns:a16="http://schemas.microsoft.com/office/drawing/2014/main" id="{997807A7-B132-4EBD-AFC6-2593119832D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947805" y="3383281"/>
            <a:ext cx="1703022" cy="242697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D74E48F2-8EB1-4403-A23D-7AB6023CDCB6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 bwMode="gray">
          <a:xfrm>
            <a:off x="9945983" y="1511301"/>
            <a:ext cx="1706666" cy="1545403"/>
          </a:xfrm>
          <a:custGeom>
            <a:avLst/>
            <a:gdLst>
              <a:gd name="connsiteX0" fmla="*/ 887485 w 2742850"/>
              <a:gd name="connsiteY0" fmla="*/ 0 h 2484000"/>
              <a:gd name="connsiteX1" fmla="*/ 1855539 w 2742850"/>
              <a:gd name="connsiteY1" fmla="*/ 0 h 2484000"/>
              <a:gd name="connsiteX2" fmla="*/ 2204850 w 2742850"/>
              <a:gd name="connsiteY2" fmla="*/ 201743 h 2484000"/>
              <a:gd name="connsiteX3" fmla="*/ 2688790 w 2742850"/>
              <a:gd name="connsiteY3" fmla="*/ 1040258 h 2484000"/>
              <a:gd name="connsiteX4" fmla="*/ 2688790 w 2742850"/>
              <a:gd name="connsiteY4" fmla="*/ 1443743 h 2484000"/>
              <a:gd name="connsiteX5" fmla="*/ 2204850 w 2742850"/>
              <a:gd name="connsiteY5" fmla="*/ 2282257 h 2484000"/>
              <a:gd name="connsiteX6" fmla="*/ 1855539 w 2742850"/>
              <a:gd name="connsiteY6" fmla="*/ 2484000 h 2484000"/>
              <a:gd name="connsiteX7" fmla="*/ 887485 w 2742850"/>
              <a:gd name="connsiteY7" fmla="*/ 2484000 h 2484000"/>
              <a:gd name="connsiteX8" fmla="*/ 538174 w 2742850"/>
              <a:gd name="connsiteY8" fmla="*/ 2282257 h 2484000"/>
              <a:gd name="connsiteX9" fmla="*/ 54060 w 2742850"/>
              <a:gd name="connsiteY9" fmla="*/ 1443743 h 2484000"/>
              <a:gd name="connsiteX10" fmla="*/ 54060 w 2742850"/>
              <a:gd name="connsiteY10" fmla="*/ 1040258 h 2484000"/>
              <a:gd name="connsiteX11" fmla="*/ 538174 w 2742850"/>
              <a:gd name="connsiteY11" fmla="*/ 201743 h 2484000"/>
              <a:gd name="connsiteX12" fmla="*/ 887485 w 2742850"/>
              <a:gd name="connsiteY12" fmla="*/ 0 h 24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2850" h="2484000">
                <a:moveTo>
                  <a:pt x="887485" y="0"/>
                </a:moveTo>
                <a:cubicBezTo>
                  <a:pt x="1855539" y="0"/>
                  <a:pt x="1855539" y="0"/>
                  <a:pt x="1855539" y="0"/>
                </a:cubicBezTo>
                <a:cubicBezTo>
                  <a:pt x="1999699" y="0"/>
                  <a:pt x="2132770" y="76780"/>
                  <a:pt x="2204850" y="201743"/>
                </a:cubicBezTo>
                <a:cubicBezTo>
                  <a:pt x="2688790" y="1040258"/>
                  <a:pt x="2688790" y="1040258"/>
                  <a:pt x="2688790" y="1040258"/>
                </a:cubicBezTo>
                <a:cubicBezTo>
                  <a:pt x="2760870" y="1165047"/>
                  <a:pt x="2760870" y="1318954"/>
                  <a:pt x="2688790" y="1443743"/>
                </a:cubicBezTo>
                <a:cubicBezTo>
                  <a:pt x="2204850" y="2282257"/>
                  <a:pt x="2204850" y="2282257"/>
                  <a:pt x="2204850" y="2282257"/>
                </a:cubicBezTo>
                <a:cubicBezTo>
                  <a:pt x="2132770" y="2407220"/>
                  <a:pt x="1999699" y="2484000"/>
                  <a:pt x="1855539" y="2484000"/>
                </a:cubicBezTo>
                <a:cubicBezTo>
                  <a:pt x="887485" y="2484000"/>
                  <a:pt x="887485" y="2484000"/>
                  <a:pt x="887485" y="2484000"/>
                </a:cubicBezTo>
                <a:cubicBezTo>
                  <a:pt x="743325" y="2484000"/>
                  <a:pt x="610254" y="2407220"/>
                  <a:pt x="538174" y="2282257"/>
                </a:cubicBezTo>
                <a:cubicBezTo>
                  <a:pt x="54060" y="1443743"/>
                  <a:pt x="54060" y="1443743"/>
                  <a:pt x="54060" y="1443743"/>
                </a:cubicBezTo>
                <a:cubicBezTo>
                  <a:pt x="-18020" y="1318954"/>
                  <a:pt x="-18020" y="1165047"/>
                  <a:pt x="54060" y="1040258"/>
                </a:cubicBezTo>
                <a:cubicBezTo>
                  <a:pt x="538174" y="201743"/>
                  <a:pt x="538174" y="201743"/>
                  <a:pt x="538174" y="201743"/>
                </a:cubicBezTo>
                <a:cubicBezTo>
                  <a:pt x="610254" y="76780"/>
                  <a:pt x="743325" y="0"/>
                  <a:pt x="887485" y="0"/>
                </a:cubicBezTo>
                <a:close/>
              </a:path>
            </a:pathLst>
          </a:custGeom>
          <a:solidFill>
            <a:srgbClr val="D9DADA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rgbClr val="575656"/>
                </a:solidFill>
              </a:defRPr>
            </a:lvl1pPr>
          </a:lstStyle>
          <a:p>
            <a:r>
              <a:rPr lang="de-DE"/>
              <a:t>Bild einfügen</a:t>
            </a:r>
            <a:br>
              <a:rPr lang="de-DE"/>
            </a:br>
            <a:r>
              <a:rPr lang="de-DE"/>
              <a:t>über die Leiste</a:t>
            </a:r>
            <a:br>
              <a:rPr lang="de-DE"/>
            </a:br>
            <a:r>
              <a:rPr lang="de-DE"/>
              <a:t>„Einfügen“ &gt; „Bilder“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EC21DFF5-F30C-4780-BBBB-E3FA56E0DD8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0228878" y="1767467"/>
            <a:ext cx="1140875" cy="1033071"/>
          </a:xfrm>
          <a:custGeom>
            <a:avLst/>
            <a:gdLst>
              <a:gd name="connsiteX0" fmla="*/ 484902 w 1498631"/>
              <a:gd name="connsiteY0" fmla="*/ 0 h 1357200"/>
              <a:gd name="connsiteX1" fmla="*/ 1013825 w 1498631"/>
              <a:gd name="connsiteY1" fmla="*/ 0 h 1357200"/>
              <a:gd name="connsiteX2" fmla="*/ 1204680 w 1498631"/>
              <a:gd name="connsiteY2" fmla="*/ 110228 h 1357200"/>
              <a:gd name="connsiteX3" fmla="*/ 1469094 w 1498631"/>
              <a:gd name="connsiteY3" fmla="*/ 568373 h 1357200"/>
              <a:gd name="connsiteX4" fmla="*/ 1469094 w 1498631"/>
              <a:gd name="connsiteY4" fmla="*/ 788828 h 1357200"/>
              <a:gd name="connsiteX5" fmla="*/ 1204680 w 1498631"/>
              <a:gd name="connsiteY5" fmla="*/ 1246973 h 1357200"/>
              <a:gd name="connsiteX6" fmla="*/ 1013825 w 1498631"/>
              <a:gd name="connsiteY6" fmla="*/ 1357200 h 1357200"/>
              <a:gd name="connsiteX7" fmla="*/ 484902 w 1498631"/>
              <a:gd name="connsiteY7" fmla="*/ 1357200 h 1357200"/>
              <a:gd name="connsiteX8" fmla="*/ 294047 w 1498631"/>
              <a:gd name="connsiteY8" fmla="*/ 1246973 h 1357200"/>
              <a:gd name="connsiteX9" fmla="*/ 29538 w 1498631"/>
              <a:gd name="connsiteY9" fmla="*/ 788828 h 1357200"/>
              <a:gd name="connsiteX10" fmla="*/ 29538 w 1498631"/>
              <a:gd name="connsiteY10" fmla="*/ 568373 h 1357200"/>
              <a:gd name="connsiteX11" fmla="*/ 294047 w 1498631"/>
              <a:gd name="connsiteY11" fmla="*/ 110228 h 1357200"/>
              <a:gd name="connsiteX12" fmla="*/ 484902 w 1498631"/>
              <a:gd name="connsiteY12" fmla="*/ 0 h 13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98631" h="1357200">
                <a:moveTo>
                  <a:pt x="484902" y="0"/>
                </a:moveTo>
                <a:cubicBezTo>
                  <a:pt x="1013825" y="0"/>
                  <a:pt x="1013825" y="0"/>
                  <a:pt x="1013825" y="0"/>
                </a:cubicBezTo>
                <a:cubicBezTo>
                  <a:pt x="1092591" y="0"/>
                  <a:pt x="1165297" y="41951"/>
                  <a:pt x="1204680" y="110228"/>
                </a:cubicBezTo>
                <a:cubicBezTo>
                  <a:pt x="1469094" y="568373"/>
                  <a:pt x="1469094" y="568373"/>
                  <a:pt x="1469094" y="568373"/>
                </a:cubicBezTo>
                <a:cubicBezTo>
                  <a:pt x="1508477" y="636555"/>
                  <a:pt x="1508477" y="720646"/>
                  <a:pt x="1469094" y="788828"/>
                </a:cubicBezTo>
                <a:cubicBezTo>
                  <a:pt x="1204680" y="1246973"/>
                  <a:pt x="1204680" y="1246973"/>
                  <a:pt x="1204680" y="1246973"/>
                </a:cubicBezTo>
                <a:cubicBezTo>
                  <a:pt x="1165297" y="1315249"/>
                  <a:pt x="1092591" y="1357200"/>
                  <a:pt x="1013825" y="1357200"/>
                </a:cubicBezTo>
                <a:cubicBezTo>
                  <a:pt x="484902" y="1357200"/>
                  <a:pt x="484902" y="1357200"/>
                  <a:pt x="484902" y="1357200"/>
                </a:cubicBezTo>
                <a:cubicBezTo>
                  <a:pt x="406137" y="1357200"/>
                  <a:pt x="333430" y="1315249"/>
                  <a:pt x="294047" y="1246973"/>
                </a:cubicBezTo>
                <a:cubicBezTo>
                  <a:pt x="29538" y="788828"/>
                  <a:pt x="29538" y="788828"/>
                  <a:pt x="29538" y="788828"/>
                </a:cubicBezTo>
                <a:cubicBezTo>
                  <a:pt x="-9845" y="720646"/>
                  <a:pt x="-9845" y="636555"/>
                  <a:pt x="29538" y="568373"/>
                </a:cubicBezTo>
                <a:cubicBezTo>
                  <a:pt x="294047" y="110228"/>
                  <a:pt x="294047" y="110228"/>
                  <a:pt x="294047" y="110228"/>
                </a:cubicBezTo>
                <a:cubicBezTo>
                  <a:pt x="333430" y="41951"/>
                  <a:pt x="406137" y="0"/>
                  <a:pt x="484902" y="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</p:spPr>
        <p:txBody>
          <a:bodyPr wrap="square" tIns="36000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</p:spTree>
    <p:extLst>
      <p:ext uri="{BB962C8B-B14F-4D97-AF65-F5344CB8AC3E}">
        <p14:creationId xmlns:p14="http://schemas.microsoft.com/office/powerpoint/2010/main" val="214115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boxen farbig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CE3005-8BB4-4C50-9507-79B88E49BC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7B722B9-85AF-4014-BA7B-F852B3EE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6C09141-A5DD-48BE-92DB-A9568420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F665999F-DD60-43BF-8E40-5FDCEC9EC8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1511300"/>
            <a:ext cx="3048000" cy="4298950"/>
          </a:xfrm>
          <a:solidFill>
            <a:schemeClr val="accent6"/>
          </a:solidFill>
        </p:spPr>
        <p:txBody>
          <a:bodyPr lIns="252000" tIns="144000" rIns="252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5" name="Inhaltsplatzhalter 3">
            <a:extLst>
              <a:ext uri="{FF2B5EF4-FFF2-40B4-BE49-F238E27FC236}">
                <a16:creationId xmlns:a16="http://schemas.microsoft.com/office/drawing/2014/main" id="{879DCF69-A3FB-4BC5-A0F0-217F2AB70D6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48000" y="1511300"/>
            <a:ext cx="3048000" cy="4298950"/>
          </a:xfrm>
          <a:solidFill>
            <a:schemeClr val="accent5"/>
          </a:solidFill>
        </p:spPr>
        <p:txBody>
          <a:bodyPr lIns="252000" tIns="144000" rIns="252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8" name="Inhaltsplatzhalter 3">
            <a:extLst>
              <a:ext uri="{FF2B5EF4-FFF2-40B4-BE49-F238E27FC236}">
                <a16:creationId xmlns:a16="http://schemas.microsoft.com/office/drawing/2014/main" id="{07F2D307-CAD7-4ACC-860B-48A6032773D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7081" y="1511300"/>
            <a:ext cx="3046918" cy="4298950"/>
          </a:xfrm>
          <a:solidFill>
            <a:schemeClr val="accent4"/>
          </a:solidFill>
        </p:spPr>
        <p:txBody>
          <a:bodyPr lIns="252000" tIns="144000" rIns="252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9" name="Inhaltsplatzhalter 3">
            <a:extLst>
              <a:ext uri="{FF2B5EF4-FFF2-40B4-BE49-F238E27FC236}">
                <a16:creationId xmlns:a16="http://schemas.microsoft.com/office/drawing/2014/main" id="{11A7F0B5-4700-4145-B40F-552DFE1A67C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44000" y="1511300"/>
            <a:ext cx="3048000" cy="4298950"/>
          </a:xfrm>
          <a:solidFill>
            <a:schemeClr val="accent1"/>
          </a:solidFill>
        </p:spPr>
        <p:txBody>
          <a:bodyPr lIns="252000" tIns="144000" rIns="25200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0138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boxen farbig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CE3005-8BB4-4C50-9507-79B88E49BC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7B722B9-85AF-4014-BA7B-F852B3EE0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95" y="433389"/>
            <a:ext cx="8773661" cy="5022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6C09141-A5DD-48BE-92DB-A9568420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2995" y="981667"/>
            <a:ext cx="8773661" cy="318975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35" name="Inhaltsplatzhalter 3">
            <a:extLst>
              <a:ext uri="{FF2B5EF4-FFF2-40B4-BE49-F238E27FC236}">
                <a16:creationId xmlns:a16="http://schemas.microsoft.com/office/drawing/2014/main" id="{879DCF69-A3FB-4BC5-A0F0-217F2AB70D6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0" y="1511300"/>
            <a:ext cx="2438779" cy="4298950"/>
          </a:xfrm>
          <a:solidFill>
            <a:schemeClr val="accent6"/>
          </a:solidFill>
        </p:spPr>
        <p:txBody>
          <a:bodyPr lIns="252000" tIns="144000" rIns="252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E948F97-107D-45B6-8EA8-32932A231BF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438780" y="1511300"/>
            <a:ext cx="2438305" cy="4298950"/>
          </a:xfrm>
          <a:solidFill>
            <a:schemeClr val="accent5"/>
          </a:solidFill>
        </p:spPr>
        <p:txBody>
          <a:bodyPr lIns="252000" tIns="144000" rIns="252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403600C3-9F07-48A7-838E-E0E39A199D8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877085" y="1511300"/>
            <a:ext cx="2438305" cy="4298950"/>
          </a:xfrm>
          <a:solidFill>
            <a:schemeClr val="accent4"/>
          </a:solidFill>
        </p:spPr>
        <p:txBody>
          <a:bodyPr lIns="252000" tIns="144000" rIns="252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257656E1-9C93-4B5E-80A7-4026CA00322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15865" y="1511300"/>
            <a:ext cx="2438305" cy="4298950"/>
          </a:xfrm>
          <a:solidFill>
            <a:schemeClr val="accent1"/>
          </a:solidFill>
        </p:spPr>
        <p:txBody>
          <a:bodyPr lIns="252000" tIns="144000" rIns="252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FB61FAF1-DCC9-4555-9EE3-49BBC49AB36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753220" y="1511300"/>
            <a:ext cx="2438779" cy="4298950"/>
          </a:xfrm>
          <a:solidFill>
            <a:schemeClr val="accent2"/>
          </a:solidFill>
        </p:spPr>
        <p:txBody>
          <a:bodyPr lIns="252000" tIns="144000" rIns="252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4502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1">
            <a:extLst>
              <a:ext uri="{FF2B5EF4-FFF2-40B4-BE49-F238E27FC236}">
                <a16:creationId xmlns:a16="http://schemas.microsoft.com/office/drawing/2014/main" id="{C60153EE-0FC6-D548-9B4F-95CBDD9C431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4576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699674 w 12192000"/>
              <a:gd name="connsiteY8" fmla="*/ 4509000 h 6858000"/>
              <a:gd name="connsiteX9" fmla="*/ 1861287 w 12192000"/>
              <a:gd name="connsiteY9" fmla="*/ 4509000 h 6858000"/>
              <a:gd name="connsiteX10" fmla="*/ 1869932 w 12192000"/>
              <a:gd name="connsiteY10" fmla="*/ 4509000 h 6858000"/>
              <a:gd name="connsiteX11" fmla="*/ 2227928 w 12192000"/>
              <a:gd name="connsiteY11" fmla="*/ 4509000 h 6858000"/>
              <a:gd name="connsiteX12" fmla="*/ 2238276 w 12192000"/>
              <a:gd name="connsiteY12" fmla="*/ 4509000 h 6858000"/>
              <a:gd name="connsiteX13" fmla="*/ 2594568 w 12192000"/>
              <a:gd name="connsiteY13" fmla="*/ 4509000 h 6858000"/>
              <a:gd name="connsiteX14" fmla="*/ 2606619 w 12192000"/>
              <a:gd name="connsiteY14" fmla="*/ 4509000 h 6858000"/>
              <a:gd name="connsiteX15" fmla="*/ 2764039 w 12192000"/>
              <a:gd name="connsiteY15" fmla="*/ 4509000 h 6858000"/>
              <a:gd name="connsiteX16" fmla="*/ 2776877 w 12192000"/>
              <a:gd name="connsiteY16" fmla="*/ 4509000 h 6858000"/>
              <a:gd name="connsiteX17" fmla="*/ 2916890 w 12192000"/>
              <a:gd name="connsiteY17" fmla="*/ 4509000 h 6858000"/>
              <a:gd name="connsiteX18" fmla="*/ 2930438 w 12192000"/>
              <a:gd name="connsiteY18" fmla="*/ 4509000 h 6858000"/>
              <a:gd name="connsiteX19" fmla="*/ 6257159 w 12192000"/>
              <a:gd name="connsiteY19" fmla="*/ 4509000 h 6858000"/>
              <a:gd name="connsiteX20" fmla="*/ 6286220 w 12192000"/>
              <a:gd name="connsiteY20" fmla="*/ 4509000 h 6858000"/>
              <a:gd name="connsiteX21" fmla="*/ 6979034 w 12192000"/>
              <a:gd name="connsiteY21" fmla="*/ 3819388 h 6858000"/>
              <a:gd name="connsiteX22" fmla="*/ 6979034 w 12192000"/>
              <a:gd name="connsiteY22" fmla="*/ 3140165 h 6858000"/>
              <a:gd name="connsiteX23" fmla="*/ 7671849 w 12192000"/>
              <a:gd name="connsiteY23" fmla="*/ 2450553 h 6858000"/>
              <a:gd name="connsiteX24" fmla="*/ 8029891 w 12192000"/>
              <a:gd name="connsiteY24" fmla="*/ 2450553 h 6858000"/>
              <a:gd name="connsiteX25" fmla="*/ 8067185 w 12192000"/>
              <a:gd name="connsiteY25" fmla="*/ 2450553 h 6858000"/>
              <a:gd name="connsiteX26" fmla="*/ 8759999 w 12192000"/>
              <a:gd name="connsiteY26" fmla="*/ 1760941 h 6858000"/>
              <a:gd name="connsiteX27" fmla="*/ 8759999 w 12192000"/>
              <a:gd name="connsiteY2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861287 w 12192000"/>
              <a:gd name="connsiteY8" fmla="*/ 4509000 h 6858000"/>
              <a:gd name="connsiteX9" fmla="*/ 1869932 w 12192000"/>
              <a:gd name="connsiteY9" fmla="*/ 4509000 h 6858000"/>
              <a:gd name="connsiteX10" fmla="*/ 2227928 w 12192000"/>
              <a:gd name="connsiteY10" fmla="*/ 4509000 h 6858000"/>
              <a:gd name="connsiteX11" fmla="*/ 2238276 w 12192000"/>
              <a:gd name="connsiteY11" fmla="*/ 4509000 h 6858000"/>
              <a:gd name="connsiteX12" fmla="*/ 2594568 w 12192000"/>
              <a:gd name="connsiteY12" fmla="*/ 4509000 h 6858000"/>
              <a:gd name="connsiteX13" fmla="*/ 2606619 w 12192000"/>
              <a:gd name="connsiteY13" fmla="*/ 4509000 h 6858000"/>
              <a:gd name="connsiteX14" fmla="*/ 2764039 w 12192000"/>
              <a:gd name="connsiteY14" fmla="*/ 4509000 h 6858000"/>
              <a:gd name="connsiteX15" fmla="*/ 2776877 w 12192000"/>
              <a:gd name="connsiteY15" fmla="*/ 4509000 h 6858000"/>
              <a:gd name="connsiteX16" fmla="*/ 2916890 w 12192000"/>
              <a:gd name="connsiteY16" fmla="*/ 4509000 h 6858000"/>
              <a:gd name="connsiteX17" fmla="*/ 2930438 w 12192000"/>
              <a:gd name="connsiteY17" fmla="*/ 4509000 h 6858000"/>
              <a:gd name="connsiteX18" fmla="*/ 6257159 w 12192000"/>
              <a:gd name="connsiteY18" fmla="*/ 4509000 h 6858000"/>
              <a:gd name="connsiteX19" fmla="*/ 6286220 w 12192000"/>
              <a:gd name="connsiteY19" fmla="*/ 4509000 h 6858000"/>
              <a:gd name="connsiteX20" fmla="*/ 6979034 w 12192000"/>
              <a:gd name="connsiteY20" fmla="*/ 3819388 h 6858000"/>
              <a:gd name="connsiteX21" fmla="*/ 6979034 w 12192000"/>
              <a:gd name="connsiteY21" fmla="*/ 3140165 h 6858000"/>
              <a:gd name="connsiteX22" fmla="*/ 7671849 w 12192000"/>
              <a:gd name="connsiteY22" fmla="*/ 2450553 h 6858000"/>
              <a:gd name="connsiteX23" fmla="*/ 8029891 w 12192000"/>
              <a:gd name="connsiteY23" fmla="*/ 2450553 h 6858000"/>
              <a:gd name="connsiteX24" fmla="*/ 8067185 w 12192000"/>
              <a:gd name="connsiteY24" fmla="*/ 2450553 h 6858000"/>
              <a:gd name="connsiteX25" fmla="*/ 8759999 w 12192000"/>
              <a:gd name="connsiteY25" fmla="*/ 1760941 h 6858000"/>
              <a:gd name="connsiteX26" fmla="*/ 8759999 w 12192000"/>
              <a:gd name="connsiteY2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1869932 w 12192000"/>
              <a:gd name="connsiteY8" fmla="*/ 4509000 h 6858000"/>
              <a:gd name="connsiteX9" fmla="*/ 2227928 w 12192000"/>
              <a:gd name="connsiteY9" fmla="*/ 4509000 h 6858000"/>
              <a:gd name="connsiteX10" fmla="*/ 2238276 w 12192000"/>
              <a:gd name="connsiteY10" fmla="*/ 4509000 h 6858000"/>
              <a:gd name="connsiteX11" fmla="*/ 2594568 w 12192000"/>
              <a:gd name="connsiteY11" fmla="*/ 4509000 h 6858000"/>
              <a:gd name="connsiteX12" fmla="*/ 2606619 w 12192000"/>
              <a:gd name="connsiteY12" fmla="*/ 4509000 h 6858000"/>
              <a:gd name="connsiteX13" fmla="*/ 2764039 w 12192000"/>
              <a:gd name="connsiteY13" fmla="*/ 4509000 h 6858000"/>
              <a:gd name="connsiteX14" fmla="*/ 2776877 w 12192000"/>
              <a:gd name="connsiteY14" fmla="*/ 4509000 h 6858000"/>
              <a:gd name="connsiteX15" fmla="*/ 2916890 w 12192000"/>
              <a:gd name="connsiteY15" fmla="*/ 4509000 h 6858000"/>
              <a:gd name="connsiteX16" fmla="*/ 2930438 w 12192000"/>
              <a:gd name="connsiteY16" fmla="*/ 4509000 h 6858000"/>
              <a:gd name="connsiteX17" fmla="*/ 6257159 w 12192000"/>
              <a:gd name="connsiteY17" fmla="*/ 4509000 h 6858000"/>
              <a:gd name="connsiteX18" fmla="*/ 6286220 w 12192000"/>
              <a:gd name="connsiteY18" fmla="*/ 4509000 h 6858000"/>
              <a:gd name="connsiteX19" fmla="*/ 6979034 w 12192000"/>
              <a:gd name="connsiteY19" fmla="*/ 3819388 h 6858000"/>
              <a:gd name="connsiteX20" fmla="*/ 6979034 w 12192000"/>
              <a:gd name="connsiteY20" fmla="*/ 3140165 h 6858000"/>
              <a:gd name="connsiteX21" fmla="*/ 7671849 w 12192000"/>
              <a:gd name="connsiteY21" fmla="*/ 2450553 h 6858000"/>
              <a:gd name="connsiteX22" fmla="*/ 8029891 w 12192000"/>
              <a:gd name="connsiteY22" fmla="*/ 2450553 h 6858000"/>
              <a:gd name="connsiteX23" fmla="*/ 8067185 w 12192000"/>
              <a:gd name="connsiteY23" fmla="*/ 2450553 h 6858000"/>
              <a:gd name="connsiteX24" fmla="*/ 8759999 w 12192000"/>
              <a:gd name="connsiteY24" fmla="*/ 1760941 h 6858000"/>
              <a:gd name="connsiteX25" fmla="*/ 8759999 w 12192000"/>
              <a:gd name="connsiteY2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2227928 w 12192000"/>
              <a:gd name="connsiteY8" fmla="*/ 4509000 h 6858000"/>
              <a:gd name="connsiteX9" fmla="*/ 2238276 w 12192000"/>
              <a:gd name="connsiteY9" fmla="*/ 4509000 h 6858000"/>
              <a:gd name="connsiteX10" fmla="*/ 2594568 w 12192000"/>
              <a:gd name="connsiteY10" fmla="*/ 4509000 h 6858000"/>
              <a:gd name="connsiteX11" fmla="*/ 2606619 w 12192000"/>
              <a:gd name="connsiteY11" fmla="*/ 4509000 h 6858000"/>
              <a:gd name="connsiteX12" fmla="*/ 2764039 w 12192000"/>
              <a:gd name="connsiteY12" fmla="*/ 4509000 h 6858000"/>
              <a:gd name="connsiteX13" fmla="*/ 2776877 w 12192000"/>
              <a:gd name="connsiteY13" fmla="*/ 4509000 h 6858000"/>
              <a:gd name="connsiteX14" fmla="*/ 2916890 w 12192000"/>
              <a:gd name="connsiteY14" fmla="*/ 4509000 h 6858000"/>
              <a:gd name="connsiteX15" fmla="*/ 2930438 w 12192000"/>
              <a:gd name="connsiteY15" fmla="*/ 4509000 h 6858000"/>
              <a:gd name="connsiteX16" fmla="*/ 6257159 w 12192000"/>
              <a:gd name="connsiteY16" fmla="*/ 4509000 h 6858000"/>
              <a:gd name="connsiteX17" fmla="*/ 6286220 w 12192000"/>
              <a:gd name="connsiteY17" fmla="*/ 4509000 h 6858000"/>
              <a:gd name="connsiteX18" fmla="*/ 6979034 w 12192000"/>
              <a:gd name="connsiteY18" fmla="*/ 3819388 h 6858000"/>
              <a:gd name="connsiteX19" fmla="*/ 6979034 w 12192000"/>
              <a:gd name="connsiteY19" fmla="*/ 3140165 h 6858000"/>
              <a:gd name="connsiteX20" fmla="*/ 7671849 w 12192000"/>
              <a:gd name="connsiteY20" fmla="*/ 2450553 h 6858000"/>
              <a:gd name="connsiteX21" fmla="*/ 8029891 w 12192000"/>
              <a:gd name="connsiteY21" fmla="*/ 2450553 h 6858000"/>
              <a:gd name="connsiteX22" fmla="*/ 8067185 w 12192000"/>
              <a:gd name="connsiteY22" fmla="*/ 2450553 h 6858000"/>
              <a:gd name="connsiteX23" fmla="*/ 8759999 w 12192000"/>
              <a:gd name="connsiteY23" fmla="*/ 1760941 h 6858000"/>
              <a:gd name="connsiteX24" fmla="*/ 8759999 w 12192000"/>
              <a:gd name="connsiteY2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238276 w 12192000"/>
              <a:gd name="connsiteY8" fmla="*/ 4509000 h 6858000"/>
              <a:gd name="connsiteX9" fmla="*/ 2594568 w 12192000"/>
              <a:gd name="connsiteY9" fmla="*/ 4509000 h 6858000"/>
              <a:gd name="connsiteX10" fmla="*/ 2606619 w 12192000"/>
              <a:gd name="connsiteY10" fmla="*/ 4509000 h 6858000"/>
              <a:gd name="connsiteX11" fmla="*/ 2764039 w 12192000"/>
              <a:gd name="connsiteY11" fmla="*/ 4509000 h 6858000"/>
              <a:gd name="connsiteX12" fmla="*/ 2776877 w 12192000"/>
              <a:gd name="connsiteY12" fmla="*/ 4509000 h 6858000"/>
              <a:gd name="connsiteX13" fmla="*/ 2916890 w 12192000"/>
              <a:gd name="connsiteY13" fmla="*/ 4509000 h 6858000"/>
              <a:gd name="connsiteX14" fmla="*/ 2930438 w 12192000"/>
              <a:gd name="connsiteY14" fmla="*/ 4509000 h 6858000"/>
              <a:gd name="connsiteX15" fmla="*/ 6257159 w 12192000"/>
              <a:gd name="connsiteY15" fmla="*/ 4509000 h 6858000"/>
              <a:gd name="connsiteX16" fmla="*/ 6286220 w 12192000"/>
              <a:gd name="connsiteY16" fmla="*/ 4509000 h 6858000"/>
              <a:gd name="connsiteX17" fmla="*/ 6979034 w 12192000"/>
              <a:gd name="connsiteY17" fmla="*/ 3819388 h 6858000"/>
              <a:gd name="connsiteX18" fmla="*/ 6979034 w 12192000"/>
              <a:gd name="connsiteY18" fmla="*/ 3140165 h 6858000"/>
              <a:gd name="connsiteX19" fmla="*/ 7671849 w 12192000"/>
              <a:gd name="connsiteY19" fmla="*/ 2450553 h 6858000"/>
              <a:gd name="connsiteX20" fmla="*/ 8029891 w 12192000"/>
              <a:gd name="connsiteY20" fmla="*/ 2450553 h 6858000"/>
              <a:gd name="connsiteX21" fmla="*/ 8067185 w 12192000"/>
              <a:gd name="connsiteY21" fmla="*/ 2450553 h 6858000"/>
              <a:gd name="connsiteX22" fmla="*/ 8759999 w 12192000"/>
              <a:gd name="connsiteY22" fmla="*/ 1760941 h 6858000"/>
              <a:gd name="connsiteX23" fmla="*/ 8759999 w 12192000"/>
              <a:gd name="connsiteY2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606619 w 12192000"/>
              <a:gd name="connsiteY9" fmla="*/ 4509000 h 6858000"/>
              <a:gd name="connsiteX10" fmla="*/ 2764039 w 12192000"/>
              <a:gd name="connsiteY10" fmla="*/ 4509000 h 6858000"/>
              <a:gd name="connsiteX11" fmla="*/ 2776877 w 12192000"/>
              <a:gd name="connsiteY11" fmla="*/ 4509000 h 6858000"/>
              <a:gd name="connsiteX12" fmla="*/ 2916890 w 12192000"/>
              <a:gd name="connsiteY12" fmla="*/ 4509000 h 6858000"/>
              <a:gd name="connsiteX13" fmla="*/ 2930438 w 12192000"/>
              <a:gd name="connsiteY13" fmla="*/ 4509000 h 6858000"/>
              <a:gd name="connsiteX14" fmla="*/ 6257159 w 12192000"/>
              <a:gd name="connsiteY14" fmla="*/ 4509000 h 6858000"/>
              <a:gd name="connsiteX15" fmla="*/ 6286220 w 12192000"/>
              <a:gd name="connsiteY15" fmla="*/ 4509000 h 6858000"/>
              <a:gd name="connsiteX16" fmla="*/ 6979034 w 12192000"/>
              <a:gd name="connsiteY16" fmla="*/ 3819388 h 6858000"/>
              <a:gd name="connsiteX17" fmla="*/ 6979034 w 12192000"/>
              <a:gd name="connsiteY17" fmla="*/ 3140165 h 6858000"/>
              <a:gd name="connsiteX18" fmla="*/ 7671849 w 12192000"/>
              <a:gd name="connsiteY18" fmla="*/ 2450553 h 6858000"/>
              <a:gd name="connsiteX19" fmla="*/ 8029891 w 12192000"/>
              <a:gd name="connsiteY19" fmla="*/ 2450553 h 6858000"/>
              <a:gd name="connsiteX20" fmla="*/ 8067185 w 12192000"/>
              <a:gd name="connsiteY20" fmla="*/ 2450553 h 6858000"/>
              <a:gd name="connsiteX21" fmla="*/ 8759999 w 12192000"/>
              <a:gd name="connsiteY21" fmla="*/ 1760941 h 6858000"/>
              <a:gd name="connsiteX22" fmla="*/ 8759999 w 12192000"/>
              <a:gd name="connsiteY2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776877 w 12192000"/>
              <a:gd name="connsiteY10" fmla="*/ 4509000 h 6858000"/>
              <a:gd name="connsiteX11" fmla="*/ 2916890 w 12192000"/>
              <a:gd name="connsiteY11" fmla="*/ 4509000 h 6858000"/>
              <a:gd name="connsiteX12" fmla="*/ 2930438 w 12192000"/>
              <a:gd name="connsiteY12" fmla="*/ 4509000 h 6858000"/>
              <a:gd name="connsiteX13" fmla="*/ 6257159 w 12192000"/>
              <a:gd name="connsiteY13" fmla="*/ 4509000 h 6858000"/>
              <a:gd name="connsiteX14" fmla="*/ 6286220 w 12192000"/>
              <a:gd name="connsiteY14" fmla="*/ 4509000 h 6858000"/>
              <a:gd name="connsiteX15" fmla="*/ 6979034 w 12192000"/>
              <a:gd name="connsiteY15" fmla="*/ 3819388 h 6858000"/>
              <a:gd name="connsiteX16" fmla="*/ 6979034 w 12192000"/>
              <a:gd name="connsiteY16" fmla="*/ 3140165 h 6858000"/>
              <a:gd name="connsiteX17" fmla="*/ 7671849 w 12192000"/>
              <a:gd name="connsiteY17" fmla="*/ 2450553 h 6858000"/>
              <a:gd name="connsiteX18" fmla="*/ 8029891 w 12192000"/>
              <a:gd name="connsiteY18" fmla="*/ 2450553 h 6858000"/>
              <a:gd name="connsiteX19" fmla="*/ 8067185 w 12192000"/>
              <a:gd name="connsiteY19" fmla="*/ 2450553 h 6858000"/>
              <a:gd name="connsiteX20" fmla="*/ 8759999 w 12192000"/>
              <a:gd name="connsiteY20" fmla="*/ 1760941 h 6858000"/>
              <a:gd name="connsiteX21" fmla="*/ 8759999 w 12192000"/>
              <a:gd name="connsiteY2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916890 w 12192000"/>
              <a:gd name="connsiteY10" fmla="*/ 4509000 h 6858000"/>
              <a:gd name="connsiteX11" fmla="*/ 2930438 w 12192000"/>
              <a:gd name="connsiteY11" fmla="*/ 4509000 h 6858000"/>
              <a:gd name="connsiteX12" fmla="*/ 6257159 w 12192000"/>
              <a:gd name="connsiteY12" fmla="*/ 4509000 h 6858000"/>
              <a:gd name="connsiteX13" fmla="*/ 6286220 w 12192000"/>
              <a:gd name="connsiteY13" fmla="*/ 4509000 h 6858000"/>
              <a:gd name="connsiteX14" fmla="*/ 6979034 w 12192000"/>
              <a:gd name="connsiteY14" fmla="*/ 3819388 h 6858000"/>
              <a:gd name="connsiteX15" fmla="*/ 6979034 w 12192000"/>
              <a:gd name="connsiteY15" fmla="*/ 3140165 h 6858000"/>
              <a:gd name="connsiteX16" fmla="*/ 7671849 w 12192000"/>
              <a:gd name="connsiteY16" fmla="*/ 2450553 h 6858000"/>
              <a:gd name="connsiteX17" fmla="*/ 8029891 w 12192000"/>
              <a:gd name="connsiteY17" fmla="*/ 2450553 h 6858000"/>
              <a:gd name="connsiteX18" fmla="*/ 8067185 w 12192000"/>
              <a:gd name="connsiteY18" fmla="*/ 2450553 h 6858000"/>
              <a:gd name="connsiteX19" fmla="*/ 8759999 w 12192000"/>
              <a:gd name="connsiteY19" fmla="*/ 1760941 h 6858000"/>
              <a:gd name="connsiteX20" fmla="*/ 8759999 w 12192000"/>
              <a:gd name="connsiteY2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2930438 w 12192000"/>
              <a:gd name="connsiteY10" fmla="*/ 4509000 h 6858000"/>
              <a:gd name="connsiteX11" fmla="*/ 6257159 w 12192000"/>
              <a:gd name="connsiteY11" fmla="*/ 4509000 h 6858000"/>
              <a:gd name="connsiteX12" fmla="*/ 6286220 w 12192000"/>
              <a:gd name="connsiteY12" fmla="*/ 4509000 h 6858000"/>
              <a:gd name="connsiteX13" fmla="*/ 6979034 w 12192000"/>
              <a:gd name="connsiteY13" fmla="*/ 3819388 h 6858000"/>
              <a:gd name="connsiteX14" fmla="*/ 6979034 w 12192000"/>
              <a:gd name="connsiteY14" fmla="*/ 3140165 h 6858000"/>
              <a:gd name="connsiteX15" fmla="*/ 7671849 w 12192000"/>
              <a:gd name="connsiteY15" fmla="*/ 2450553 h 6858000"/>
              <a:gd name="connsiteX16" fmla="*/ 8029891 w 12192000"/>
              <a:gd name="connsiteY16" fmla="*/ 2450553 h 6858000"/>
              <a:gd name="connsiteX17" fmla="*/ 8067185 w 12192000"/>
              <a:gd name="connsiteY17" fmla="*/ 2450553 h 6858000"/>
              <a:gd name="connsiteX18" fmla="*/ 8759999 w 12192000"/>
              <a:gd name="connsiteY18" fmla="*/ 1760941 h 6858000"/>
              <a:gd name="connsiteX19" fmla="*/ 8759999 w 12192000"/>
              <a:gd name="connsiteY1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6257159 w 12192000"/>
              <a:gd name="connsiteY10" fmla="*/ 4509000 h 6858000"/>
              <a:gd name="connsiteX11" fmla="*/ 6286220 w 12192000"/>
              <a:gd name="connsiteY11" fmla="*/ 4509000 h 6858000"/>
              <a:gd name="connsiteX12" fmla="*/ 6979034 w 12192000"/>
              <a:gd name="connsiteY12" fmla="*/ 3819388 h 6858000"/>
              <a:gd name="connsiteX13" fmla="*/ 6979034 w 12192000"/>
              <a:gd name="connsiteY13" fmla="*/ 3140165 h 6858000"/>
              <a:gd name="connsiteX14" fmla="*/ 7671849 w 12192000"/>
              <a:gd name="connsiteY14" fmla="*/ 2450553 h 6858000"/>
              <a:gd name="connsiteX15" fmla="*/ 8029891 w 12192000"/>
              <a:gd name="connsiteY15" fmla="*/ 2450553 h 6858000"/>
              <a:gd name="connsiteX16" fmla="*/ 8067185 w 12192000"/>
              <a:gd name="connsiteY16" fmla="*/ 2450553 h 6858000"/>
              <a:gd name="connsiteX17" fmla="*/ 8759999 w 12192000"/>
              <a:gd name="connsiteY17" fmla="*/ 1760941 h 6858000"/>
              <a:gd name="connsiteX18" fmla="*/ 8759999 w 12192000"/>
              <a:gd name="connsiteY1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916890 w 12192000"/>
              <a:gd name="connsiteY8" fmla="*/ 4509000 h 6858000"/>
              <a:gd name="connsiteX9" fmla="*/ 6257159 w 12192000"/>
              <a:gd name="connsiteY9" fmla="*/ 4509000 h 6858000"/>
              <a:gd name="connsiteX10" fmla="*/ 6286220 w 12192000"/>
              <a:gd name="connsiteY10" fmla="*/ 4509000 h 6858000"/>
              <a:gd name="connsiteX11" fmla="*/ 6979034 w 12192000"/>
              <a:gd name="connsiteY11" fmla="*/ 3819388 h 6858000"/>
              <a:gd name="connsiteX12" fmla="*/ 6979034 w 12192000"/>
              <a:gd name="connsiteY12" fmla="*/ 3140165 h 6858000"/>
              <a:gd name="connsiteX13" fmla="*/ 7671849 w 12192000"/>
              <a:gd name="connsiteY13" fmla="*/ 2450553 h 6858000"/>
              <a:gd name="connsiteX14" fmla="*/ 8029891 w 12192000"/>
              <a:gd name="connsiteY14" fmla="*/ 2450553 h 6858000"/>
              <a:gd name="connsiteX15" fmla="*/ 8067185 w 12192000"/>
              <a:gd name="connsiteY15" fmla="*/ 2450553 h 6858000"/>
              <a:gd name="connsiteX16" fmla="*/ 8759999 w 12192000"/>
              <a:gd name="connsiteY16" fmla="*/ 1760941 h 6858000"/>
              <a:gd name="connsiteX17" fmla="*/ 8759999 w 12192000"/>
              <a:gd name="connsiteY1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6257159 w 12192000"/>
              <a:gd name="connsiteY8" fmla="*/ 4509000 h 6858000"/>
              <a:gd name="connsiteX9" fmla="*/ 6286220 w 12192000"/>
              <a:gd name="connsiteY9" fmla="*/ 4509000 h 6858000"/>
              <a:gd name="connsiteX10" fmla="*/ 6979034 w 12192000"/>
              <a:gd name="connsiteY10" fmla="*/ 3819388 h 6858000"/>
              <a:gd name="connsiteX11" fmla="*/ 6979034 w 12192000"/>
              <a:gd name="connsiteY11" fmla="*/ 3140165 h 6858000"/>
              <a:gd name="connsiteX12" fmla="*/ 7671849 w 12192000"/>
              <a:gd name="connsiteY12" fmla="*/ 2450553 h 6858000"/>
              <a:gd name="connsiteX13" fmla="*/ 8029891 w 12192000"/>
              <a:gd name="connsiteY13" fmla="*/ 2450553 h 6858000"/>
              <a:gd name="connsiteX14" fmla="*/ 8067185 w 12192000"/>
              <a:gd name="connsiteY14" fmla="*/ 2450553 h 6858000"/>
              <a:gd name="connsiteX15" fmla="*/ 8759999 w 12192000"/>
              <a:gd name="connsiteY15" fmla="*/ 1760941 h 6858000"/>
              <a:gd name="connsiteX16" fmla="*/ 8759999 w 12192000"/>
              <a:gd name="connsiteY1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6257159 w 12192000"/>
              <a:gd name="connsiteY7" fmla="*/ 4509000 h 6858000"/>
              <a:gd name="connsiteX8" fmla="*/ 6286220 w 12192000"/>
              <a:gd name="connsiteY8" fmla="*/ 4509000 h 6858000"/>
              <a:gd name="connsiteX9" fmla="*/ 6979034 w 12192000"/>
              <a:gd name="connsiteY9" fmla="*/ 3819388 h 6858000"/>
              <a:gd name="connsiteX10" fmla="*/ 6979034 w 12192000"/>
              <a:gd name="connsiteY10" fmla="*/ 3140165 h 6858000"/>
              <a:gd name="connsiteX11" fmla="*/ 7671849 w 12192000"/>
              <a:gd name="connsiteY11" fmla="*/ 2450553 h 6858000"/>
              <a:gd name="connsiteX12" fmla="*/ 8029891 w 12192000"/>
              <a:gd name="connsiteY12" fmla="*/ 2450553 h 6858000"/>
              <a:gd name="connsiteX13" fmla="*/ 8067185 w 12192000"/>
              <a:gd name="connsiteY13" fmla="*/ 2450553 h 6858000"/>
              <a:gd name="connsiteX14" fmla="*/ 8759999 w 12192000"/>
              <a:gd name="connsiteY14" fmla="*/ 1760941 h 6858000"/>
              <a:gd name="connsiteX15" fmla="*/ 8759999 w 12192000"/>
              <a:gd name="connsiteY1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286220 w 12192000"/>
              <a:gd name="connsiteY7" fmla="*/ 4509000 h 6858000"/>
              <a:gd name="connsiteX8" fmla="*/ 6979034 w 12192000"/>
              <a:gd name="connsiteY8" fmla="*/ 3819388 h 6858000"/>
              <a:gd name="connsiteX9" fmla="*/ 6979034 w 12192000"/>
              <a:gd name="connsiteY9" fmla="*/ 3140165 h 6858000"/>
              <a:gd name="connsiteX10" fmla="*/ 7671849 w 12192000"/>
              <a:gd name="connsiteY10" fmla="*/ 2450553 h 6858000"/>
              <a:gd name="connsiteX11" fmla="*/ 8029891 w 12192000"/>
              <a:gd name="connsiteY11" fmla="*/ 2450553 h 6858000"/>
              <a:gd name="connsiteX12" fmla="*/ 8067185 w 12192000"/>
              <a:gd name="connsiteY12" fmla="*/ 2450553 h 6858000"/>
              <a:gd name="connsiteX13" fmla="*/ 8759999 w 12192000"/>
              <a:gd name="connsiteY13" fmla="*/ 1760941 h 6858000"/>
              <a:gd name="connsiteX14" fmla="*/ 8759999 w 12192000"/>
              <a:gd name="connsiteY1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979034 w 12192000"/>
              <a:gd name="connsiteY7" fmla="*/ 3819388 h 6858000"/>
              <a:gd name="connsiteX8" fmla="*/ 6979034 w 12192000"/>
              <a:gd name="connsiteY8" fmla="*/ 3140165 h 6858000"/>
              <a:gd name="connsiteX9" fmla="*/ 7671849 w 12192000"/>
              <a:gd name="connsiteY9" fmla="*/ 2450553 h 6858000"/>
              <a:gd name="connsiteX10" fmla="*/ 8029891 w 12192000"/>
              <a:gd name="connsiteY10" fmla="*/ 2450553 h 6858000"/>
              <a:gd name="connsiteX11" fmla="*/ 8067185 w 12192000"/>
              <a:gd name="connsiteY11" fmla="*/ 2450553 h 6858000"/>
              <a:gd name="connsiteX12" fmla="*/ 8759999 w 12192000"/>
              <a:gd name="connsiteY12" fmla="*/ 1760941 h 6858000"/>
              <a:gd name="connsiteX13" fmla="*/ 8759999 w 12192000"/>
              <a:gd name="connsiteY1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819388 h 6858000"/>
              <a:gd name="connsiteX7" fmla="*/ 6979034 w 12192000"/>
              <a:gd name="connsiteY7" fmla="*/ 3140165 h 6858000"/>
              <a:gd name="connsiteX8" fmla="*/ 7671849 w 12192000"/>
              <a:gd name="connsiteY8" fmla="*/ 2450553 h 6858000"/>
              <a:gd name="connsiteX9" fmla="*/ 8029891 w 12192000"/>
              <a:gd name="connsiteY9" fmla="*/ 2450553 h 6858000"/>
              <a:gd name="connsiteX10" fmla="*/ 8067185 w 12192000"/>
              <a:gd name="connsiteY10" fmla="*/ 2450553 h 6858000"/>
              <a:gd name="connsiteX11" fmla="*/ 8759999 w 12192000"/>
              <a:gd name="connsiteY11" fmla="*/ 1760941 h 6858000"/>
              <a:gd name="connsiteX12" fmla="*/ 8759999 w 12192000"/>
              <a:gd name="connsiteY1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140165 h 6858000"/>
              <a:gd name="connsiteX7" fmla="*/ 7671849 w 12192000"/>
              <a:gd name="connsiteY7" fmla="*/ 2450553 h 6858000"/>
              <a:gd name="connsiteX8" fmla="*/ 8029891 w 12192000"/>
              <a:gd name="connsiteY8" fmla="*/ 2450553 h 6858000"/>
              <a:gd name="connsiteX9" fmla="*/ 8067185 w 12192000"/>
              <a:gd name="connsiteY9" fmla="*/ 2450553 h 6858000"/>
              <a:gd name="connsiteX10" fmla="*/ 8759999 w 12192000"/>
              <a:gd name="connsiteY10" fmla="*/ 1760941 h 6858000"/>
              <a:gd name="connsiteX11" fmla="*/ 8759999 w 12192000"/>
              <a:gd name="connsiteY1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7671849 w 12192000"/>
              <a:gd name="connsiteY6" fmla="*/ 2450553 h 6858000"/>
              <a:gd name="connsiteX7" fmla="*/ 8029891 w 12192000"/>
              <a:gd name="connsiteY7" fmla="*/ 2450553 h 6858000"/>
              <a:gd name="connsiteX8" fmla="*/ 8067185 w 12192000"/>
              <a:gd name="connsiteY8" fmla="*/ 2450553 h 6858000"/>
              <a:gd name="connsiteX9" fmla="*/ 8759999 w 12192000"/>
              <a:gd name="connsiteY9" fmla="*/ 1760941 h 6858000"/>
              <a:gd name="connsiteX10" fmla="*/ 8759999 w 12192000"/>
              <a:gd name="connsiteY1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067185 w 12192000"/>
              <a:gd name="connsiteY7" fmla="*/ 2450553 h 6858000"/>
              <a:gd name="connsiteX8" fmla="*/ 8759999 w 12192000"/>
              <a:gd name="connsiteY8" fmla="*/ 1760941 h 6858000"/>
              <a:gd name="connsiteX9" fmla="*/ 8759999 w 12192000"/>
              <a:gd name="connsiteY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759999 w 12192000"/>
              <a:gd name="connsiteY7" fmla="*/ 1760941 h 6858000"/>
              <a:gd name="connsiteX8" fmla="*/ 8759999 w 12192000"/>
              <a:gd name="connsiteY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1760941 h 6858000"/>
              <a:gd name="connsiteX7" fmla="*/ 8759999 w 12192000"/>
              <a:gd name="connsiteY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6" fmla="*/ 8759999 w 12192000"/>
              <a:gd name="connsiteY6" fmla="*/ 0 h 6858000"/>
              <a:gd name="connsiteX0" fmla="*/ 8759999 w 12192000"/>
              <a:gd name="connsiteY0" fmla="*/ 508523 h 7366523"/>
              <a:gd name="connsiteX1" fmla="*/ 12192000 w 12192000"/>
              <a:gd name="connsiteY1" fmla="*/ 508523 h 7366523"/>
              <a:gd name="connsiteX2" fmla="*/ 12192000 w 12192000"/>
              <a:gd name="connsiteY2" fmla="*/ 7366523 h 7366523"/>
              <a:gd name="connsiteX3" fmla="*/ 0 w 12192000"/>
              <a:gd name="connsiteY3" fmla="*/ 7366523 h 7366523"/>
              <a:gd name="connsiteX4" fmla="*/ 0 w 12192000"/>
              <a:gd name="connsiteY4" fmla="*/ 5017523 h 7366523"/>
              <a:gd name="connsiteX5" fmla="*/ 9145 w 12192000"/>
              <a:gd name="connsiteY5" fmla="*/ 518675 h 7366523"/>
              <a:gd name="connsiteX6" fmla="*/ 8759999 w 12192000"/>
              <a:gd name="connsiteY6" fmla="*/ 508523 h 7366523"/>
              <a:gd name="connsiteX0" fmla="*/ 8759999 w 12192000"/>
              <a:gd name="connsiteY0" fmla="*/ 568584 h 7426584"/>
              <a:gd name="connsiteX1" fmla="*/ 12192000 w 12192000"/>
              <a:gd name="connsiteY1" fmla="*/ 568584 h 7426584"/>
              <a:gd name="connsiteX2" fmla="*/ 12192000 w 12192000"/>
              <a:gd name="connsiteY2" fmla="*/ 7426584 h 7426584"/>
              <a:gd name="connsiteX3" fmla="*/ 0 w 12192000"/>
              <a:gd name="connsiteY3" fmla="*/ 7426584 h 7426584"/>
              <a:gd name="connsiteX4" fmla="*/ 0 w 12192000"/>
              <a:gd name="connsiteY4" fmla="*/ 5077584 h 7426584"/>
              <a:gd name="connsiteX5" fmla="*/ 9145 w 12192000"/>
              <a:gd name="connsiteY5" fmla="*/ 578736 h 7426584"/>
              <a:gd name="connsiteX6" fmla="*/ 8759999 w 12192000"/>
              <a:gd name="connsiteY6" fmla="*/ 568584 h 7426584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5 w 12192000"/>
              <a:gd name="connsiteY4" fmla="*/ 101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9145" y="10152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ubicBezTo>
                  <a:pt x="3048" y="4575384"/>
                  <a:pt x="6097" y="2292768"/>
                  <a:pt x="9145" y="10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EC7A166D-5502-3743-9FD4-55C8E085DE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0800000" flipH="1">
            <a:off x="0" y="302861"/>
            <a:ext cx="12143937" cy="625227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1989000"/>
            <a:ext cx="6840000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 </a:t>
            </a:r>
            <a:r>
              <a:rPr lang="de-DE" dirty="0" err="1"/>
              <a:t>separator</a:t>
            </a:r>
            <a:r>
              <a:rPr lang="de-DE" dirty="0"/>
              <a:t> </a:t>
            </a:r>
            <a:r>
              <a:rPr lang="de-DE" dirty="0" err="1"/>
              <a:t>pa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stinguis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pters</a:t>
            </a:r>
            <a:endParaRPr lang="de-DE" dirty="0"/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604813"/>
            <a:ext cx="68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 dirty="0"/>
              <a:t>This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430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7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8" name="Datum"/>
          <p:cNvSpPr>
            <a:spLocks noGrp="1"/>
          </p:cNvSpPr>
          <p:nvPr>
            <p:ph type="dt" sz="half" idx="2"/>
          </p:nvPr>
        </p:nvSpPr>
        <p:spPr bwMode="gray">
          <a:xfrm>
            <a:off x="4340041" y="6411600"/>
            <a:ext cx="848235" cy="1368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5188275" y="6411600"/>
            <a:ext cx="5854362" cy="1368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135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1">
            <a:extLst>
              <a:ext uri="{FF2B5EF4-FFF2-40B4-BE49-F238E27FC236}">
                <a16:creationId xmlns:a16="http://schemas.microsoft.com/office/drawing/2014/main" id="{33B04E29-9B5A-3743-AB11-FAB02D9ECA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4576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699674 w 12192000"/>
              <a:gd name="connsiteY8" fmla="*/ 4509000 h 6858000"/>
              <a:gd name="connsiteX9" fmla="*/ 1861287 w 12192000"/>
              <a:gd name="connsiteY9" fmla="*/ 4509000 h 6858000"/>
              <a:gd name="connsiteX10" fmla="*/ 1869932 w 12192000"/>
              <a:gd name="connsiteY10" fmla="*/ 4509000 h 6858000"/>
              <a:gd name="connsiteX11" fmla="*/ 2227928 w 12192000"/>
              <a:gd name="connsiteY11" fmla="*/ 4509000 h 6858000"/>
              <a:gd name="connsiteX12" fmla="*/ 2238276 w 12192000"/>
              <a:gd name="connsiteY12" fmla="*/ 4509000 h 6858000"/>
              <a:gd name="connsiteX13" fmla="*/ 2594568 w 12192000"/>
              <a:gd name="connsiteY13" fmla="*/ 4509000 h 6858000"/>
              <a:gd name="connsiteX14" fmla="*/ 2606619 w 12192000"/>
              <a:gd name="connsiteY14" fmla="*/ 4509000 h 6858000"/>
              <a:gd name="connsiteX15" fmla="*/ 2764039 w 12192000"/>
              <a:gd name="connsiteY15" fmla="*/ 4509000 h 6858000"/>
              <a:gd name="connsiteX16" fmla="*/ 2776877 w 12192000"/>
              <a:gd name="connsiteY16" fmla="*/ 4509000 h 6858000"/>
              <a:gd name="connsiteX17" fmla="*/ 2916890 w 12192000"/>
              <a:gd name="connsiteY17" fmla="*/ 4509000 h 6858000"/>
              <a:gd name="connsiteX18" fmla="*/ 2930438 w 12192000"/>
              <a:gd name="connsiteY18" fmla="*/ 4509000 h 6858000"/>
              <a:gd name="connsiteX19" fmla="*/ 6257159 w 12192000"/>
              <a:gd name="connsiteY19" fmla="*/ 4509000 h 6858000"/>
              <a:gd name="connsiteX20" fmla="*/ 6286220 w 12192000"/>
              <a:gd name="connsiteY20" fmla="*/ 4509000 h 6858000"/>
              <a:gd name="connsiteX21" fmla="*/ 6979034 w 12192000"/>
              <a:gd name="connsiteY21" fmla="*/ 3819388 h 6858000"/>
              <a:gd name="connsiteX22" fmla="*/ 6979034 w 12192000"/>
              <a:gd name="connsiteY22" fmla="*/ 3140165 h 6858000"/>
              <a:gd name="connsiteX23" fmla="*/ 7671849 w 12192000"/>
              <a:gd name="connsiteY23" fmla="*/ 2450553 h 6858000"/>
              <a:gd name="connsiteX24" fmla="*/ 8029891 w 12192000"/>
              <a:gd name="connsiteY24" fmla="*/ 2450553 h 6858000"/>
              <a:gd name="connsiteX25" fmla="*/ 8067185 w 12192000"/>
              <a:gd name="connsiteY25" fmla="*/ 2450553 h 6858000"/>
              <a:gd name="connsiteX26" fmla="*/ 8759999 w 12192000"/>
              <a:gd name="connsiteY26" fmla="*/ 1760941 h 6858000"/>
              <a:gd name="connsiteX27" fmla="*/ 8759999 w 12192000"/>
              <a:gd name="connsiteY2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691816 w 12192000"/>
              <a:gd name="connsiteY7" fmla="*/ 4509000 h 6858000"/>
              <a:gd name="connsiteX8" fmla="*/ 1861287 w 12192000"/>
              <a:gd name="connsiteY8" fmla="*/ 4509000 h 6858000"/>
              <a:gd name="connsiteX9" fmla="*/ 1869932 w 12192000"/>
              <a:gd name="connsiteY9" fmla="*/ 4509000 h 6858000"/>
              <a:gd name="connsiteX10" fmla="*/ 2227928 w 12192000"/>
              <a:gd name="connsiteY10" fmla="*/ 4509000 h 6858000"/>
              <a:gd name="connsiteX11" fmla="*/ 2238276 w 12192000"/>
              <a:gd name="connsiteY11" fmla="*/ 4509000 h 6858000"/>
              <a:gd name="connsiteX12" fmla="*/ 2594568 w 12192000"/>
              <a:gd name="connsiteY12" fmla="*/ 4509000 h 6858000"/>
              <a:gd name="connsiteX13" fmla="*/ 2606619 w 12192000"/>
              <a:gd name="connsiteY13" fmla="*/ 4509000 h 6858000"/>
              <a:gd name="connsiteX14" fmla="*/ 2764039 w 12192000"/>
              <a:gd name="connsiteY14" fmla="*/ 4509000 h 6858000"/>
              <a:gd name="connsiteX15" fmla="*/ 2776877 w 12192000"/>
              <a:gd name="connsiteY15" fmla="*/ 4509000 h 6858000"/>
              <a:gd name="connsiteX16" fmla="*/ 2916890 w 12192000"/>
              <a:gd name="connsiteY16" fmla="*/ 4509000 h 6858000"/>
              <a:gd name="connsiteX17" fmla="*/ 2930438 w 12192000"/>
              <a:gd name="connsiteY17" fmla="*/ 4509000 h 6858000"/>
              <a:gd name="connsiteX18" fmla="*/ 6257159 w 12192000"/>
              <a:gd name="connsiteY18" fmla="*/ 4509000 h 6858000"/>
              <a:gd name="connsiteX19" fmla="*/ 6286220 w 12192000"/>
              <a:gd name="connsiteY19" fmla="*/ 4509000 h 6858000"/>
              <a:gd name="connsiteX20" fmla="*/ 6979034 w 12192000"/>
              <a:gd name="connsiteY20" fmla="*/ 3819388 h 6858000"/>
              <a:gd name="connsiteX21" fmla="*/ 6979034 w 12192000"/>
              <a:gd name="connsiteY21" fmla="*/ 3140165 h 6858000"/>
              <a:gd name="connsiteX22" fmla="*/ 7671849 w 12192000"/>
              <a:gd name="connsiteY22" fmla="*/ 2450553 h 6858000"/>
              <a:gd name="connsiteX23" fmla="*/ 8029891 w 12192000"/>
              <a:gd name="connsiteY23" fmla="*/ 2450553 h 6858000"/>
              <a:gd name="connsiteX24" fmla="*/ 8067185 w 12192000"/>
              <a:gd name="connsiteY24" fmla="*/ 2450553 h 6858000"/>
              <a:gd name="connsiteX25" fmla="*/ 8759999 w 12192000"/>
              <a:gd name="connsiteY25" fmla="*/ 1760941 h 6858000"/>
              <a:gd name="connsiteX26" fmla="*/ 8759999 w 12192000"/>
              <a:gd name="connsiteY2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1869932 w 12192000"/>
              <a:gd name="connsiteY8" fmla="*/ 4509000 h 6858000"/>
              <a:gd name="connsiteX9" fmla="*/ 2227928 w 12192000"/>
              <a:gd name="connsiteY9" fmla="*/ 4509000 h 6858000"/>
              <a:gd name="connsiteX10" fmla="*/ 2238276 w 12192000"/>
              <a:gd name="connsiteY10" fmla="*/ 4509000 h 6858000"/>
              <a:gd name="connsiteX11" fmla="*/ 2594568 w 12192000"/>
              <a:gd name="connsiteY11" fmla="*/ 4509000 h 6858000"/>
              <a:gd name="connsiteX12" fmla="*/ 2606619 w 12192000"/>
              <a:gd name="connsiteY12" fmla="*/ 4509000 h 6858000"/>
              <a:gd name="connsiteX13" fmla="*/ 2764039 w 12192000"/>
              <a:gd name="connsiteY13" fmla="*/ 4509000 h 6858000"/>
              <a:gd name="connsiteX14" fmla="*/ 2776877 w 12192000"/>
              <a:gd name="connsiteY14" fmla="*/ 4509000 h 6858000"/>
              <a:gd name="connsiteX15" fmla="*/ 2916890 w 12192000"/>
              <a:gd name="connsiteY15" fmla="*/ 4509000 h 6858000"/>
              <a:gd name="connsiteX16" fmla="*/ 2930438 w 12192000"/>
              <a:gd name="connsiteY16" fmla="*/ 4509000 h 6858000"/>
              <a:gd name="connsiteX17" fmla="*/ 6257159 w 12192000"/>
              <a:gd name="connsiteY17" fmla="*/ 4509000 h 6858000"/>
              <a:gd name="connsiteX18" fmla="*/ 6286220 w 12192000"/>
              <a:gd name="connsiteY18" fmla="*/ 4509000 h 6858000"/>
              <a:gd name="connsiteX19" fmla="*/ 6979034 w 12192000"/>
              <a:gd name="connsiteY19" fmla="*/ 3819388 h 6858000"/>
              <a:gd name="connsiteX20" fmla="*/ 6979034 w 12192000"/>
              <a:gd name="connsiteY20" fmla="*/ 3140165 h 6858000"/>
              <a:gd name="connsiteX21" fmla="*/ 7671849 w 12192000"/>
              <a:gd name="connsiteY21" fmla="*/ 2450553 h 6858000"/>
              <a:gd name="connsiteX22" fmla="*/ 8029891 w 12192000"/>
              <a:gd name="connsiteY22" fmla="*/ 2450553 h 6858000"/>
              <a:gd name="connsiteX23" fmla="*/ 8067185 w 12192000"/>
              <a:gd name="connsiteY23" fmla="*/ 2450553 h 6858000"/>
              <a:gd name="connsiteX24" fmla="*/ 8759999 w 12192000"/>
              <a:gd name="connsiteY24" fmla="*/ 1760941 h 6858000"/>
              <a:gd name="connsiteX25" fmla="*/ 8759999 w 12192000"/>
              <a:gd name="connsiteY2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861287 w 12192000"/>
              <a:gd name="connsiteY7" fmla="*/ 4509000 h 6858000"/>
              <a:gd name="connsiteX8" fmla="*/ 2227928 w 12192000"/>
              <a:gd name="connsiteY8" fmla="*/ 4509000 h 6858000"/>
              <a:gd name="connsiteX9" fmla="*/ 2238276 w 12192000"/>
              <a:gd name="connsiteY9" fmla="*/ 4509000 h 6858000"/>
              <a:gd name="connsiteX10" fmla="*/ 2594568 w 12192000"/>
              <a:gd name="connsiteY10" fmla="*/ 4509000 h 6858000"/>
              <a:gd name="connsiteX11" fmla="*/ 2606619 w 12192000"/>
              <a:gd name="connsiteY11" fmla="*/ 4509000 h 6858000"/>
              <a:gd name="connsiteX12" fmla="*/ 2764039 w 12192000"/>
              <a:gd name="connsiteY12" fmla="*/ 4509000 h 6858000"/>
              <a:gd name="connsiteX13" fmla="*/ 2776877 w 12192000"/>
              <a:gd name="connsiteY13" fmla="*/ 4509000 h 6858000"/>
              <a:gd name="connsiteX14" fmla="*/ 2916890 w 12192000"/>
              <a:gd name="connsiteY14" fmla="*/ 4509000 h 6858000"/>
              <a:gd name="connsiteX15" fmla="*/ 2930438 w 12192000"/>
              <a:gd name="connsiteY15" fmla="*/ 4509000 h 6858000"/>
              <a:gd name="connsiteX16" fmla="*/ 6257159 w 12192000"/>
              <a:gd name="connsiteY16" fmla="*/ 4509000 h 6858000"/>
              <a:gd name="connsiteX17" fmla="*/ 6286220 w 12192000"/>
              <a:gd name="connsiteY17" fmla="*/ 4509000 h 6858000"/>
              <a:gd name="connsiteX18" fmla="*/ 6979034 w 12192000"/>
              <a:gd name="connsiteY18" fmla="*/ 3819388 h 6858000"/>
              <a:gd name="connsiteX19" fmla="*/ 6979034 w 12192000"/>
              <a:gd name="connsiteY19" fmla="*/ 3140165 h 6858000"/>
              <a:gd name="connsiteX20" fmla="*/ 7671849 w 12192000"/>
              <a:gd name="connsiteY20" fmla="*/ 2450553 h 6858000"/>
              <a:gd name="connsiteX21" fmla="*/ 8029891 w 12192000"/>
              <a:gd name="connsiteY21" fmla="*/ 2450553 h 6858000"/>
              <a:gd name="connsiteX22" fmla="*/ 8067185 w 12192000"/>
              <a:gd name="connsiteY22" fmla="*/ 2450553 h 6858000"/>
              <a:gd name="connsiteX23" fmla="*/ 8759999 w 12192000"/>
              <a:gd name="connsiteY23" fmla="*/ 1760941 h 6858000"/>
              <a:gd name="connsiteX24" fmla="*/ 8759999 w 12192000"/>
              <a:gd name="connsiteY2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238276 w 12192000"/>
              <a:gd name="connsiteY8" fmla="*/ 4509000 h 6858000"/>
              <a:gd name="connsiteX9" fmla="*/ 2594568 w 12192000"/>
              <a:gd name="connsiteY9" fmla="*/ 4509000 h 6858000"/>
              <a:gd name="connsiteX10" fmla="*/ 2606619 w 12192000"/>
              <a:gd name="connsiteY10" fmla="*/ 4509000 h 6858000"/>
              <a:gd name="connsiteX11" fmla="*/ 2764039 w 12192000"/>
              <a:gd name="connsiteY11" fmla="*/ 4509000 h 6858000"/>
              <a:gd name="connsiteX12" fmla="*/ 2776877 w 12192000"/>
              <a:gd name="connsiteY12" fmla="*/ 4509000 h 6858000"/>
              <a:gd name="connsiteX13" fmla="*/ 2916890 w 12192000"/>
              <a:gd name="connsiteY13" fmla="*/ 4509000 h 6858000"/>
              <a:gd name="connsiteX14" fmla="*/ 2930438 w 12192000"/>
              <a:gd name="connsiteY14" fmla="*/ 4509000 h 6858000"/>
              <a:gd name="connsiteX15" fmla="*/ 6257159 w 12192000"/>
              <a:gd name="connsiteY15" fmla="*/ 4509000 h 6858000"/>
              <a:gd name="connsiteX16" fmla="*/ 6286220 w 12192000"/>
              <a:gd name="connsiteY16" fmla="*/ 4509000 h 6858000"/>
              <a:gd name="connsiteX17" fmla="*/ 6979034 w 12192000"/>
              <a:gd name="connsiteY17" fmla="*/ 3819388 h 6858000"/>
              <a:gd name="connsiteX18" fmla="*/ 6979034 w 12192000"/>
              <a:gd name="connsiteY18" fmla="*/ 3140165 h 6858000"/>
              <a:gd name="connsiteX19" fmla="*/ 7671849 w 12192000"/>
              <a:gd name="connsiteY19" fmla="*/ 2450553 h 6858000"/>
              <a:gd name="connsiteX20" fmla="*/ 8029891 w 12192000"/>
              <a:gd name="connsiteY20" fmla="*/ 2450553 h 6858000"/>
              <a:gd name="connsiteX21" fmla="*/ 8067185 w 12192000"/>
              <a:gd name="connsiteY21" fmla="*/ 2450553 h 6858000"/>
              <a:gd name="connsiteX22" fmla="*/ 8759999 w 12192000"/>
              <a:gd name="connsiteY22" fmla="*/ 1760941 h 6858000"/>
              <a:gd name="connsiteX23" fmla="*/ 8759999 w 12192000"/>
              <a:gd name="connsiteY2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606619 w 12192000"/>
              <a:gd name="connsiteY9" fmla="*/ 4509000 h 6858000"/>
              <a:gd name="connsiteX10" fmla="*/ 2764039 w 12192000"/>
              <a:gd name="connsiteY10" fmla="*/ 4509000 h 6858000"/>
              <a:gd name="connsiteX11" fmla="*/ 2776877 w 12192000"/>
              <a:gd name="connsiteY11" fmla="*/ 4509000 h 6858000"/>
              <a:gd name="connsiteX12" fmla="*/ 2916890 w 12192000"/>
              <a:gd name="connsiteY12" fmla="*/ 4509000 h 6858000"/>
              <a:gd name="connsiteX13" fmla="*/ 2930438 w 12192000"/>
              <a:gd name="connsiteY13" fmla="*/ 4509000 h 6858000"/>
              <a:gd name="connsiteX14" fmla="*/ 6257159 w 12192000"/>
              <a:gd name="connsiteY14" fmla="*/ 4509000 h 6858000"/>
              <a:gd name="connsiteX15" fmla="*/ 6286220 w 12192000"/>
              <a:gd name="connsiteY15" fmla="*/ 4509000 h 6858000"/>
              <a:gd name="connsiteX16" fmla="*/ 6979034 w 12192000"/>
              <a:gd name="connsiteY16" fmla="*/ 3819388 h 6858000"/>
              <a:gd name="connsiteX17" fmla="*/ 6979034 w 12192000"/>
              <a:gd name="connsiteY17" fmla="*/ 3140165 h 6858000"/>
              <a:gd name="connsiteX18" fmla="*/ 7671849 w 12192000"/>
              <a:gd name="connsiteY18" fmla="*/ 2450553 h 6858000"/>
              <a:gd name="connsiteX19" fmla="*/ 8029891 w 12192000"/>
              <a:gd name="connsiteY19" fmla="*/ 2450553 h 6858000"/>
              <a:gd name="connsiteX20" fmla="*/ 8067185 w 12192000"/>
              <a:gd name="connsiteY20" fmla="*/ 2450553 h 6858000"/>
              <a:gd name="connsiteX21" fmla="*/ 8759999 w 12192000"/>
              <a:gd name="connsiteY21" fmla="*/ 1760941 h 6858000"/>
              <a:gd name="connsiteX22" fmla="*/ 8759999 w 12192000"/>
              <a:gd name="connsiteY2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776877 w 12192000"/>
              <a:gd name="connsiteY10" fmla="*/ 4509000 h 6858000"/>
              <a:gd name="connsiteX11" fmla="*/ 2916890 w 12192000"/>
              <a:gd name="connsiteY11" fmla="*/ 4509000 h 6858000"/>
              <a:gd name="connsiteX12" fmla="*/ 2930438 w 12192000"/>
              <a:gd name="connsiteY12" fmla="*/ 4509000 h 6858000"/>
              <a:gd name="connsiteX13" fmla="*/ 6257159 w 12192000"/>
              <a:gd name="connsiteY13" fmla="*/ 4509000 h 6858000"/>
              <a:gd name="connsiteX14" fmla="*/ 6286220 w 12192000"/>
              <a:gd name="connsiteY14" fmla="*/ 4509000 h 6858000"/>
              <a:gd name="connsiteX15" fmla="*/ 6979034 w 12192000"/>
              <a:gd name="connsiteY15" fmla="*/ 3819388 h 6858000"/>
              <a:gd name="connsiteX16" fmla="*/ 6979034 w 12192000"/>
              <a:gd name="connsiteY16" fmla="*/ 3140165 h 6858000"/>
              <a:gd name="connsiteX17" fmla="*/ 7671849 w 12192000"/>
              <a:gd name="connsiteY17" fmla="*/ 2450553 h 6858000"/>
              <a:gd name="connsiteX18" fmla="*/ 8029891 w 12192000"/>
              <a:gd name="connsiteY18" fmla="*/ 2450553 h 6858000"/>
              <a:gd name="connsiteX19" fmla="*/ 8067185 w 12192000"/>
              <a:gd name="connsiteY19" fmla="*/ 2450553 h 6858000"/>
              <a:gd name="connsiteX20" fmla="*/ 8759999 w 12192000"/>
              <a:gd name="connsiteY20" fmla="*/ 1760941 h 6858000"/>
              <a:gd name="connsiteX21" fmla="*/ 8759999 w 12192000"/>
              <a:gd name="connsiteY2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764039 w 12192000"/>
              <a:gd name="connsiteY9" fmla="*/ 4509000 h 6858000"/>
              <a:gd name="connsiteX10" fmla="*/ 2916890 w 12192000"/>
              <a:gd name="connsiteY10" fmla="*/ 4509000 h 6858000"/>
              <a:gd name="connsiteX11" fmla="*/ 2930438 w 12192000"/>
              <a:gd name="connsiteY11" fmla="*/ 4509000 h 6858000"/>
              <a:gd name="connsiteX12" fmla="*/ 6257159 w 12192000"/>
              <a:gd name="connsiteY12" fmla="*/ 4509000 h 6858000"/>
              <a:gd name="connsiteX13" fmla="*/ 6286220 w 12192000"/>
              <a:gd name="connsiteY13" fmla="*/ 4509000 h 6858000"/>
              <a:gd name="connsiteX14" fmla="*/ 6979034 w 12192000"/>
              <a:gd name="connsiteY14" fmla="*/ 3819388 h 6858000"/>
              <a:gd name="connsiteX15" fmla="*/ 6979034 w 12192000"/>
              <a:gd name="connsiteY15" fmla="*/ 3140165 h 6858000"/>
              <a:gd name="connsiteX16" fmla="*/ 7671849 w 12192000"/>
              <a:gd name="connsiteY16" fmla="*/ 2450553 h 6858000"/>
              <a:gd name="connsiteX17" fmla="*/ 8029891 w 12192000"/>
              <a:gd name="connsiteY17" fmla="*/ 2450553 h 6858000"/>
              <a:gd name="connsiteX18" fmla="*/ 8067185 w 12192000"/>
              <a:gd name="connsiteY18" fmla="*/ 2450553 h 6858000"/>
              <a:gd name="connsiteX19" fmla="*/ 8759999 w 12192000"/>
              <a:gd name="connsiteY19" fmla="*/ 1760941 h 6858000"/>
              <a:gd name="connsiteX20" fmla="*/ 8759999 w 12192000"/>
              <a:gd name="connsiteY2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2930438 w 12192000"/>
              <a:gd name="connsiteY10" fmla="*/ 4509000 h 6858000"/>
              <a:gd name="connsiteX11" fmla="*/ 6257159 w 12192000"/>
              <a:gd name="connsiteY11" fmla="*/ 4509000 h 6858000"/>
              <a:gd name="connsiteX12" fmla="*/ 6286220 w 12192000"/>
              <a:gd name="connsiteY12" fmla="*/ 4509000 h 6858000"/>
              <a:gd name="connsiteX13" fmla="*/ 6979034 w 12192000"/>
              <a:gd name="connsiteY13" fmla="*/ 3819388 h 6858000"/>
              <a:gd name="connsiteX14" fmla="*/ 6979034 w 12192000"/>
              <a:gd name="connsiteY14" fmla="*/ 3140165 h 6858000"/>
              <a:gd name="connsiteX15" fmla="*/ 7671849 w 12192000"/>
              <a:gd name="connsiteY15" fmla="*/ 2450553 h 6858000"/>
              <a:gd name="connsiteX16" fmla="*/ 8029891 w 12192000"/>
              <a:gd name="connsiteY16" fmla="*/ 2450553 h 6858000"/>
              <a:gd name="connsiteX17" fmla="*/ 8067185 w 12192000"/>
              <a:gd name="connsiteY17" fmla="*/ 2450553 h 6858000"/>
              <a:gd name="connsiteX18" fmla="*/ 8759999 w 12192000"/>
              <a:gd name="connsiteY18" fmla="*/ 1760941 h 6858000"/>
              <a:gd name="connsiteX19" fmla="*/ 8759999 w 12192000"/>
              <a:gd name="connsiteY1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594568 w 12192000"/>
              <a:gd name="connsiteY8" fmla="*/ 4509000 h 6858000"/>
              <a:gd name="connsiteX9" fmla="*/ 2916890 w 12192000"/>
              <a:gd name="connsiteY9" fmla="*/ 4509000 h 6858000"/>
              <a:gd name="connsiteX10" fmla="*/ 6257159 w 12192000"/>
              <a:gd name="connsiteY10" fmla="*/ 4509000 h 6858000"/>
              <a:gd name="connsiteX11" fmla="*/ 6286220 w 12192000"/>
              <a:gd name="connsiteY11" fmla="*/ 4509000 h 6858000"/>
              <a:gd name="connsiteX12" fmla="*/ 6979034 w 12192000"/>
              <a:gd name="connsiteY12" fmla="*/ 3819388 h 6858000"/>
              <a:gd name="connsiteX13" fmla="*/ 6979034 w 12192000"/>
              <a:gd name="connsiteY13" fmla="*/ 3140165 h 6858000"/>
              <a:gd name="connsiteX14" fmla="*/ 7671849 w 12192000"/>
              <a:gd name="connsiteY14" fmla="*/ 2450553 h 6858000"/>
              <a:gd name="connsiteX15" fmla="*/ 8029891 w 12192000"/>
              <a:gd name="connsiteY15" fmla="*/ 2450553 h 6858000"/>
              <a:gd name="connsiteX16" fmla="*/ 8067185 w 12192000"/>
              <a:gd name="connsiteY16" fmla="*/ 2450553 h 6858000"/>
              <a:gd name="connsiteX17" fmla="*/ 8759999 w 12192000"/>
              <a:gd name="connsiteY17" fmla="*/ 1760941 h 6858000"/>
              <a:gd name="connsiteX18" fmla="*/ 8759999 w 12192000"/>
              <a:gd name="connsiteY1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2916890 w 12192000"/>
              <a:gd name="connsiteY8" fmla="*/ 4509000 h 6858000"/>
              <a:gd name="connsiteX9" fmla="*/ 6257159 w 12192000"/>
              <a:gd name="connsiteY9" fmla="*/ 4509000 h 6858000"/>
              <a:gd name="connsiteX10" fmla="*/ 6286220 w 12192000"/>
              <a:gd name="connsiteY10" fmla="*/ 4509000 h 6858000"/>
              <a:gd name="connsiteX11" fmla="*/ 6979034 w 12192000"/>
              <a:gd name="connsiteY11" fmla="*/ 3819388 h 6858000"/>
              <a:gd name="connsiteX12" fmla="*/ 6979034 w 12192000"/>
              <a:gd name="connsiteY12" fmla="*/ 3140165 h 6858000"/>
              <a:gd name="connsiteX13" fmla="*/ 7671849 w 12192000"/>
              <a:gd name="connsiteY13" fmla="*/ 2450553 h 6858000"/>
              <a:gd name="connsiteX14" fmla="*/ 8029891 w 12192000"/>
              <a:gd name="connsiteY14" fmla="*/ 2450553 h 6858000"/>
              <a:gd name="connsiteX15" fmla="*/ 8067185 w 12192000"/>
              <a:gd name="connsiteY15" fmla="*/ 2450553 h 6858000"/>
              <a:gd name="connsiteX16" fmla="*/ 8759999 w 12192000"/>
              <a:gd name="connsiteY16" fmla="*/ 1760941 h 6858000"/>
              <a:gd name="connsiteX17" fmla="*/ 8759999 w 12192000"/>
              <a:gd name="connsiteY1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2227928 w 12192000"/>
              <a:gd name="connsiteY7" fmla="*/ 4509000 h 6858000"/>
              <a:gd name="connsiteX8" fmla="*/ 6257159 w 12192000"/>
              <a:gd name="connsiteY8" fmla="*/ 4509000 h 6858000"/>
              <a:gd name="connsiteX9" fmla="*/ 6286220 w 12192000"/>
              <a:gd name="connsiteY9" fmla="*/ 4509000 h 6858000"/>
              <a:gd name="connsiteX10" fmla="*/ 6979034 w 12192000"/>
              <a:gd name="connsiteY10" fmla="*/ 3819388 h 6858000"/>
              <a:gd name="connsiteX11" fmla="*/ 6979034 w 12192000"/>
              <a:gd name="connsiteY11" fmla="*/ 3140165 h 6858000"/>
              <a:gd name="connsiteX12" fmla="*/ 7671849 w 12192000"/>
              <a:gd name="connsiteY12" fmla="*/ 2450553 h 6858000"/>
              <a:gd name="connsiteX13" fmla="*/ 8029891 w 12192000"/>
              <a:gd name="connsiteY13" fmla="*/ 2450553 h 6858000"/>
              <a:gd name="connsiteX14" fmla="*/ 8067185 w 12192000"/>
              <a:gd name="connsiteY14" fmla="*/ 2450553 h 6858000"/>
              <a:gd name="connsiteX15" fmla="*/ 8759999 w 12192000"/>
              <a:gd name="connsiteY15" fmla="*/ 1760941 h 6858000"/>
              <a:gd name="connsiteX16" fmla="*/ 8759999 w 12192000"/>
              <a:gd name="connsiteY1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6257159 w 12192000"/>
              <a:gd name="connsiteY7" fmla="*/ 4509000 h 6858000"/>
              <a:gd name="connsiteX8" fmla="*/ 6286220 w 12192000"/>
              <a:gd name="connsiteY8" fmla="*/ 4509000 h 6858000"/>
              <a:gd name="connsiteX9" fmla="*/ 6979034 w 12192000"/>
              <a:gd name="connsiteY9" fmla="*/ 3819388 h 6858000"/>
              <a:gd name="connsiteX10" fmla="*/ 6979034 w 12192000"/>
              <a:gd name="connsiteY10" fmla="*/ 3140165 h 6858000"/>
              <a:gd name="connsiteX11" fmla="*/ 7671849 w 12192000"/>
              <a:gd name="connsiteY11" fmla="*/ 2450553 h 6858000"/>
              <a:gd name="connsiteX12" fmla="*/ 8029891 w 12192000"/>
              <a:gd name="connsiteY12" fmla="*/ 2450553 h 6858000"/>
              <a:gd name="connsiteX13" fmla="*/ 8067185 w 12192000"/>
              <a:gd name="connsiteY13" fmla="*/ 2450553 h 6858000"/>
              <a:gd name="connsiteX14" fmla="*/ 8759999 w 12192000"/>
              <a:gd name="connsiteY14" fmla="*/ 1760941 h 6858000"/>
              <a:gd name="connsiteX15" fmla="*/ 8759999 w 12192000"/>
              <a:gd name="connsiteY15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286220 w 12192000"/>
              <a:gd name="connsiteY7" fmla="*/ 4509000 h 6858000"/>
              <a:gd name="connsiteX8" fmla="*/ 6979034 w 12192000"/>
              <a:gd name="connsiteY8" fmla="*/ 3819388 h 6858000"/>
              <a:gd name="connsiteX9" fmla="*/ 6979034 w 12192000"/>
              <a:gd name="connsiteY9" fmla="*/ 3140165 h 6858000"/>
              <a:gd name="connsiteX10" fmla="*/ 7671849 w 12192000"/>
              <a:gd name="connsiteY10" fmla="*/ 2450553 h 6858000"/>
              <a:gd name="connsiteX11" fmla="*/ 8029891 w 12192000"/>
              <a:gd name="connsiteY11" fmla="*/ 2450553 h 6858000"/>
              <a:gd name="connsiteX12" fmla="*/ 8067185 w 12192000"/>
              <a:gd name="connsiteY12" fmla="*/ 2450553 h 6858000"/>
              <a:gd name="connsiteX13" fmla="*/ 8759999 w 12192000"/>
              <a:gd name="connsiteY13" fmla="*/ 1760941 h 6858000"/>
              <a:gd name="connsiteX14" fmla="*/ 8759999 w 12192000"/>
              <a:gd name="connsiteY14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257159 w 12192000"/>
              <a:gd name="connsiteY6" fmla="*/ 4509000 h 6858000"/>
              <a:gd name="connsiteX7" fmla="*/ 6979034 w 12192000"/>
              <a:gd name="connsiteY7" fmla="*/ 3819388 h 6858000"/>
              <a:gd name="connsiteX8" fmla="*/ 6979034 w 12192000"/>
              <a:gd name="connsiteY8" fmla="*/ 3140165 h 6858000"/>
              <a:gd name="connsiteX9" fmla="*/ 7671849 w 12192000"/>
              <a:gd name="connsiteY9" fmla="*/ 2450553 h 6858000"/>
              <a:gd name="connsiteX10" fmla="*/ 8029891 w 12192000"/>
              <a:gd name="connsiteY10" fmla="*/ 2450553 h 6858000"/>
              <a:gd name="connsiteX11" fmla="*/ 8067185 w 12192000"/>
              <a:gd name="connsiteY11" fmla="*/ 2450553 h 6858000"/>
              <a:gd name="connsiteX12" fmla="*/ 8759999 w 12192000"/>
              <a:gd name="connsiteY12" fmla="*/ 1760941 h 6858000"/>
              <a:gd name="connsiteX13" fmla="*/ 8759999 w 12192000"/>
              <a:gd name="connsiteY13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819388 h 6858000"/>
              <a:gd name="connsiteX7" fmla="*/ 6979034 w 12192000"/>
              <a:gd name="connsiteY7" fmla="*/ 3140165 h 6858000"/>
              <a:gd name="connsiteX8" fmla="*/ 7671849 w 12192000"/>
              <a:gd name="connsiteY8" fmla="*/ 2450553 h 6858000"/>
              <a:gd name="connsiteX9" fmla="*/ 8029891 w 12192000"/>
              <a:gd name="connsiteY9" fmla="*/ 2450553 h 6858000"/>
              <a:gd name="connsiteX10" fmla="*/ 8067185 w 12192000"/>
              <a:gd name="connsiteY10" fmla="*/ 2450553 h 6858000"/>
              <a:gd name="connsiteX11" fmla="*/ 8759999 w 12192000"/>
              <a:gd name="connsiteY11" fmla="*/ 1760941 h 6858000"/>
              <a:gd name="connsiteX12" fmla="*/ 8759999 w 12192000"/>
              <a:gd name="connsiteY12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6979034 w 12192000"/>
              <a:gd name="connsiteY6" fmla="*/ 3140165 h 6858000"/>
              <a:gd name="connsiteX7" fmla="*/ 7671849 w 12192000"/>
              <a:gd name="connsiteY7" fmla="*/ 2450553 h 6858000"/>
              <a:gd name="connsiteX8" fmla="*/ 8029891 w 12192000"/>
              <a:gd name="connsiteY8" fmla="*/ 2450553 h 6858000"/>
              <a:gd name="connsiteX9" fmla="*/ 8067185 w 12192000"/>
              <a:gd name="connsiteY9" fmla="*/ 2450553 h 6858000"/>
              <a:gd name="connsiteX10" fmla="*/ 8759999 w 12192000"/>
              <a:gd name="connsiteY10" fmla="*/ 1760941 h 6858000"/>
              <a:gd name="connsiteX11" fmla="*/ 8759999 w 12192000"/>
              <a:gd name="connsiteY11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7671849 w 12192000"/>
              <a:gd name="connsiteY6" fmla="*/ 2450553 h 6858000"/>
              <a:gd name="connsiteX7" fmla="*/ 8029891 w 12192000"/>
              <a:gd name="connsiteY7" fmla="*/ 2450553 h 6858000"/>
              <a:gd name="connsiteX8" fmla="*/ 8067185 w 12192000"/>
              <a:gd name="connsiteY8" fmla="*/ 2450553 h 6858000"/>
              <a:gd name="connsiteX9" fmla="*/ 8759999 w 12192000"/>
              <a:gd name="connsiteY9" fmla="*/ 1760941 h 6858000"/>
              <a:gd name="connsiteX10" fmla="*/ 8759999 w 12192000"/>
              <a:gd name="connsiteY10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067185 w 12192000"/>
              <a:gd name="connsiteY7" fmla="*/ 2450553 h 6858000"/>
              <a:gd name="connsiteX8" fmla="*/ 8759999 w 12192000"/>
              <a:gd name="connsiteY8" fmla="*/ 1760941 h 6858000"/>
              <a:gd name="connsiteX9" fmla="*/ 8759999 w 12192000"/>
              <a:gd name="connsiteY9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029891 w 12192000"/>
              <a:gd name="connsiteY6" fmla="*/ 2450553 h 6858000"/>
              <a:gd name="connsiteX7" fmla="*/ 8759999 w 12192000"/>
              <a:gd name="connsiteY7" fmla="*/ 1760941 h 6858000"/>
              <a:gd name="connsiteX8" fmla="*/ 8759999 w 12192000"/>
              <a:gd name="connsiteY8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1760941 h 6858000"/>
              <a:gd name="connsiteX7" fmla="*/ 8759999 w 12192000"/>
              <a:gd name="connsiteY7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8759999 w 12192000"/>
              <a:gd name="connsiteY6" fmla="*/ 0 h 6858000"/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6" fmla="*/ 8759999 w 12192000"/>
              <a:gd name="connsiteY6" fmla="*/ 0 h 6858000"/>
              <a:gd name="connsiteX0" fmla="*/ 8759999 w 12192000"/>
              <a:gd name="connsiteY0" fmla="*/ 508523 h 7366523"/>
              <a:gd name="connsiteX1" fmla="*/ 12192000 w 12192000"/>
              <a:gd name="connsiteY1" fmla="*/ 508523 h 7366523"/>
              <a:gd name="connsiteX2" fmla="*/ 12192000 w 12192000"/>
              <a:gd name="connsiteY2" fmla="*/ 7366523 h 7366523"/>
              <a:gd name="connsiteX3" fmla="*/ 0 w 12192000"/>
              <a:gd name="connsiteY3" fmla="*/ 7366523 h 7366523"/>
              <a:gd name="connsiteX4" fmla="*/ 0 w 12192000"/>
              <a:gd name="connsiteY4" fmla="*/ 5017523 h 7366523"/>
              <a:gd name="connsiteX5" fmla="*/ 9145 w 12192000"/>
              <a:gd name="connsiteY5" fmla="*/ 518675 h 7366523"/>
              <a:gd name="connsiteX6" fmla="*/ 8759999 w 12192000"/>
              <a:gd name="connsiteY6" fmla="*/ 508523 h 7366523"/>
              <a:gd name="connsiteX0" fmla="*/ 8759999 w 12192000"/>
              <a:gd name="connsiteY0" fmla="*/ 568584 h 7426584"/>
              <a:gd name="connsiteX1" fmla="*/ 12192000 w 12192000"/>
              <a:gd name="connsiteY1" fmla="*/ 568584 h 7426584"/>
              <a:gd name="connsiteX2" fmla="*/ 12192000 w 12192000"/>
              <a:gd name="connsiteY2" fmla="*/ 7426584 h 7426584"/>
              <a:gd name="connsiteX3" fmla="*/ 0 w 12192000"/>
              <a:gd name="connsiteY3" fmla="*/ 7426584 h 7426584"/>
              <a:gd name="connsiteX4" fmla="*/ 0 w 12192000"/>
              <a:gd name="connsiteY4" fmla="*/ 5077584 h 7426584"/>
              <a:gd name="connsiteX5" fmla="*/ 9145 w 12192000"/>
              <a:gd name="connsiteY5" fmla="*/ 578736 h 7426584"/>
              <a:gd name="connsiteX6" fmla="*/ 8759999 w 12192000"/>
              <a:gd name="connsiteY6" fmla="*/ 568584 h 7426584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9145 w 12192000"/>
              <a:gd name="connsiteY5" fmla="*/ 10152 h 6858000"/>
              <a:gd name="connsiteX0" fmla="*/ 9145 w 12192000"/>
              <a:gd name="connsiteY0" fmla="*/ 10152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5 w 12192000"/>
              <a:gd name="connsiteY4" fmla="*/ 101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9145" y="10152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ubicBezTo>
                  <a:pt x="3048" y="4575384"/>
                  <a:pt x="6097" y="2292768"/>
                  <a:pt x="9145" y="1015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3E2999A4-2ABB-0A46-AE47-A42536E349B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0800000">
            <a:off x="3431704" y="333415"/>
            <a:ext cx="8424935" cy="7344056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07968" y="1989000"/>
            <a:ext cx="5760032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 </a:t>
            </a:r>
            <a:r>
              <a:rPr lang="de-DE" dirty="0" err="1"/>
              <a:t>separator</a:t>
            </a:r>
            <a:r>
              <a:rPr lang="de-DE" dirty="0"/>
              <a:t> </a:t>
            </a:r>
            <a:r>
              <a:rPr lang="de-DE" dirty="0" err="1"/>
              <a:t>pa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stinguis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pters</a:t>
            </a:r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07968" y="4604513"/>
            <a:ext cx="5760032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 dirty="0"/>
              <a:t>This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.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1AED60A-C5F0-A742-B900-ED88610E2321}"/>
              </a:ext>
            </a:extLst>
          </p:cNvPr>
          <p:cNvSpPr txBox="1"/>
          <p:nvPr userDrawn="1"/>
        </p:nvSpPr>
        <p:spPr>
          <a:xfrm flipH="1">
            <a:off x="13130783" y="2404872"/>
            <a:ext cx="45719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306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A65DC78-D123-BE42-B469-6F8E7F23C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82" y="0"/>
            <a:ext cx="12191118" cy="685750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405000"/>
            <a:ext cx="5472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18862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3B8F279-B1D3-43B6-8D86-43D376BF5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FB880FA-6A04-46FF-86EF-D91188145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1845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9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5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slideLayout" Target="../slideLayouts/slideLayout57.xml"/><Relationship Id="rId40" Type="http://schemas.openxmlformats.org/officeDocument/2006/relationships/slideLayout" Target="../slideLayouts/slideLayout60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4" Type="http://schemas.openxmlformats.org/officeDocument/2006/relationships/image" Target="../media/image8.emf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slideLayout" Target="../slideLayouts/slideLayout55.xml"/><Relationship Id="rId43" Type="http://schemas.openxmlformats.org/officeDocument/2006/relationships/oleObject" Target="../embeddings/oleObject2.bin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7F83AE-50A3-48D8-969E-843CB6EC54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159667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425" imgH="424" progId="TCLayout.ActiveDocument.1">
                  <p:embed/>
                </p:oleObj>
              </mc:Choice>
              <mc:Fallback>
                <p:oleObj name="think-cell Folie" r:id="rId23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7F83AE-50A3-48D8-969E-843CB6EC5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>
            <a:extLst>
              <a:ext uri="{FF2B5EF4-FFF2-40B4-BE49-F238E27FC236}">
                <a16:creationId xmlns:a16="http://schemas.microsoft.com/office/drawing/2014/main" id="{9974DF64-EA80-D34F-87EF-094639746960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502968" y="6267060"/>
            <a:ext cx="3360784" cy="552242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24000" y="405000"/>
            <a:ext cx="1094400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Headline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40pt. (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24pt.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624000" y="1484712"/>
            <a:ext cx="10944000" cy="475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  <a:p>
            <a:pPr lvl="5"/>
            <a:r>
              <a:rPr lang="de-DE" dirty="0"/>
              <a:t>Level 6</a:t>
            </a:r>
          </a:p>
          <a:p>
            <a:pPr lvl="6"/>
            <a:r>
              <a:rPr lang="de-DE" dirty="0"/>
              <a:t>Level 7</a:t>
            </a:r>
          </a:p>
          <a:p>
            <a:pPr lvl="7"/>
            <a:r>
              <a:rPr lang="de-DE" dirty="0"/>
              <a:t>Level 8</a:t>
            </a:r>
          </a:p>
          <a:p>
            <a:pPr lvl="8"/>
            <a:r>
              <a:rPr lang="de-DE" dirty="0"/>
              <a:t>Level 9</a:t>
            </a:r>
          </a:p>
          <a:p>
            <a:pPr lvl="4"/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2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1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8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36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14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43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76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04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50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74" r:id="rId2"/>
    <p:sldLayoutId id="2147483649" r:id="rId3"/>
    <p:sldLayoutId id="2147483673" r:id="rId4"/>
    <p:sldLayoutId id="2147483654" r:id="rId5"/>
    <p:sldLayoutId id="2147483655" r:id="rId6"/>
    <p:sldLayoutId id="2147483656" r:id="rId7"/>
    <p:sldLayoutId id="2147483658" r:id="rId8"/>
    <p:sldLayoutId id="2147483672" r:id="rId9"/>
    <p:sldLayoutId id="2147483650" r:id="rId10"/>
    <p:sldLayoutId id="2147483657" r:id="rId11"/>
    <p:sldLayoutId id="2147483659" r:id="rId12"/>
    <p:sldLayoutId id="2147483660" r:id="rId13"/>
    <p:sldLayoutId id="2147483664" r:id="rId14"/>
    <p:sldLayoutId id="2147483662" r:id="rId15"/>
    <p:sldLayoutId id="2147483667" r:id="rId16"/>
    <p:sldLayoutId id="2147483663" r:id="rId17"/>
    <p:sldLayoutId id="2147483670" r:id="rId18"/>
    <p:sldLayoutId id="2147483665" r:id="rId19"/>
    <p:sldLayoutId id="2147483666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6D18E18-FFB6-4BDE-8E28-AABA6EB6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407483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526" imgH="526" progId="TCLayout.ActiveDocument.1">
                  <p:embed/>
                </p:oleObj>
              </mc:Choice>
              <mc:Fallback>
                <p:oleObj name="think-cell Folie" r:id="rId43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6D18E18-FFB6-4BDE-8E28-AABA6EB6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FF631B5-22A4-4385-9999-3B384CF45EE9}"/>
              </a:ext>
            </a:extLst>
          </p:cNvPr>
          <p:cNvGrpSpPr/>
          <p:nvPr userDrawn="1"/>
        </p:nvGrpSpPr>
        <p:grpSpPr>
          <a:xfrm>
            <a:off x="-737348" y="-737252"/>
            <a:ext cx="12388466" cy="8324776"/>
            <a:chOff x="-737252" y="-737252"/>
            <a:chExt cx="12386853" cy="8324776"/>
          </a:xfrm>
        </p:grpSpPr>
        <p:sp>
          <p:nvSpPr>
            <p:cNvPr id="25" name="Text"/>
            <p:cNvSpPr txBox="1"/>
            <p:nvPr userDrawn="1"/>
          </p:nvSpPr>
          <p:spPr bwMode="gray">
            <a:xfrm>
              <a:off x="540001" y="-720000"/>
              <a:ext cx="900000" cy="540000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 Hilfslinie</a:t>
              </a:r>
              <a:br>
                <a:rPr lang="de-DE" sz="100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15,42</a:t>
              </a:r>
            </a:p>
          </p:txBody>
        </p:sp>
        <p:cxnSp>
          <p:nvCxnSpPr>
            <p:cNvPr id="24" name="Line"/>
            <p:cNvCxnSpPr/>
            <p:nvPr userDrawn="1"/>
          </p:nvCxnSpPr>
          <p:spPr bwMode="gray">
            <a:xfrm flipV="1">
              <a:off x="540002" y="-737252"/>
              <a:ext cx="0" cy="720000"/>
            </a:xfrm>
            <a:prstGeom prst="line">
              <a:avLst/>
            </a:prstGeom>
            <a:ln>
              <a:solidFill>
                <a:srgbClr val="E73F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"/>
            <p:cNvSpPr txBox="1"/>
            <p:nvPr userDrawn="1"/>
          </p:nvSpPr>
          <p:spPr bwMode="gray">
            <a:xfrm>
              <a:off x="10959863" y="-720000"/>
              <a:ext cx="689738" cy="540000"/>
            </a:xfrm>
            <a:prstGeom prst="rect">
              <a:avLst/>
            </a:prstGeom>
            <a:noFill/>
          </p:spPr>
          <p:txBody>
            <a:bodyPr wrap="square" lIns="0" tIns="0" rIns="72000" bIns="0" rtlCol="0">
              <a:noAutofit/>
            </a:bodyPr>
            <a:lstStyle/>
            <a:p>
              <a:pPr algn="r"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 Hilfslinie 15,42</a:t>
              </a:r>
            </a:p>
          </p:txBody>
        </p:sp>
        <p:cxnSp>
          <p:nvCxnSpPr>
            <p:cNvPr id="22" name="Line"/>
            <p:cNvCxnSpPr/>
            <p:nvPr userDrawn="1"/>
          </p:nvCxnSpPr>
          <p:spPr bwMode="gray">
            <a:xfrm flipV="1">
              <a:off x="11649601" y="-737252"/>
              <a:ext cx="0" cy="720000"/>
            </a:xfrm>
            <a:prstGeom prst="line">
              <a:avLst/>
            </a:prstGeom>
            <a:ln>
              <a:solidFill>
                <a:srgbClr val="E73F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"/>
            <p:cNvSpPr txBox="1"/>
            <p:nvPr userDrawn="1"/>
          </p:nvSpPr>
          <p:spPr bwMode="gray">
            <a:xfrm>
              <a:off x="-720000" y="432000"/>
              <a:ext cx="720000" cy="540000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 Hilfslinie</a:t>
              </a:r>
              <a:br>
                <a:rPr lang="de-DE" sz="100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8,32</a:t>
              </a:r>
            </a:p>
          </p:txBody>
        </p:sp>
        <p:cxnSp>
          <p:nvCxnSpPr>
            <p:cNvPr id="20" name="Line"/>
            <p:cNvCxnSpPr/>
            <p:nvPr/>
          </p:nvCxnSpPr>
          <p:spPr bwMode="gray">
            <a:xfrm>
              <a:off x="-737252" y="432000"/>
              <a:ext cx="720000" cy="0"/>
            </a:xfrm>
            <a:prstGeom prst="line">
              <a:avLst/>
            </a:prstGeom>
            <a:ln>
              <a:solidFill>
                <a:srgbClr val="E73F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"/>
            <p:cNvSpPr txBox="1"/>
            <p:nvPr userDrawn="1"/>
          </p:nvSpPr>
          <p:spPr bwMode="gray">
            <a:xfrm>
              <a:off x="-720000" y="1512000"/>
              <a:ext cx="720000" cy="540000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 Hilfslinie</a:t>
              </a:r>
              <a:br>
                <a:rPr lang="de-DE" sz="100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5,33</a:t>
              </a:r>
            </a:p>
          </p:txBody>
        </p:sp>
        <p:cxnSp>
          <p:nvCxnSpPr>
            <p:cNvPr id="18" name="Line"/>
            <p:cNvCxnSpPr/>
            <p:nvPr userDrawn="1"/>
          </p:nvCxnSpPr>
          <p:spPr bwMode="gray">
            <a:xfrm>
              <a:off x="-737252" y="1512000"/>
              <a:ext cx="720000" cy="0"/>
            </a:xfrm>
            <a:prstGeom prst="line">
              <a:avLst/>
            </a:prstGeom>
            <a:ln>
              <a:solidFill>
                <a:srgbClr val="E73F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"/>
            <p:cNvSpPr txBox="1"/>
            <p:nvPr userDrawn="1"/>
          </p:nvSpPr>
          <p:spPr bwMode="gray">
            <a:xfrm>
              <a:off x="-720000" y="5276203"/>
              <a:ext cx="720000" cy="540000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 Hilfslinie</a:t>
              </a:r>
              <a:br>
                <a:rPr lang="de-DE" sz="100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6,61</a:t>
              </a:r>
            </a:p>
          </p:txBody>
        </p:sp>
        <p:sp>
          <p:nvSpPr>
            <p:cNvPr id="31" name="Text"/>
            <p:cNvSpPr txBox="1"/>
            <p:nvPr userDrawn="1"/>
          </p:nvSpPr>
          <p:spPr bwMode="gray">
            <a:xfrm>
              <a:off x="-720000" y="6030045"/>
              <a:ext cx="720000" cy="540000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noAutofit/>
            </a:bodyPr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Hilfslinie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7,22</a:t>
              </a:r>
            </a:p>
          </p:txBody>
        </p:sp>
        <p:sp>
          <p:nvSpPr>
            <p:cNvPr id="62" name="Text"/>
            <p:cNvSpPr txBox="1"/>
            <p:nvPr userDrawn="1"/>
          </p:nvSpPr>
          <p:spPr bwMode="gray">
            <a:xfrm>
              <a:off x="-720000" y="6623903"/>
              <a:ext cx="720000" cy="540000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noAutofit/>
            </a:bodyPr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Hilfslinie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8,88</a:t>
              </a:r>
            </a:p>
          </p:txBody>
        </p:sp>
        <p:sp>
          <p:nvSpPr>
            <p:cNvPr id="63" name="Text"/>
            <p:cNvSpPr txBox="1"/>
            <p:nvPr userDrawn="1"/>
          </p:nvSpPr>
          <p:spPr bwMode="gray">
            <a:xfrm>
              <a:off x="630001" y="7047524"/>
              <a:ext cx="720000" cy="540000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noAutofit/>
            </a:bodyPr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Hilfslinie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15,42</a:t>
              </a:r>
            </a:p>
          </p:txBody>
        </p:sp>
        <p:sp>
          <p:nvSpPr>
            <p:cNvPr id="64" name="Text"/>
            <p:cNvSpPr txBox="1"/>
            <p:nvPr userDrawn="1"/>
          </p:nvSpPr>
          <p:spPr bwMode="gray">
            <a:xfrm>
              <a:off x="1878444" y="7047524"/>
              <a:ext cx="720000" cy="540000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noAutofit/>
            </a:bodyPr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r>
                <a:rPr lang="de-DE" sz="1000" noProof="0">
                  <a:solidFill>
                    <a:schemeClr val="tx1"/>
                  </a:solidFill>
                </a:rPr>
                <a:t>Position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Hilfslinie</a:t>
              </a:r>
              <a:r>
                <a:rPr lang="de-DE" sz="1000" baseline="0" noProof="0">
                  <a:solidFill>
                    <a:schemeClr val="tx1"/>
                  </a:solidFill>
                </a:rPr>
                <a:t> </a:t>
              </a:r>
              <a:br>
                <a:rPr lang="de-DE" sz="1000" baseline="0" noProof="0">
                  <a:solidFill>
                    <a:schemeClr val="tx1"/>
                  </a:solidFill>
                </a:rPr>
              </a:br>
              <a:r>
                <a:rPr lang="de-DE" sz="1000" noProof="0">
                  <a:solidFill>
                    <a:schemeClr val="tx1"/>
                  </a:solidFill>
                </a:rPr>
                <a:t>11,92</a:t>
              </a:r>
            </a:p>
          </p:txBody>
        </p:sp>
        <p:cxnSp>
          <p:nvCxnSpPr>
            <p:cNvPr id="16" name="Line"/>
            <p:cNvCxnSpPr/>
            <p:nvPr userDrawn="1"/>
          </p:nvCxnSpPr>
          <p:spPr bwMode="gray">
            <a:xfrm>
              <a:off x="-737252" y="5810400"/>
              <a:ext cx="720000" cy="0"/>
            </a:xfrm>
            <a:prstGeom prst="line">
              <a:avLst/>
            </a:prstGeom>
            <a:ln>
              <a:solidFill>
                <a:srgbClr val="E73F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ne"/>
            <p:cNvCxnSpPr/>
            <p:nvPr userDrawn="1"/>
          </p:nvCxnSpPr>
          <p:spPr bwMode="gray">
            <a:xfrm>
              <a:off x="-737252" y="6027094"/>
              <a:ext cx="720000" cy="0"/>
            </a:xfrm>
            <a:prstGeom prst="line">
              <a:avLst/>
            </a:prstGeom>
            <a:ln>
              <a:solidFill>
                <a:srgbClr val="FDC5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"/>
            <p:cNvCxnSpPr/>
            <p:nvPr userDrawn="1"/>
          </p:nvCxnSpPr>
          <p:spPr bwMode="gray">
            <a:xfrm>
              <a:off x="-737252" y="6624638"/>
              <a:ext cx="720000" cy="0"/>
            </a:xfrm>
            <a:prstGeom prst="line">
              <a:avLst/>
            </a:prstGeom>
            <a:ln>
              <a:solidFill>
                <a:srgbClr val="FDC5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Line"/>
            <p:cNvCxnSpPr/>
            <p:nvPr userDrawn="1"/>
          </p:nvCxnSpPr>
          <p:spPr bwMode="gray">
            <a:xfrm rot="5400000">
              <a:off x="180000" y="7227524"/>
              <a:ext cx="720000" cy="0"/>
            </a:xfrm>
            <a:prstGeom prst="line">
              <a:avLst/>
            </a:prstGeom>
            <a:ln>
              <a:solidFill>
                <a:srgbClr val="FDC5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Line"/>
            <p:cNvCxnSpPr/>
            <p:nvPr userDrawn="1"/>
          </p:nvCxnSpPr>
          <p:spPr bwMode="gray">
            <a:xfrm rot="5400000">
              <a:off x="1439750" y="7227524"/>
              <a:ext cx="720000" cy="0"/>
            </a:xfrm>
            <a:prstGeom prst="line">
              <a:avLst/>
            </a:prstGeom>
            <a:ln>
              <a:solidFill>
                <a:srgbClr val="FDC5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6ED2671D-4F23-4F11-A3CE-91721A18C0CD}"/>
              </a:ext>
            </a:extLst>
          </p:cNvPr>
          <p:cNvSpPr>
            <a:spLocks/>
          </p:cNvSpPr>
          <p:nvPr userDrawn="1"/>
        </p:nvSpPr>
        <p:spPr bwMode="auto">
          <a:xfrm>
            <a:off x="10951123" y="6323214"/>
            <a:ext cx="697878" cy="534787"/>
          </a:xfrm>
          <a:custGeom>
            <a:avLst/>
            <a:gdLst>
              <a:gd name="connsiteX0" fmla="*/ 366761 w 697787"/>
              <a:gd name="connsiteY0" fmla="*/ 0 h 534787"/>
              <a:gd name="connsiteX1" fmla="*/ 647388 w 697787"/>
              <a:gd name="connsiteY1" fmla="*/ 0 h 534787"/>
              <a:gd name="connsiteX2" fmla="*/ 693627 w 697787"/>
              <a:gd name="connsiteY2" fmla="*/ 20330 h 534787"/>
              <a:gd name="connsiteX3" fmla="*/ 684941 w 697787"/>
              <a:gd name="connsiteY3" fmla="*/ 72370 h 534787"/>
              <a:gd name="connsiteX4" fmla="*/ 425230 w 697787"/>
              <a:gd name="connsiteY4" fmla="*/ 500485 h 534787"/>
              <a:gd name="connsiteX5" fmla="*/ 404421 w 697787"/>
              <a:gd name="connsiteY5" fmla="*/ 534787 h 534787"/>
              <a:gd name="connsiteX6" fmla="*/ 0 w 697787"/>
              <a:gd name="connsiteY6" fmla="*/ 534787 h 534787"/>
              <a:gd name="connsiteX7" fmla="*/ 35827 w 697787"/>
              <a:gd name="connsiteY7" fmla="*/ 471136 h 534787"/>
              <a:gd name="connsiteX8" fmla="*/ 268407 w 697787"/>
              <a:gd name="connsiteY8" fmla="*/ 57922 h 534787"/>
              <a:gd name="connsiteX9" fmla="*/ 366761 w 697787"/>
              <a:gd name="connsiteY9" fmla="*/ 0 h 534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7787" h="534787">
                <a:moveTo>
                  <a:pt x="366761" y="0"/>
                </a:moveTo>
                <a:cubicBezTo>
                  <a:pt x="647388" y="0"/>
                  <a:pt x="647388" y="0"/>
                  <a:pt x="647388" y="0"/>
                </a:cubicBezTo>
                <a:cubicBezTo>
                  <a:pt x="670507" y="0"/>
                  <a:pt x="685835" y="6777"/>
                  <a:pt x="693627" y="20330"/>
                </a:cubicBezTo>
                <a:cubicBezTo>
                  <a:pt x="701290" y="33756"/>
                  <a:pt x="698353" y="51145"/>
                  <a:pt x="684941" y="72370"/>
                </a:cubicBezTo>
                <a:cubicBezTo>
                  <a:pt x="564713" y="270557"/>
                  <a:pt x="482057" y="406811"/>
                  <a:pt x="425230" y="500485"/>
                </a:cubicBezTo>
                <a:lnTo>
                  <a:pt x="404421" y="534787"/>
                </a:lnTo>
                <a:lnTo>
                  <a:pt x="0" y="534787"/>
                </a:lnTo>
                <a:lnTo>
                  <a:pt x="35827" y="471136"/>
                </a:lnTo>
                <a:cubicBezTo>
                  <a:pt x="268407" y="57922"/>
                  <a:pt x="268407" y="57922"/>
                  <a:pt x="268407" y="57922"/>
                </a:cubicBezTo>
                <a:cubicBezTo>
                  <a:pt x="289610" y="19308"/>
                  <a:pt x="322310" y="0"/>
                  <a:pt x="36676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2" name="Titel"/>
          <p:cNvSpPr>
            <a:spLocks noGrp="1"/>
          </p:cNvSpPr>
          <p:nvPr userDrawn="1">
            <p:ph type="title"/>
          </p:nvPr>
        </p:nvSpPr>
        <p:spPr bwMode="gray">
          <a:xfrm>
            <a:off x="540070" y="381199"/>
            <a:ext cx="8746769" cy="8686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 userDrawn="1">
            <p:ph type="body" idx="1"/>
          </p:nvPr>
        </p:nvSpPr>
        <p:spPr bwMode="gray">
          <a:xfrm>
            <a:off x="540071" y="1512000"/>
            <a:ext cx="11111046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5" name="Foliennummer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158685" y="6230606"/>
            <a:ext cx="385230" cy="360000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81F42DB-CC2C-4B81-8AB1-C323A47257D9}"/>
              </a:ext>
            </a:extLst>
          </p:cNvPr>
          <p:cNvGrpSpPr/>
          <p:nvPr userDrawn="1"/>
        </p:nvGrpSpPr>
        <p:grpSpPr>
          <a:xfrm>
            <a:off x="9556878" y="443963"/>
            <a:ext cx="2092127" cy="461467"/>
            <a:chOff x="-7418388" y="2211388"/>
            <a:chExt cx="12190413" cy="2689226"/>
          </a:xfrm>
        </p:grpSpPr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CB0BFD02-0DE2-4163-8344-43909266C8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7418388" y="2657475"/>
              <a:ext cx="2789391" cy="1589088"/>
            </a:xfrm>
            <a:custGeom>
              <a:avLst/>
              <a:gdLst>
                <a:gd name="connsiteX0" fmla="*/ 434334 w 2789391"/>
                <a:gd name="connsiteY0" fmla="*/ 258762 h 1589088"/>
                <a:gd name="connsiteX1" fmla="*/ 329041 w 2789391"/>
                <a:gd name="connsiteY1" fmla="*/ 290413 h 1589088"/>
                <a:gd name="connsiteX2" fmla="*/ 298450 w 2789391"/>
                <a:gd name="connsiteY2" fmla="*/ 397501 h 1589088"/>
                <a:gd name="connsiteX3" fmla="*/ 298450 w 2789391"/>
                <a:gd name="connsiteY3" fmla="*/ 747562 h 1589088"/>
                <a:gd name="connsiteX4" fmla="*/ 329041 w 2789391"/>
                <a:gd name="connsiteY4" fmla="*/ 853223 h 1589088"/>
                <a:gd name="connsiteX5" fmla="*/ 434334 w 2789391"/>
                <a:gd name="connsiteY5" fmla="*/ 883921 h 1589088"/>
                <a:gd name="connsiteX6" fmla="*/ 520892 w 2789391"/>
                <a:gd name="connsiteY6" fmla="*/ 883921 h 1589088"/>
                <a:gd name="connsiteX7" fmla="*/ 643022 w 2789391"/>
                <a:gd name="connsiteY7" fmla="*/ 885349 h 1589088"/>
                <a:gd name="connsiteX8" fmla="*/ 682625 w 2789391"/>
                <a:gd name="connsiteY8" fmla="*/ 846559 h 1589088"/>
                <a:gd name="connsiteX9" fmla="*/ 682625 w 2789391"/>
                <a:gd name="connsiteY9" fmla="*/ 284701 h 1589088"/>
                <a:gd name="connsiteX10" fmla="*/ 654405 w 2789391"/>
                <a:gd name="connsiteY10" fmla="*/ 258762 h 1589088"/>
                <a:gd name="connsiteX11" fmla="*/ 434334 w 2789391"/>
                <a:gd name="connsiteY11" fmla="*/ 258762 h 1589088"/>
                <a:gd name="connsiteX12" fmla="*/ 1806614 w 2789391"/>
                <a:gd name="connsiteY12" fmla="*/ 0 h 1589088"/>
                <a:gd name="connsiteX13" fmla="*/ 2013354 w 2789391"/>
                <a:gd name="connsiteY13" fmla="*/ 0 h 1589088"/>
                <a:gd name="connsiteX14" fmla="*/ 2069737 w 2789391"/>
                <a:gd name="connsiteY14" fmla="*/ 49266 h 1589088"/>
                <a:gd name="connsiteX15" fmla="*/ 2271720 w 2789391"/>
                <a:gd name="connsiteY15" fmla="*/ 932956 h 1589088"/>
                <a:gd name="connsiteX16" fmla="*/ 2288373 w 2789391"/>
                <a:gd name="connsiteY16" fmla="*/ 932956 h 1589088"/>
                <a:gd name="connsiteX17" fmla="*/ 2485597 w 2789391"/>
                <a:gd name="connsiteY17" fmla="*/ 49266 h 1589088"/>
                <a:gd name="connsiteX18" fmla="*/ 2544360 w 2789391"/>
                <a:gd name="connsiteY18" fmla="*/ 0 h 1589088"/>
                <a:gd name="connsiteX19" fmla="*/ 2751100 w 2789391"/>
                <a:gd name="connsiteY19" fmla="*/ 0 h 1589088"/>
                <a:gd name="connsiteX20" fmla="*/ 2786310 w 2789391"/>
                <a:gd name="connsiteY20" fmla="*/ 49266 h 1589088"/>
                <a:gd name="connsiteX21" fmla="*/ 2490355 w 2789391"/>
                <a:gd name="connsiteY21" fmla="*/ 1146917 h 1589088"/>
                <a:gd name="connsiteX22" fmla="*/ 2426834 w 2789391"/>
                <a:gd name="connsiteY22" fmla="*/ 1198563 h 1589088"/>
                <a:gd name="connsiteX23" fmla="*/ 2128500 w 2789391"/>
                <a:gd name="connsiteY23" fmla="*/ 1198563 h 1589088"/>
                <a:gd name="connsiteX24" fmla="*/ 2065217 w 2789391"/>
                <a:gd name="connsiteY24" fmla="*/ 1146917 h 1589088"/>
                <a:gd name="connsiteX25" fmla="*/ 1771404 w 2789391"/>
                <a:gd name="connsiteY25" fmla="*/ 49266 h 1589088"/>
                <a:gd name="connsiteX26" fmla="*/ 1806614 w 2789391"/>
                <a:gd name="connsiteY26" fmla="*/ 0 h 1589088"/>
                <a:gd name="connsiteX27" fmla="*/ 1434784 w 2789391"/>
                <a:gd name="connsiteY27" fmla="*/ 0 h 1589088"/>
                <a:gd name="connsiteX28" fmla="*/ 1662715 w 2789391"/>
                <a:gd name="connsiteY28" fmla="*/ 0 h 1589088"/>
                <a:gd name="connsiteX29" fmla="*/ 1700307 w 2789391"/>
                <a:gd name="connsiteY29" fmla="*/ 16422 h 1589088"/>
                <a:gd name="connsiteX30" fmla="*/ 1693407 w 2789391"/>
                <a:gd name="connsiteY30" fmla="*/ 58786 h 1589088"/>
                <a:gd name="connsiteX31" fmla="*/ 1380775 w 2789391"/>
                <a:gd name="connsiteY31" fmla="*/ 573340 h 1589088"/>
                <a:gd name="connsiteX32" fmla="*/ 1380775 w 2789391"/>
                <a:gd name="connsiteY32" fmla="*/ 582860 h 1589088"/>
                <a:gd name="connsiteX33" fmla="*/ 1707445 w 2789391"/>
                <a:gd name="connsiteY33" fmla="*/ 1139777 h 1589088"/>
                <a:gd name="connsiteX34" fmla="*/ 1709824 w 2789391"/>
                <a:gd name="connsiteY34" fmla="*/ 1180951 h 1589088"/>
                <a:gd name="connsiteX35" fmla="*/ 1667474 w 2789391"/>
                <a:gd name="connsiteY35" fmla="*/ 1198563 h 1589088"/>
                <a:gd name="connsiteX36" fmla="*/ 1465476 w 2789391"/>
                <a:gd name="connsiteY36" fmla="*/ 1198563 h 1589088"/>
                <a:gd name="connsiteX37" fmla="*/ 1407898 w 2789391"/>
                <a:gd name="connsiteY37" fmla="*/ 1189043 h 1589088"/>
                <a:gd name="connsiteX38" fmla="*/ 1371496 w 2789391"/>
                <a:gd name="connsiteY38" fmla="*/ 1149059 h 1589088"/>
                <a:gd name="connsiteX39" fmla="*/ 1073138 w 2789391"/>
                <a:gd name="connsiteY39" fmla="*/ 625224 h 1589088"/>
                <a:gd name="connsiteX40" fmla="*/ 1073138 w 2789391"/>
                <a:gd name="connsiteY40" fmla="*/ 547636 h 1589088"/>
                <a:gd name="connsiteX41" fmla="*/ 1355079 w 2789391"/>
                <a:gd name="connsiteY41" fmla="*/ 46886 h 1589088"/>
                <a:gd name="connsiteX42" fmla="*/ 1434784 w 2789391"/>
                <a:gd name="connsiteY42" fmla="*/ 0 h 1589088"/>
                <a:gd name="connsiteX43" fmla="*/ 387247 w 2789391"/>
                <a:gd name="connsiteY43" fmla="*/ 0 h 1589088"/>
                <a:gd name="connsiteX44" fmla="*/ 929252 w 2789391"/>
                <a:gd name="connsiteY44" fmla="*/ 0 h 1589088"/>
                <a:gd name="connsiteX45" fmla="*/ 981075 w 2789391"/>
                <a:gd name="connsiteY45" fmla="*/ 49280 h 1589088"/>
                <a:gd name="connsiteX46" fmla="*/ 981075 w 2789391"/>
                <a:gd name="connsiteY46" fmla="*/ 1208183 h 1589088"/>
                <a:gd name="connsiteX47" fmla="*/ 878855 w 2789391"/>
                <a:gd name="connsiteY47" fmla="*/ 1490291 h 1589088"/>
                <a:gd name="connsiteX48" fmla="*/ 593827 w 2789391"/>
                <a:gd name="connsiteY48" fmla="*/ 1589088 h 1589088"/>
                <a:gd name="connsiteX49" fmla="*/ 143108 w 2789391"/>
                <a:gd name="connsiteY49" fmla="*/ 1589088 h 1589088"/>
                <a:gd name="connsiteX50" fmla="*/ 104359 w 2789391"/>
                <a:gd name="connsiteY50" fmla="*/ 1578375 h 1589088"/>
                <a:gd name="connsiteX51" fmla="*/ 93662 w 2789391"/>
                <a:gd name="connsiteY51" fmla="*/ 1541951 h 1589088"/>
                <a:gd name="connsiteX52" fmla="*/ 93662 w 2789391"/>
                <a:gd name="connsiteY52" fmla="*/ 1379829 h 1589088"/>
                <a:gd name="connsiteX53" fmla="*/ 143108 w 2789391"/>
                <a:gd name="connsiteY53" fmla="*/ 1330549 h 1589088"/>
                <a:gd name="connsiteX54" fmla="*/ 544381 w 2789391"/>
                <a:gd name="connsiteY54" fmla="*/ 1330549 h 1589088"/>
                <a:gd name="connsiteX55" fmla="*/ 651356 w 2789391"/>
                <a:gd name="connsiteY55" fmla="*/ 1298886 h 1589088"/>
                <a:gd name="connsiteX56" fmla="*/ 682973 w 2789391"/>
                <a:gd name="connsiteY56" fmla="*/ 1194137 h 1589088"/>
                <a:gd name="connsiteX57" fmla="*/ 682973 w 2789391"/>
                <a:gd name="connsiteY57" fmla="*/ 1145572 h 1589088"/>
                <a:gd name="connsiteX58" fmla="*/ 673464 w 2789391"/>
                <a:gd name="connsiteY58" fmla="*/ 1145572 h 1589088"/>
                <a:gd name="connsiteX59" fmla="*/ 581941 w 2789391"/>
                <a:gd name="connsiteY59" fmla="*/ 1145810 h 1589088"/>
                <a:gd name="connsiteX60" fmla="*/ 443587 w 2789391"/>
                <a:gd name="connsiteY60" fmla="*/ 1145810 h 1589088"/>
                <a:gd name="connsiteX61" fmla="*/ 366090 w 2789391"/>
                <a:gd name="connsiteY61" fmla="*/ 1144858 h 1589088"/>
                <a:gd name="connsiteX62" fmla="*/ 92473 w 2789391"/>
                <a:gd name="connsiteY62" fmla="*/ 1046060 h 1589088"/>
                <a:gd name="connsiteX63" fmla="*/ 0 w 2789391"/>
                <a:gd name="connsiteY63" fmla="*/ 761572 h 1589088"/>
                <a:gd name="connsiteX64" fmla="*/ 0 w 2789391"/>
                <a:gd name="connsiteY64" fmla="*/ 383048 h 1589088"/>
                <a:gd name="connsiteX65" fmla="*/ 100794 w 2789391"/>
                <a:gd name="connsiteY65" fmla="*/ 98797 h 1589088"/>
                <a:gd name="connsiteX66" fmla="*/ 387247 w 2789391"/>
                <a:gd name="connsiteY66" fmla="*/ 0 h 158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789391" h="1589088">
                  <a:moveTo>
                    <a:pt x="434334" y="258762"/>
                  </a:moveTo>
                  <a:cubicBezTo>
                    <a:pt x="384296" y="258762"/>
                    <a:pt x="349199" y="269471"/>
                    <a:pt x="329041" y="290413"/>
                  </a:cubicBezTo>
                  <a:cubicBezTo>
                    <a:pt x="308647" y="311592"/>
                    <a:pt x="298450" y="347289"/>
                    <a:pt x="298450" y="397501"/>
                  </a:cubicBezTo>
                  <a:cubicBezTo>
                    <a:pt x="298450" y="747562"/>
                    <a:pt x="298450" y="747562"/>
                    <a:pt x="298450" y="747562"/>
                  </a:cubicBezTo>
                  <a:cubicBezTo>
                    <a:pt x="298450" y="797775"/>
                    <a:pt x="308647" y="832995"/>
                    <a:pt x="329041" y="853223"/>
                  </a:cubicBezTo>
                  <a:cubicBezTo>
                    <a:pt x="349199" y="873688"/>
                    <a:pt x="384296" y="883921"/>
                    <a:pt x="434334" y="883921"/>
                  </a:cubicBezTo>
                  <a:cubicBezTo>
                    <a:pt x="520892" y="883921"/>
                    <a:pt x="520892" y="883921"/>
                    <a:pt x="520892" y="883921"/>
                  </a:cubicBezTo>
                  <a:cubicBezTo>
                    <a:pt x="609347" y="883921"/>
                    <a:pt x="598201" y="884635"/>
                    <a:pt x="643022" y="885349"/>
                  </a:cubicBezTo>
                  <a:cubicBezTo>
                    <a:pt x="664839" y="885825"/>
                    <a:pt x="682625" y="868215"/>
                    <a:pt x="682625" y="846559"/>
                  </a:cubicBezTo>
                  <a:cubicBezTo>
                    <a:pt x="682625" y="284701"/>
                    <a:pt x="682625" y="284701"/>
                    <a:pt x="682625" y="284701"/>
                  </a:cubicBezTo>
                  <a:cubicBezTo>
                    <a:pt x="682625" y="267329"/>
                    <a:pt x="673139" y="258762"/>
                    <a:pt x="654405" y="258762"/>
                  </a:cubicBezTo>
                  <a:cubicBezTo>
                    <a:pt x="434334" y="258762"/>
                    <a:pt x="434334" y="258762"/>
                    <a:pt x="434334" y="258762"/>
                  </a:cubicBezTo>
                  <a:close/>
                  <a:moveTo>
                    <a:pt x="1806614" y="0"/>
                  </a:moveTo>
                  <a:cubicBezTo>
                    <a:pt x="2013354" y="0"/>
                    <a:pt x="2013354" y="0"/>
                    <a:pt x="2013354" y="0"/>
                  </a:cubicBezTo>
                  <a:cubicBezTo>
                    <a:pt x="2044757" y="0"/>
                    <a:pt x="2063552" y="16422"/>
                    <a:pt x="2069737" y="49266"/>
                  </a:cubicBezTo>
                  <a:cubicBezTo>
                    <a:pt x="2271720" y="932956"/>
                    <a:pt x="2271720" y="932956"/>
                    <a:pt x="2271720" y="932956"/>
                  </a:cubicBezTo>
                  <a:cubicBezTo>
                    <a:pt x="2288373" y="932956"/>
                    <a:pt x="2288373" y="932956"/>
                    <a:pt x="2288373" y="932956"/>
                  </a:cubicBezTo>
                  <a:cubicBezTo>
                    <a:pt x="2485597" y="49266"/>
                    <a:pt x="2485597" y="49266"/>
                    <a:pt x="2485597" y="49266"/>
                  </a:cubicBezTo>
                  <a:cubicBezTo>
                    <a:pt x="2491782" y="16422"/>
                    <a:pt x="2511529" y="0"/>
                    <a:pt x="2544360" y="0"/>
                  </a:cubicBezTo>
                  <a:cubicBezTo>
                    <a:pt x="2751100" y="0"/>
                    <a:pt x="2751100" y="0"/>
                    <a:pt x="2751100" y="0"/>
                  </a:cubicBezTo>
                  <a:cubicBezTo>
                    <a:pt x="2783931" y="0"/>
                    <a:pt x="2795588" y="16422"/>
                    <a:pt x="2786310" y="49266"/>
                  </a:cubicBezTo>
                  <a:cubicBezTo>
                    <a:pt x="2490355" y="1146917"/>
                    <a:pt x="2490355" y="1146917"/>
                    <a:pt x="2490355" y="1146917"/>
                  </a:cubicBezTo>
                  <a:cubicBezTo>
                    <a:pt x="2483932" y="1181427"/>
                    <a:pt x="2462996" y="1198563"/>
                    <a:pt x="2426834" y="1198563"/>
                  </a:cubicBezTo>
                  <a:cubicBezTo>
                    <a:pt x="2128500" y="1198563"/>
                    <a:pt x="2128500" y="1198563"/>
                    <a:pt x="2128500" y="1198563"/>
                  </a:cubicBezTo>
                  <a:cubicBezTo>
                    <a:pt x="2095669" y="1198563"/>
                    <a:pt x="2074496" y="1181427"/>
                    <a:pt x="2065217" y="1146917"/>
                  </a:cubicBezTo>
                  <a:cubicBezTo>
                    <a:pt x="1771404" y="49266"/>
                    <a:pt x="1771404" y="49266"/>
                    <a:pt x="1771404" y="49266"/>
                  </a:cubicBezTo>
                  <a:cubicBezTo>
                    <a:pt x="1762125" y="16422"/>
                    <a:pt x="1773783" y="0"/>
                    <a:pt x="1806614" y="0"/>
                  </a:cubicBezTo>
                  <a:close/>
                  <a:moveTo>
                    <a:pt x="1434784" y="0"/>
                  </a:moveTo>
                  <a:cubicBezTo>
                    <a:pt x="1662715" y="0"/>
                    <a:pt x="1662715" y="0"/>
                    <a:pt x="1662715" y="0"/>
                  </a:cubicBezTo>
                  <a:cubicBezTo>
                    <a:pt x="1681511" y="0"/>
                    <a:pt x="1694121" y="5474"/>
                    <a:pt x="1700307" y="16422"/>
                  </a:cubicBezTo>
                  <a:cubicBezTo>
                    <a:pt x="1706493" y="27370"/>
                    <a:pt x="1704114" y="41650"/>
                    <a:pt x="1693407" y="58786"/>
                  </a:cubicBezTo>
                  <a:cubicBezTo>
                    <a:pt x="1380775" y="573340"/>
                    <a:pt x="1380775" y="573340"/>
                    <a:pt x="1380775" y="573340"/>
                  </a:cubicBezTo>
                  <a:cubicBezTo>
                    <a:pt x="1380775" y="582860"/>
                    <a:pt x="1380775" y="582860"/>
                    <a:pt x="1380775" y="582860"/>
                  </a:cubicBezTo>
                  <a:cubicBezTo>
                    <a:pt x="1707445" y="1139777"/>
                    <a:pt x="1707445" y="1139777"/>
                    <a:pt x="1707445" y="1139777"/>
                  </a:cubicBezTo>
                  <a:cubicBezTo>
                    <a:pt x="1716724" y="1155485"/>
                    <a:pt x="1717676" y="1169051"/>
                    <a:pt x="1709824" y="1180951"/>
                  </a:cubicBezTo>
                  <a:cubicBezTo>
                    <a:pt x="1701973" y="1192613"/>
                    <a:pt x="1687697" y="1198563"/>
                    <a:pt x="1667474" y="1198563"/>
                  </a:cubicBezTo>
                  <a:cubicBezTo>
                    <a:pt x="1465476" y="1198563"/>
                    <a:pt x="1465476" y="1198563"/>
                    <a:pt x="1465476" y="1198563"/>
                  </a:cubicBezTo>
                  <a:cubicBezTo>
                    <a:pt x="1438828" y="1198563"/>
                    <a:pt x="1419556" y="1195469"/>
                    <a:pt x="1407898" y="1189043"/>
                  </a:cubicBezTo>
                  <a:cubicBezTo>
                    <a:pt x="1396240" y="1182855"/>
                    <a:pt x="1383868" y="1169527"/>
                    <a:pt x="1371496" y="1149059"/>
                  </a:cubicBezTo>
                  <a:cubicBezTo>
                    <a:pt x="1073138" y="625224"/>
                    <a:pt x="1073138" y="625224"/>
                    <a:pt x="1073138" y="625224"/>
                  </a:cubicBezTo>
                  <a:cubicBezTo>
                    <a:pt x="1058863" y="599996"/>
                    <a:pt x="1058863" y="574292"/>
                    <a:pt x="1073138" y="547636"/>
                  </a:cubicBezTo>
                  <a:cubicBezTo>
                    <a:pt x="1355079" y="46886"/>
                    <a:pt x="1355079" y="46886"/>
                    <a:pt x="1355079" y="46886"/>
                  </a:cubicBezTo>
                  <a:cubicBezTo>
                    <a:pt x="1372209" y="15708"/>
                    <a:pt x="1398857" y="0"/>
                    <a:pt x="1434784" y="0"/>
                  </a:cubicBezTo>
                  <a:close/>
                  <a:moveTo>
                    <a:pt x="387247" y="0"/>
                  </a:moveTo>
                  <a:cubicBezTo>
                    <a:pt x="929252" y="0"/>
                    <a:pt x="929252" y="0"/>
                    <a:pt x="929252" y="0"/>
                  </a:cubicBezTo>
                  <a:cubicBezTo>
                    <a:pt x="963721" y="0"/>
                    <a:pt x="981075" y="16427"/>
                    <a:pt x="981075" y="49280"/>
                  </a:cubicBezTo>
                  <a:cubicBezTo>
                    <a:pt x="981075" y="1208183"/>
                    <a:pt x="981075" y="1208183"/>
                    <a:pt x="981075" y="1208183"/>
                  </a:cubicBezTo>
                  <a:cubicBezTo>
                    <a:pt x="981075" y="1330549"/>
                    <a:pt x="946843" y="1424585"/>
                    <a:pt x="878855" y="1490291"/>
                  </a:cubicBezTo>
                  <a:cubicBezTo>
                    <a:pt x="810866" y="1556235"/>
                    <a:pt x="715778" y="1589088"/>
                    <a:pt x="593827" y="1589088"/>
                  </a:cubicBezTo>
                  <a:cubicBezTo>
                    <a:pt x="143108" y="1589088"/>
                    <a:pt x="143108" y="1589088"/>
                    <a:pt x="143108" y="1589088"/>
                  </a:cubicBezTo>
                  <a:cubicBezTo>
                    <a:pt x="124328" y="1589088"/>
                    <a:pt x="111253" y="1585517"/>
                    <a:pt x="104359" y="1578375"/>
                  </a:cubicBezTo>
                  <a:cubicBezTo>
                    <a:pt x="97228" y="1571471"/>
                    <a:pt x="93662" y="1559330"/>
                    <a:pt x="93662" y="1541951"/>
                  </a:cubicBezTo>
                  <a:cubicBezTo>
                    <a:pt x="93662" y="1379829"/>
                    <a:pt x="93662" y="1379829"/>
                    <a:pt x="93662" y="1379829"/>
                  </a:cubicBezTo>
                  <a:cubicBezTo>
                    <a:pt x="93662" y="1346975"/>
                    <a:pt x="110065" y="1330549"/>
                    <a:pt x="143108" y="1330549"/>
                  </a:cubicBezTo>
                  <a:cubicBezTo>
                    <a:pt x="544381" y="1330549"/>
                    <a:pt x="544381" y="1330549"/>
                    <a:pt x="544381" y="1330549"/>
                  </a:cubicBezTo>
                  <a:cubicBezTo>
                    <a:pt x="594540" y="1330549"/>
                    <a:pt x="629961" y="1319836"/>
                    <a:pt x="651356" y="1298886"/>
                  </a:cubicBezTo>
                  <a:cubicBezTo>
                    <a:pt x="672275" y="1277698"/>
                    <a:pt x="682973" y="1242703"/>
                    <a:pt x="682973" y="1194137"/>
                  </a:cubicBezTo>
                  <a:cubicBezTo>
                    <a:pt x="682973" y="1145572"/>
                    <a:pt x="682973" y="1145572"/>
                    <a:pt x="682973" y="1145572"/>
                  </a:cubicBezTo>
                  <a:cubicBezTo>
                    <a:pt x="673464" y="1145572"/>
                    <a:pt x="673464" y="1145572"/>
                    <a:pt x="673464" y="1145572"/>
                  </a:cubicBezTo>
                  <a:cubicBezTo>
                    <a:pt x="633289" y="1145810"/>
                    <a:pt x="617599" y="1145572"/>
                    <a:pt x="581941" y="1145810"/>
                  </a:cubicBezTo>
                  <a:cubicBezTo>
                    <a:pt x="532970" y="1146048"/>
                    <a:pt x="492558" y="1145096"/>
                    <a:pt x="443587" y="1145810"/>
                  </a:cubicBezTo>
                  <a:cubicBezTo>
                    <a:pt x="366090" y="1144858"/>
                    <a:pt x="366090" y="1144858"/>
                    <a:pt x="366090" y="1144858"/>
                  </a:cubicBezTo>
                  <a:cubicBezTo>
                    <a:pt x="245566" y="1144858"/>
                    <a:pt x="154281" y="1111767"/>
                    <a:pt x="92473" y="1046060"/>
                  </a:cubicBezTo>
                  <a:cubicBezTo>
                    <a:pt x="30666" y="980116"/>
                    <a:pt x="0" y="885366"/>
                    <a:pt x="0" y="761572"/>
                  </a:cubicBezTo>
                  <a:cubicBezTo>
                    <a:pt x="0" y="383048"/>
                    <a:pt x="0" y="383048"/>
                    <a:pt x="0" y="383048"/>
                  </a:cubicBezTo>
                  <a:cubicBezTo>
                    <a:pt x="0" y="259492"/>
                    <a:pt x="33518" y="164503"/>
                    <a:pt x="100794" y="98797"/>
                  </a:cubicBezTo>
                  <a:cubicBezTo>
                    <a:pt x="168069" y="32853"/>
                    <a:pt x="263632" y="0"/>
                    <a:pt x="387247" y="0"/>
                  </a:cubicBezTo>
                  <a:close/>
                </a:path>
              </a:pathLst>
            </a:custGeom>
            <a:solidFill>
              <a:srgbClr val="A2C5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0F2E599E-68B4-4C0B-80B3-BA47DAB1BB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030662" y="2211388"/>
              <a:ext cx="8802663" cy="1647826"/>
            </a:xfrm>
            <a:custGeom>
              <a:avLst/>
              <a:gdLst>
                <a:gd name="connsiteX0" fmla="*/ 2498469 w 8802663"/>
                <a:gd name="connsiteY0" fmla="*/ 603250 h 1647826"/>
                <a:gd name="connsiteX1" fmla="*/ 2301875 w 8802663"/>
                <a:gd name="connsiteY1" fmla="*/ 804597 h 1647826"/>
                <a:gd name="connsiteX2" fmla="*/ 2301875 w 8802663"/>
                <a:gd name="connsiteY2" fmla="*/ 1297016 h 1647826"/>
                <a:gd name="connsiteX3" fmla="*/ 2498469 w 8802663"/>
                <a:gd name="connsiteY3" fmla="*/ 1498600 h 1647826"/>
                <a:gd name="connsiteX4" fmla="*/ 2662494 w 8802663"/>
                <a:gd name="connsiteY4" fmla="*/ 1498600 h 1647826"/>
                <a:gd name="connsiteX5" fmla="*/ 2859088 w 8802663"/>
                <a:gd name="connsiteY5" fmla="*/ 1297016 h 1647826"/>
                <a:gd name="connsiteX6" fmla="*/ 2859088 w 8802663"/>
                <a:gd name="connsiteY6" fmla="*/ 804597 h 1647826"/>
                <a:gd name="connsiteX7" fmla="*/ 2662494 w 8802663"/>
                <a:gd name="connsiteY7" fmla="*/ 603250 h 1647826"/>
                <a:gd name="connsiteX8" fmla="*/ 2498469 w 8802663"/>
                <a:gd name="connsiteY8" fmla="*/ 603250 h 1647826"/>
                <a:gd name="connsiteX9" fmla="*/ 5984257 w 8802663"/>
                <a:gd name="connsiteY9" fmla="*/ 601663 h 1647826"/>
                <a:gd name="connsiteX10" fmla="*/ 5789612 w 8802663"/>
                <a:gd name="connsiteY10" fmla="*/ 805935 h 1647826"/>
                <a:gd name="connsiteX11" fmla="*/ 5789612 w 8802663"/>
                <a:gd name="connsiteY11" fmla="*/ 1294329 h 1647826"/>
                <a:gd name="connsiteX12" fmla="*/ 5984257 w 8802663"/>
                <a:gd name="connsiteY12" fmla="*/ 1498601 h 1647826"/>
                <a:gd name="connsiteX13" fmla="*/ 6117748 w 8802663"/>
                <a:gd name="connsiteY13" fmla="*/ 1498601 h 1647826"/>
                <a:gd name="connsiteX14" fmla="*/ 6279555 w 8802663"/>
                <a:gd name="connsiteY14" fmla="*/ 1442349 h 1647826"/>
                <a:gd name="connsiteX15" fmla="*/ 6335712 w 8802663"/>
                <a:gd name="connsiteY15" fmla="*/ 1282650 h 1647826"/>
                <a:gd name="connsiteX16" fmla="*/ 6335712 w 8802663"/>
                <a:gd name="connsiteY16" fmla="*/ 622877 h 1647826"/>
                <a:gd name="connsiteX17" fmla="*/ 6312393 w 8802663"/>
                <a:gd name="connsiteY17" fmla="*/ 601663 h 1647826"/>
                <a:gd name="connsiteX18" fmla="*/ 5984257 w 8802663"/>
                <a:gd name="connsiteY18" fmla="*/ 601663 h 1647826"/>
                <a:gd name="connsiteX19" fmla="*/ 8626305 w 8802663"/>
                <a:gd name="connsiteY19" fmla="*/ 452438 h 1647826"/>
                <a:gd name="connsiteX20" fmla="*/ 8743366 w 8802663"/>
                <a:gd name="connsiteY20" fmla="*/ 452438 h 1647826"/>
                <a:gd name="connsiteX21" fmla="*/ 8768110 w 8802663"/>
                <a:gd name="connsiteY21" fmla="*/ 462909 h 1647826"/>
                <a:gd name="connsiteX22" fmla="*/ 8762162 w 8802663"/>
                <a:gd name="connsiteY22" fmla="*/ 490039 h 1647826"/>
                <a:gd name="connsiteX23" fmla="*/ 8417641 w 8802663"/>
                <a:gd name="connsiteY23" fmla="*/ 1024311 h 1647826"/>
                <a:gd name="connsiteX24" fmla="*/ 8417641 w 8802663"/>
                <a:gd name="connsiteY24" fmla="*/ 1033830 h 1647826"/>
                <a:gd name="connsiteX25" fmla="*/ 8797375 w 8802663"/>
                <a:gd name="connsiteY25" fmla="*/ 1610463 h 1647826"/>
                <a:gd name="connsiteX26" fmla="*/ 8799755 w 8802663"/>
                <a:gd name="connsiteY26" fmla="*/ 1637355 h 1647826"/>
                <a:gd name="connsiteX27" fmla="*/ 8773820 w 8802663"/>
                <a:gd name="connsiteY27" fmla="*/ 1647826 h 1647826"/>
                <a:gd name="connsiteX28" fmla="*/ 8663897 w 8802663"/>
                <a:gd name="connsiteY28" fmla="*/ 1647826 h 1647826"/>
                <a:gd name="connsiteX29" fmla="*/ 8598229 w 8802663"/>
                <a:gd name="connsiteY29" fmla="*/ 1614985 h 1647826"/>
                <a:gd name="connsiteX30" fmla="*/ 8237291 w 8802663"/>
                <a:gd name="connsiteY30" fmla="*/ 1057153 h 1647826"/>
                <a:gd name="connsiteX31" fmla="*/ 8237291 w 8802663"/>
                <a:gd name="connsiteY31" fmla="*/ 1007890 h 1647826"/>
                <a:gd name="connsiteX32" fmla="*/ 8570154 w 8802663"/>
                <a:gd name="connsiteY32" fmla="*/ 482900 h 1647826"/>
                <a:gd name="connsiteX33" fmla="*/ 8626305 w 8802663"/>
                <a:gd name="connsiteY33" fmla="*/ 452438 h 1647826"/>
                <a:gd name="connsiteX34" fmla="*/ 7587022 w 8802663"/>
                <a:gd name="connsiteY34" fmla="*/ 452438 h 1647826"/>
                <a:gd name="connsiteX35" fmla="*/ 7695281 w 8802663"/>
                <a:gd name="connsiteY35" fmla="*/ 452438 h 1647826"/>
                <a:gd name="connsiteX36" fmla="*/ 7727949 w 8802663"/>
                <a:gd name="connsiteY36" fmla="*/ 485280 h 1647826"/>
                <a:gd name="connsiteX37" fmla="*/ 7727949 w 8802663"/>
                <a:gd name="connsiteY37" fmla="*/ 1615223 h 1647826"/>
                <a:gd name="connsiteX38" fmla="*/ 7695281 w 8802663"/>
                <a:gd name="connsiteY38" fmla="*/ 1647826 h 1647826"/>
                <a:gd name="connsiteX39" fmla="*/ 7589406 w 8802663"/>
                <a:gd name="connsiteY39" fmla="*/ 1647826 h 1647826"/>
                <a:gd name="connsiteX40" fmla="*/ 7556499 w 8802663"/>
                <a:gd name="connsiteY40" fmla="*/ 1615223 h 1647826"/>
                <a:gd name="connsiteX41" fmla="*/ 7556499 w 8802663"/>
                <a:gd name="connsiteY41" fmla="*/ 485280 h 1647826"/>
                <a:gd name="connsiteX42" fmla="*/ 7587022 w 8802663"/>
                <a:gd name="connsiteY42" fmla="*/ 452438 h 1647826"/>
                <a:gd name="connsiteX43" fmla="*/ 5965379 w 8802663"/>
                <a:gd name="connsiteY43" fmla="*/ 452438 h 1647826"/>
                <a:gd name="connsiteX44" fmla="*/ 6474536 w 8802663"/>
                <a:gd name="connsiteY44" fmla="*/ 452438 h 1647826"/>
                <a:gd name="connsiteX45" fmla="*/ 6507162 w 8802663"/>
                <a:gd name="connsiteY45" fmla="*/ 485280 h 1647826"/>
                <a:gd name="connsiteX46" fmla="*/ 6507162 w 8802663"/>
                <a:gd name="connsiteY46" fmla="*/ 1615223 h 1647826"/>
                <a:gd name="connsiteX47" fmla="*/ 6474536 w 8802663"/>
                <a:gd name="connsiteY47" fmla="*/ 1647826 h 1647826"/>
                <a:gd name="connsiteX48" fmla="*/ 6368799 w 8802663"/>
                <a:gd name="connsiteY48" fmla="*/ 1647826 h 1647826"/>
                <a:gd name="connsiteX49" fmla="*/ 6335935 w 8802663"/>
                <a:gd name="connsiteY49" fmla="*/ 1615223 h 1647826"/>
                <a:gd name="connsiteX50" fmla="*/ 6335935 w 8802663"/>
                <a:gd name="connsiteY50" fmla="*/ 1523599 h 1647826"/>
                <a:gd name="connsiteX51" fmla="*/ 6326647 w 8802663"/>
                <a:gd name="connsiteY51" fmla="*/ 1523599 h 1647826"/>
                <a:gd name="connsiteX52" fmla="*/ 6087310 w 8802663"/>
                <a:gd name="connsiteY52" fmla="*/ 1647826 h 1647826"/>
                <a:gd name="connsiteX53" fmla="*/ 5965379 w 8802663"/>
                <a:gd name="connsiteY53" fmla="*/ 1647826 h 1647826"/>
                <a:gd name="connsiteX54" fmla="*/ 5711039 w 8802663"/>
                <a:gd name="connsiteY54" fmla="*/ 1556441 h 1647826"/>
                <a:gd name="connsiteX55" fmla="*/ 5618162 w 8802663"/>
                <a:gd name="connsiteY55" fmla="*/ 1301085 h 1647826"/>
                <a:gd name="connsiteX56" fmla="*/ 5618162 w 8802663"/>
                <a:gd name="connsiteY56" fmla="*/ 799417 h 1647826"/>
                <a:gd name="connsiteX57" fmla="*/ 5711039 w 8802663"/>
                <a:gd name="connsiteY57" fmla="*/ 543824 h 1647826"/>
                <a:gd name="connsiteX58" fmla="*/ 5965379 w 8802663"/>
                <a:gd name="connsiteY58" fmla="*/ 452438 h 1647826"/>
                <a:gd name="connsiteX59" fmla="*/ 3952348 w 8802663"/>
                <a:gd name="connsiteY59" fmla="*/ 452438 h 1647826"/>
                <a:gd name="connsiteX60" fmla="*/ 4057677 w 8802663"/>
                <a:gd name="connsiteY60" fmla="*/ 452438 h 1647826"/>
                <a:gd name="connsiteX61" fmla="*/ 4090488 w 8802663"/>
                <a:gd name="connsiteY61" fmla="*/ 485280 h 1647826"/>
                <a:gd name="connsiteX62" fmla="*/ 4090488 w 8802663"/>
                <a:gd name="connsiteY62" fmla="*/ 576665 h 1647826"/>
                <a:gd name="connsiteX63" fmla="*/ 4099761 w 8802663"/>
                <a:gd name="connsiteY63" fmla="*/ 576665 h 1647826"/>
                <a:gd name="connsiteX64" fmla="*/ 4347984 w 8802663"/>
                <a:gd name="connsiteY64" fmla="*/ 452438 h 1647826"/>
                <a:gd name="connsiteX65" fmla="*/ 4434767 w 8802663"/>
                <a:gd name="connsiteY65" fmla="*/ 452438 h 1647826"/>
                <a:gd name="connsiteX66" fmla="*/ 4720557 w 8802663"/>
                <a:gd name="connsiteY66" fmla="*/ 611887 h 1647826"/>
                <a:gd name="connsiteX67" fmla="*/ 4838725 w 8802663"/>
                <a:gd name="connsiteY67" fmla="*/ 493371 h 1647826"/>
                <a:gd name="connsiteX68" fmla="*/ 5008487 w 8802663"/>
                <a:gd name="connsiteY68" fmla="*/ 452438 h 1647826"/>
                <a:gd name="connsiteX69" fmla="*/ 5090515 w 8802663"/>
                <a:gd name="connsiteY69" fmla="*/ 452438 h 1647826"/>
                <a:gd name="connsiteX70" fmla="*/ 5338739 w 8802663"/>
                <a:gd name="connsiteY70" fmla="*/ 543824 h 1647826"/>
                <a:gd name="connsiteX71" fmla="*/ 5427662 w 8802663"/>
                <a:gd name="connsiteY71" fmla="*/ 799417 h 1647826"/>
                <a:gd name="connsiteX72" fmla="*/ 5427662 w 8802663"/>
                <a:gd name="connsiteY72" fmla="*/ 1614985 h 1647826"/>
                <a:gd name="connsiteX73" fmla="*/ 5394851 w 8802663"/>
                <a:gd name="connsiteY73" fmla="*/ 1647826 h 1647826"/>
                <a:gd name="connsiteX74" fmla="*/ 5289522 w 8802663"/>
                <a:gd name="connsiteY74" fmla="*/ 1647826 h 1647826"/>
                <a:gd name="connsiteX75" fmla="*/ 5256711 w 8802663"/>
                <a:gd name="connsiteY75" fmla="*/ 1614985 h 1647826"/>
                <a:gd name="connsiteX76" fmla="*/ 5256711 w 8802663"/>
                <a:gd name="connsiteY76" fmla="*/ 806319 h 1647826"/>
                <a:gd name="connsiteX77" fmla="*/ 5060082 w 8802663"/>
                <a:gd name="connsiteY77" fmla="*/ 602605 h 1647826"/>
                <a:gd name="connsiteX78" fmla="*/ 4982809 w 8802663"/>
                <a:gd name="connsiteY78" fmla="*/ 602605 h 1647826"/>
                <a:gd name="connsiteX79" fmla="*/ 4819942 w 8802663"/>
                <a:gd name="connsiteY79" fmla="*/ 662339 h 1647826"/>
                <a:gd name="connsiteX80" fmla="*/ 4762641 w 8802663"/>
                <a:gd name="connsiteY80" fmla="*/ 825119 h 1647826"/>
                <a:gd name="connsiteX81" fmla="*/ 4762641 w 8802663"/>
                <a:gd name="connsiteY81" fmla="*/ 1614985 h 1647826"/>
                <a:gd name="connsiteX82" fmla="*/ 4729830 w 8802663"/>
                <a:gd name="connsiteY82" fmla="*/ 1647826 h 1647826"/>
                <a:gd name="connsiteX83" fmla="*/ 4624502 w 8802663"/>
                <a:gd name="connsiteY83" fmla="*/ 1647826 h 1647826"/>
                <a:gd name="connsiteX84" fmla="*/ 4591690 w 8802663"/>
                <a:gd name="connsiteY84" fmla="*/ 1614985 h 1647826"/>
                <a:gd name="connsiteX85" fmla="*/ 4591690 w 8802663"/>
                <a:gd name="connsiteY85" fmla="*/ 806319 h 1647826"/>
                <a:gd name="connsiteX86" fmla="*/ 4394824 w 8802663"/>
                <a:gd name="connsiteY86" fmla="*/ 602605 h 1647826"/>
                <a:gd name="connsiteX87" fmla="*/ 4308278 w 8802663"/>
                <a:gd name="connsiteY87" fmla="*/ 602605 h 1647826"/>
                <a:gd name="connsiteX88" fmla="*/ 4146600 w 8802663"/>
                <a:gd name="connsiteY88" fmla="*/ 658769 h 1647826"/>
                <a:gd name="connsiteX89" fmla="*/ 4090488 w 8802663"/>
                <a:gd name="connsiteY89" fmla="*/ 818218 h 1647826"/>
                <a:gd name="connsiteX90" fmla="*/ 4090488 w 8802663"/>
                <a:gd name="connsiteY90" fmla="*/ 1614985 h 1647826"/>
                <a:gd name="connsiteX91" fmla="*/ 4057677 w 8802663"/>
                <a:gd name="connsiteY91" fmla="*/ 1647826 h 1647826"/>
                <a:gd name="connsiteX92" fmla="*/ 3952348 w 8802663"/>
                <a:gd name="connsiteY92" fmla="*/ 1647826 h 1647826"/>
                <a:gd name="connsiteX93" fmla="*/ 3919537 w 8802663"/>
                <a:gd name="connsiteY93" fmla="*/ 1614985 h 1647826"/>
                <a:gd name="connsiteX94" fmla="*/ 3919537 w 8802663"/>
                <a:gd name="connsiteY94" fmla="*/ 485280 h 1647826"/>
                <a:gd name="connsiteX95" fmla="*/ 3952348 w 8802663"/>
                <a:gd name="connsiteY95" fmla="*/ 452438 h 1647826"/>
                <a:gd name="connsiteX96" fmla="*/ 3247193 w 8802663"/>
                <a:gd name="connsiteY96" fmla="*/ 452438 h 1647826"/>
                <a:gd name="connsiteX97" fmla="*/ 3352536 w 8802663"/>
                <a:gd name="connsiteY97" fmla="*/ 452438 h 1647826"/>
                <a:gd name="connsiteX98" fmla="*/ 3385041 w 8802663"/>
                <a:gd name="connsiteY98" fmla="*/ 485280 h 1647826"/>
                <a:gd name="connsiteX99" fmla="*/ 3385041 w 8802663"/>
                <a:gd name="connsiteY99" fmla="*/ 579045 h 1647826"/>
                <a:gd name="connsiteX100" fmla="*/ 3394531 w 8802663"/>
                <a:gd name="connsiteY100" fmla="*/ 579045 h 1647826"/>
                <a:gd name="connsiteX101" fmla="*/ 3483267 w 8802663"/>
                <a:gd name="connsiteY101" fmla="*/ 490039 h 1647826"/>
                <a:gd name="connsiteX102" fmla="*/ 3637486 w 8802663"/>
                <a:gd name="connsiteY102" fmla="*/ 452438 h 1647826"/>
                <a:gd name="connsiteX103" fmla="*/ 3728831 w 8802663"/>
                <a:gd name="connsiteY103" fmla="*/ 452438 h 1647826"/>
                <a:gd name="connsiteX104" fmla="*/ 3759201 w 8802663"/>
                <a:gd name="connsiteY104" fmla="*/ 485280 h 1647826"/>
                <a:gd name="connsiteX105" fmla="*/ 3759201 w 8802663"/>
                <a:gd name="connsiteY105" fmla="*/ 571906 h 1647826"/>
                <a:gd name="connsiteX106" fmla="*/ 3752083 w 8802663"/>
                <a:gd name="connsiteY106" fmla="*/ 596656 h 1647826"/>
                <a:gd name="connsiteX107" fmla="*/ 3728831 w 8802663"/>
                <a:gd name="connsiteY107" fmla="*/ 602605 h 1647826"/>
                <a:gd name="connsiteX108" fmla="*/ 3602609 w 8802663"/>
                <a:gd name="connsiteY108" fmla="*/ 602605 h 1647826"/>
                <a:gd name="connsiteX109" fmla="*/ 3441272 w 8802663"/>
                <a:gd name="connsiteY109" fmla="*/ 665909 h 1647826"/>
                <a:gd name="connsiteX110" fmla="*/ 3385041 w 8802663"/>
                <a:gd name="connsiteY110" fmla="*/ 839160 h 1647826"/>
                <a:gd name="connsiteX111" fmla="*/ 3385041 w 8802663"/>
                <a:gd name="connsiteY111" fmla="*/ 1614985 h 1647826"/>
                <a:gd name="connsiteX112" fmla="*/ 3352536 w 8802663"/>
                <a:gd name="connsiteY112" fmla="*/ 1647826 h 1647826"/>
                <a:gd name="connsiteX113" fmla="*/ 3247193 w 8802663"/>
                <a:gd name="connsiteY113" fmla="*/ 1647826 h 1647826"/>
                <a:gd name="connsiteX114" fmla="*/ 3214688 w 8802663"/>
                <a:gd name="connsiteY114" fmla="*/ 1614985 h 1647826"/>
                <a:gd name="connsiteX115" fmla="*/ 3214688 w 8802663"/>
                <a:gd name="connsiteY115" fmla="*/ 485280 h 1647826"/>
                <a:gd name="connsiteX116" fmla="*/ 3247193 w 8802663"/>
                <a:gd name="connsiteY116" fmla="*/ 452438 h 1647826"/>
                <a:gd name="connsiteX117" fmla="*/ 2479749 w 8802663"/>
                <a:gd name="connsiteY117" fmla="*/ 452438 h 1647826"/>
                <a:gd name="connsiteX118" fmla="*/ 2680976 w 8802663"/>
                <a:gd name="connsiteY118" fmla="*/ 452438 h 1647826"/>
                <a:gd name="connsiteX119" fmla="*/ 2934946 w 8802663"/>
                <a:gd name="connsiteY119" fmla="*/ 543824 h 1647826"/>
                <a:gd name="connsiteX120" fmla="*/ 3027363 w 8802663"/>
                <a:gd name="connsiteY120" fmla="*/ 799417 h 1647826"/>
                <a:gd name="connsiteX121" fmla="*/ 3027363 w 8802663"/>
                <a:gd name="connsiteY121" fmla="*/ 1301085 h 1647826"/>
                <a:gd name="connsiteX122" fmla="*/ 2934946 w 8802663"/>
                <a:gd name="connsiteY122" fmla="*/ 1556441 h 1647826"/>
                <a:gd name="connsiteX123" fmla="*/ 2680976 w 8802663"/>
                <a:gd name="connsiteY123" fmla="*/ 1647826 h 1647826"/>
                <a:gd name="connsiteX124" fmla="*/ 2479749 w 8802663"/>
                <a:gd name="connsiteY124" fmla="*/ 1647826 h 1647826"/>
                <a:gd name="connsiteX125" fmla="*/ 2226017 w 8802663"/>
                <a:gd name="connsiteY125" fmla="*/ 1556441 h 1647826"/>
                <a:gd name="connsiteX126" fmla="*/ 2133600 w 8802663"/>
                <a:gd name="connsiteY126" fmla="*/ 1301085 h 1647826"/>
                <a:gd name="connsiteX127" fmla="*/ 2133600 w 8802663"/>
                <a:gd name="connsiteY127" fmla="*/ 799417 h 1647826"/>
                <a:gd name="connsiteX128" fmla="*/ 2226017 w 8802663"/>
                <a:gd name="connsiteY128" fmla="*/ 543824 h 1647826"/>
                <a:gd name="connsiteX129" fmla="*/ 2479749 w 8802663"/>
                <a:gd name="connsiteY129" fmla="*/ 452438 h 1647826"/>
                <a:gd name="connsiteX130" fmla="*/ 424918 w 8802663"/>
                <a:gd name="connsiteY130" fmla="*/ 452438 h 1647826"/>
                <a:gd name="connsiteX131" fmla="*/ 530229 w 8802663"/>
                <a:gd name="connsiteY131" fmla="*/ 452438 h 1647826"/>
                <a:gd name="connsiteX132" fmla="*/ 563034 w 8802663"/>
                <a:gd name="connsiteY132" fmla="*/ 485280 h 1647826"/>
                <a:gd name="connsiteX133" fmla="*/ 563034 w 8802663"/>
                <a:gd name="connsiteY133" fmla="*/ 576665 h 1647826"/>
                <a:gd name="connsiteX134" fmla="*/ 572305 w 8802663"/>
                <a:gd name="connsiteY134" fmla="*/ 576665 h 1647826"/>
                <a:gd name="connsiteX135" fmla="*/ 811216 w 8802663"/>
                <a:gd name="connsiteY135" fmla="*/ 452438 h 1647826"/>
                <a:gd name="connsiteX136" fmla="*/ 942437 w 8802663"/>
                <a:gd name="connsiteY136" fmla="*/ 452438 h 1647826"/>
                <a:gd name="connsiteX137" fmla="*/ 1190618 w 8802663"/>
                <a:gd name="connsiteY137" fmla="*/ 543824 h 1647826"/>
                <a:gd name="connsiteX138" fmla="*/ 1279525 w 8802663"/>
                <a:gd name="connsiteY138" fmla="*/ 799417 h 1647826"/>
                <a:gd name="connsiteX139" fmla="*/ 1279525 w 8802663"/>
                <a:gd name="connsiteY139" fmla="*/ 1614985 h 1647826"/>
                <a:gd name="connsiteX140" fmla="*/ 1246720 w 8802663"/>
                <a:gd name="connsiteY140" fmla="*/ 1647826 h 1647826"/>
                <a:gd name="connsiteX141" fmla="*/ 1141410 w 8802663"/>
                <a:gd name="connsiteY141" fmla="*/ 1647826 h 1647826"/>
                <a:gd name="connsiteX142" fmla="*/ 1108604 w 8802663"/>
                <a:gd name="connsiteY142" fmla="*/ 1614985 h 1647826"/>
                <a:gd name="connsiteX143" fmla="*/ 1108604 w 8802663"/>
                <a:gd name="connsiteY143" fmla="*/ 806319 h 1647826"/>
                <a:gd name="connsiteX144" fmla="*/ 912009 w 8802663"/>
                <a:gd name="connsiteY144" fmla="*/ 602605 h 1647826"/>
                <a:gd name="connsiteX145" fmla="*/ 780787 w 8802663"/>
                <a:gd name="connsiteY145" fmla="*/ 602605 h 1647826"/>
                <a:gd name="connsiteX146" fmla="*/ 619137 w 8802663"/>
                <a:gd name="connsiteY146" fmla="*/ 658769 h 1647826"/>
                <a:gd name="connsiteX147" fmla="*/ 563034 w 8802663"/>
                <a:gd name="connsiteY147" fmla="*/ 818218 h 1647826"/>
                <a:gd name="connsiteX148" fmla="*/ 563034 w 8802663"/>
                <a:gd name="connsiteY148" fmla="*/ 1614985 h 1647826"/>
                <a:gd name="connsiteX149" fmla="*/ 530229 w 8802663"/>
                <a:gd name="connsiteY149" fmla="*/ 1647826 h 1647826"/>
                <a:gd name="connsiteX150" fmla="*/ 424918 w 8802663"/>
                <a:gd name="connsiteY150" fmla="*/ 1647826 h 1647826"/>
                <a:gd name="connsiteX151" fmla="*/ 392113 w 8802663"/>
                <a:gd name="connsiteY151" fmla="*/ 1614985 h 1647826"/>
                <a:gd name="connsiteX152" fmla="*/ 392113 w 8802663"/>
                <a:gd name="connsiteY152" fmla="*/ 485280 h 1647826"/>
                <a:gd name="connsiteX153" fmla="*/ 424918 w 8802663"/>
                <a:gd name="connsiteY153" fmla="*/ 452438 h 1647826"/>
                <a:gd name="connsiteX154" fmla="*/ 30523 w 8802663"/>
                <a:gd name="connsiteY154" fmla="*/ 452438 h 1647826"/>
                <a:gd name="connsiteX155" fmla="*/ 138542 w 8802663"/>
                <a:gd name="connsiteY155" fmla="*/ 452438 h 1647826"/>
                <a:gd name="connsiteX156" fmla="*/ 171450 w 8802663"/>
                <a:gd name="connsiteY156" fmla="*/ 485280 h 1647826"/>
                <a:gd name="connsiteX157" fmla="*/ 171450 w 8802663"/>
                <a:gd name="connsiteY157" fmla="*/ 1615223 h 1647826"/>
                <a:gd name="connsiteX158" fmla="*/ 138542 w 8802663"/>
                <a:gd name="connsiteY158" fmla="*/ 1647826 h 1647826"/>
                <a:gd name="connsiteX159" fmla="*/ 32906 w 8802663"/>
                <a:gd name="connsiteY159" fmla="*/ 1647826 h 1647826"/>
                <a:gd name="connsiteX160" fmla="*/ 0 w 8802663"/>
                <a:gd name="connsiteY160" fmla="*/ 1615223 h 1647826"/>
                <a:gd name="connsiteX161" fmla="*/ 0 w 8802663"/>
                <a:gd name="connsiteY161" fmla="*/ 485280 h 1647826"/>
                <a:gd name="connsiteX162" fmla="*/ 30523 w 8802663"/>
                <a:gd name="connsiteY162" fmla="*/ 452438 h 1647826"/>
                <a:gd name="connsiteX163" fmla="*/ 6895122 w 8802663"/>
                <a:gd name="connsiteY163" fmla="*/ 196850 h 1647826"/>
                <a:gd name="connsiteX164" fmla="*/ 7000837 w 8802663"/>
                <a:gd name="connsiteY164" fmla="*/ 196850 h 1647826"/>
                <a:gd name="connsiteX165" fmla="*/ 7031313 w 8802663"/>
                <a:gd name="connsiteY165" fmla="*/ 229692 h 1647826"/>
                <a:gd name="connsiteX166" fmla="*/ 7031313 w 8802663"/>
                <a:gd name="connsiteY166" fmla="*/ 431262 h 1647826"/>
                <a:gd name="connsiteX167" fmla="*/ 7057028 w 8802663"/>
                <a:gd name="connsiteY167" fmla="*/ 452443 h 1647826"/>
                <a:gd name="connsiteX168" fmla="*/ 7305602 w 8802663"/>
                <a:gd name="connsiteY168" fmla="*/ 452443 h 1647826"/>
                <a:gd name="connsiteX169" fmla="*/ 7340840 w 8802663"/>
                <a:gd name="connsiteY169" fmla="*/ 485284 h 1647826"/>
                <a:gd name="connsiteX170" fmla="*/ 7340840 w 8802663"/>
                <a:gd name="connsiteY170" fmla="*/ 571909 h 1647826"/>
                <a:gd name="connsiteX171" fmla="*/ 7305602 w 8802663"/>
                <a:gd name="connsiteY171" fmla="*/ 602371 h 1647826"/>
                <a:gd name="connsiteX172" fmla="*/ 7057028 w 8802663"/>
                <a:gd name="connsiteY172" fmla="*/ 602371 h 1647826"/>
                <a:gd name="connsiteX173" fmla="*/ 7031313 w 8802663"/>
                <a:gd name="connsiteY173" fmla="*/ 623551 h 1647826"/>
                <a:gd name="connsiteX174" fmla="*/ 7031313 w 8802663"/>
                <a:gd name="connsiteY174" fmla="*/ 1298706 h 1647826"/>
                <a:gd name="connsiteX175" fmla="*/ 7237744 w 8802663"/>
                <a:gd name="connsiteY175" fmla="*/ 1497897 h 1647826"/>
                <a:gd name="connsiteX176" fmla="*/ 7329174 w 8802663"/>
                <a:gd name="connsiteY176" fmla="*/ 1497897 h 1647826"/>
                <a:gd name="connsiteX177" fmla="*/ 7364412 w 8802663"/>
                <a:gd name="connsiteY177" fmla="*/ 1530738 h 1647826"/>
                <a:gd name="connsiteX178" fmla="*/ 7364412 w 8802663"/>
                <a:gd name="connsiteY178" fmla="*/ 1617364 h 1647826"/>
                <a:gd name="connsiteX179" fmla="*/ 7329174 w 8802663"/>
                <a:gd name="connsiteY179" fmla="*/ 1647825 h 1647826"/>
                <a:gd name="connsiteX180" fmla="*/ 7216553 w 8802663"/>
                <a:gd name="connsiteY180" fmla="*/ 1647825 h 1647826"/>
                <a:gd name="connsiteX181" fmla="*/ 6958694 w 8802663"/>
                <a:gd name="connsiteY181" fmla="*/ 1557630 h 1647826"/>
                <a:gd name="connsiteX182" fmla="*/ 6862502 w 8802663"/>
                <a:gd name="connsiteY182" fmla="*/ 1305607 h 1647826"/>
                <a:gd name="connsiteX183" fmla="*/ 6862502 w 8802663"/>
                <a:gd name="connsiteY183" fmla="*/ 623551 h 1647826"/>
                <a:gd name="connsiteX184" fmla="*/ 6838931 w 8802663"/>
                <a:gd name="connsiteY184" fmla="*/ 602371 h 1647826"/>
                <a:gd name="connsiteX185" fmla="*/ 6709882 w 8802663"/>
                <a:gd name="connsiteY185" fmla="*/ 602371 h 1647826"/>
                <a:gd name="connsiteX186" fmla="*/ 6677024 w 8802663"/>
                <a:gd name="connsiteY186" fmla="*/ 571909 h 1647826"/>
                <a:gd name="connsiteX187" fmla="*/ 6677024 w 8802663"/>
                <a:gd name="connsiteY187" fmla="*/ 485284 h 1647826"/>
                <a:gd name="connsiteX188" fmla="*/ 6709882 w 8802663"/>
                <a:gd name="connsiteY188" fmla="*/ 452443 h 1647826"/>
                <a:gd name="connsiteX189" fmla="*/ 6838931 w 8802663"/>
                <a:gd name="connsiteY189" fmla="*/ 452443 h 1647826"/>
                <a:gd name="connsiteX190" fmla="*/ 6862502 w 8802663"/>
                <a:gd name="connsiteY190" fmla="*/ 431262 h 1647826"/>
                <a:gd name="connsiteX191" fmla="*/ 6862502 w 8802663"/>
                <a:gd name="connsiteY191" fmla="*/ 229692 h 1647826"/>
                <a:gd name="connsiteX192" fmla="*/ 6895122 w 8802663"/>
                <a:gd name="connsiteY192" fmla="*/ 196850 h 1647826"/>
                <a:gd name="connsiteX193" fmla="*/ 7587022 w 8802663"/>
                <a:gd name="connsiteY193" fmla="*/ 1588 h 1647826"/>
                <a:gd name="connsiteX194" fmla="*/ 7695281 w 8802663"/>
                <a:gd name="connsiteY194" fmla="*/ 1588 h 1647826"/>
                <a:gd name="connsiteX195" fmla="*/ 7727949 w 8802663"/>
                <a:gd name="connsiteY195" fmla="*/ 34577 h 1647826"/>
                <a:gd name="connsiteX196" fmla="*/ 7727949 w 8802663"/>
                <a:gd name="connsiteY196" fmla="*/ 255937 h 1647826"/>
                <a:gd name="connsiteX197" fmla="*/ 7695281 w 8802663"/>
                <a:gd name="connsiteY197" fmla="*/ 288926 h 1647826"/>
                <a:gd name="connsiteX198" fmla="*/ 7587022 w 8802663"/>
                <a:gd name="connsiteY198" fmla="*/ 288926 h 1647826"/>
                <a:gd name="connsiteX199" fmla="*/ 7556499 w 8802663"/>
                <a:gd name="connsiteY199" fmla="*/ 255937 h 1647826"/>
                <a:gd name="connsiteX200" fmla="*/ 7556499 w 8802663"/>
                <a:gd name="connsiteY200" fmla="*/ 34577 h 1647826"/>
                <a:gd name="connsiteX201" fmla="*/ 7587022 w 8802663"/>
                <a:gd name="connsiteY201" fmla="*/ 1588 h 1647826"/>
                <a:gd name="connsiteX202" fmla="*/ 30523 w 8802663"/>
                <a:gd name="connsiteY202" fmla="*/ 1588 h 1647826"/>
                <a:gd name="connsiteX203" fmla="*/ 138542 w 8802663"/>
                <a:gd name="connsiteY203" fmla="*/ 1588 h 1647826"/>
                <a:gd name="connsiteX204" fmla="*/ 171450 w 8802663"/>
                <a:gd name="connsiteY204" fmla="*/ 34577 h 1647826"/>
                <a:gd name="connsiteX205" fmla="*/ 171450 w 8802663"/>
                <a:gd name="connsiteY205" fmla="*/ 255937 h 1647826"/>
                <a:gd name="connsiteX206" fmla="*/ 138542 w 8802663"/>
                <a:gd name="connsiteY206" fmla="*/ 288926 h 1647826"/>
                <a:gd name="connsiteX207" fmla="*/ 30523 w 8802663"/>
                <a:gd name="connsiteY207" fmla="*/ 288926 h 1647826"/>
                <a:gd name="connsiteX208" fmla="*/ 0 w 8802663"/>
                <a:gd name="connsiteY208" fmla="*/ 255937 h 1647826"/>
                <a:gd name="connsiteX209" fmla="*/ 0 w 8802663"/>
                <a:gd name="connsiteY209" fmla="*/ 34577 h 1647826"/>
                <a:gd name="connsiteX210" fmla="*/ 30523 w 8802663"/>
                <a:gd name="connsiteY210" fmla="*/ 1588 h 1647826"/>
                <a:gd name="connsiteX211" fmla="*/ 7981519 w 8802663"/>
                <a:gd name="connsiteY211" fmla="*/ 0 h 1647826"/>
                <a:gd name="connsiteX212" fmla="*/ 8087394 w 8802663"/>
                <a:gd name="connsiteY212" fmla="*/ 0 h 1647826"/>
                <a:gd name="connsiteX213" fmla="*/ 8120062 w 8802663"/>
                <a:gd name="connsiteY213" fmla="*/ 32842 h 1647826"/>
                <a:gd name="connsiteX214" fmla="*/ 8120062 w 8802663"/>
                <a:gd name="connsiteY214" fmla="*/ 1614983 h 1647826"/>
                <a:gd name="connsiteX215" fmla="*/ 8087394 w 8802663"/>
                <a:gd name="connsiteY215" fmla="*/ 1647825 h 1647826"/>
                <a:gd name="connsiteX216" fmla="*/ 7981519 w 8802663"/>
                <a:gd name="connsiteY216" fmla="*/ 1647825 h 1647826"/>
                <a:gd name="connsiteX217" fmla="*/ 7948612 w 8802663"/>
                <a:gd name="connsiteY217" fmla="*/ 1614983 h 1647826"/>
                <a:gd name="connsiteX218" fmla="*/ 7948612 w 8802663"/>
                <a:gd name="connsiteY218" fmla="*/ 32842 h 1647826"/>
                <a:gd name="connsiteX219" fmla="*/ 7981519 w 8802663"/>
                <a:gd name="connsiteY219" fmla="*/ 0 h 1647826"/>
                <a:gd name="connsiteX220" fmla="*/ 1922541 w 8802663"/>
                <a:gd name="connsiteY220" fmla="*/ 0 h 1647826"/>
                <a:gd name="connsiteX221" fmla="*/ 2002314 w 8802663"/>
                <a:gd name="connsiteY221" fmla="*/ 0 h 1647826"/>
                <a:gd name="connsiteX222" fmla="*/ 2035175 w 8802663"/>
                <a:gd name="connsiteY222" fmla="*/ 30463 h 1647826"/>
                <a:gd name="connsiteX223" fmla="*/ 2035175 w 8802663"/>
                <a:gd name="connsiteY223" fmla="*/ 117328 h 1647826"/>
                <a:gd name="connsiteX224" fmla="*/ 2002314 w 8802663"/>
                <a:gd name="connsiteY224" fmla="*/ 149932 h 1647826"/>
                <a:gd name="connsiteX225" fmla="*/ 1943735 w 8802663"/>
                <a:gd name="connsiteY225" fmla="*/ 149932 h 1647826"/>
                <a:gd name="connsiteX226" fmla="*/ 1809908 w 8802663"/>
                <a:gd name="connsiteY226" fmla="*/ 198006 h 1647826"/>
                <a:gd name="connsiteX227" fmla="*/ 1772523 w 8802663"/>
                <a:gd name="connsiteY227" fmla="*/ 351746 h 1647826"/>
                <a:gd name="connsiteX228" fmla="*/ 1772523 w 8802663"/>
                <a:gd name="connsiteY228" fmla="*/ 431233 h 1647826"/>
                <a:gd name="connsiteX229" fmla="*/ 1793477 w 8802663"/>
                <a:gd name="connsiteY229" fmla="*/ 452414 h 1647826"/>
                <a:gd name="connsiteX230" fmla="*/ 1999932 w 8802663"/>
                <a:gd name="connsiteY230" fmla="*/ 452414 h 1647826"/>
                <a:gd name="connsiteX231" fmla="*/ 2035175 w 8802663"/>
                <a:gd name="connsiteY231" fmla="*/ 482877 h 1647826"/>
                <a:gd name="connsiteX232" fmla="*/ 2035175 w 8802663"/>
                <a:gd name="connsiteY232" fmla="*/ 569742 h 1647826"/>
                <a:gd name="connsiteX233" fmla="*/ 1999932 w 8802663"/>
                <a:gd name="connsiteY233" fmla="*/ 602346 h 1647826"/>
                <a:gd name="connsiteX234" fmla="*/ 1793477 w 8802663"/>
                <a:gd name="connsiteY234" fmla="*/ 602346 h 1647826"/>
                <a:gd name="connsiteX235" fmla="*/ 1772523 w 8802663"/>
                <a:gd name="connsiteY235" fmla="*/ 623527 h 1647826"/>
                <a:gd name="connsiteX236" fmla="*/ 1772523 w 8802663"/>
                <a:gd name="connsiteY236" fmla="*/ 1614983 h 1647826"/>
                <a:gd name="connsiteX237" fmla="*/ 1737280 w 8802663"/>
                <a:gd name="connsiteY237" fmla="*/ 1647825 h 1647826"/>
                <a:gd name="connsiteX238" fmla="*/ 1634172 w 8802663"/>
                <a:gd name="connsiteY238" fmla="*/ 1647825 h 1647826"/>
                <a:gd name="connsiteX239" fmla="*/ 1601311 w 8802663"/>
                <a:gd name="connsiteY239" fmla="*/ 1614983 h 1647826"/>
                <a:gd name="connsiteX240" fmla="*/ 1601311 w 8802663"/>
                <a:gd name="connsiteY240" fmla="*/ 623527 h 1647826"/>
                <a:gd name="connsiteX241" fmla="*/ 1577737 w 8802663"/>
                <a:gd name="connsiteY241" fmla="*/ 602346 h 1647826"/>
                <a:gd name="connsiteX242" fmla="*/ 1439386 w 8802663"/>
                <a:gd name="connsiteY242" fmla="*/ 602346 h 1647826"/>
                <a:gd name="connsiteX243" fmla="*/ 1406525 w 8802663"/>
                <a:gd name="connsiteY243" fmla="*/ 569742 h 1647826"/>
                <a:gd name="connsiteX244" fmla="*/ 1406525 w 8802663"/>
                <a:gd name="connsiteY244" fmla="*/ 482877 h 1647826"/>
                <a:gd name="connsiteX245" fmla="*/ 1439386 w 8802663"/>
                <a:gd name="connsiteY245" fmla="*/ 452414 h 1647826"/>
                <a:gd name="connsiteX246" fmla="*/ 1577737 w 8802663"/>
                <a:gd name="connsiteY246" fmla="*/ 452414 h 1647826"/>
                <a:gd name="connsiteX247" fmla="*/ 1601311 w 8802663"/>
                <a:gd name="connsiteY247" fmla="*/ 431233 h 1647826"/>
                <a:gd name="connsiteX248" fmla="*/ 1601311 w 8802663"/>
                <a:gd name="connsiteY248" fmla="*/ 344606 h 1647826"/>
                <a:gd name="connsiteX249" fmla="*/ 1683226 w 8802663"/>
                <a:gd name="connsiteY249" fmla="*/ 89007 h 1647826"/>
                <a:gd name="connsiteX250" fmla="*/ 1922541 w 8802663"/>
                <a:gd name="connsiteY250" fmla="*/ 0 h 164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8802663" h="1647826">
                  <a:moveTo>
                    <a:pt x="2498469" y="603250"/>
                  </a:moveTo>
                  <a:cubicBezTo>
                    <a:pt x="2367485" y="603250"/>
                    <a:pt x="2301875" y="670366"/>
                    <a:pt x="2301875" y="804597"/>
                  </a:cubicBezTo>
                  <a:cubicBezTo>
                    <a:pt x="2301875" y="1297016"/>
                    <a:pt x="2301875" y="1297016"/>
                    <a:pt x="2301875" y="1297016"/>
                  </a:cubicBezTo>
                  <a:cubicBezTo>
                    <a:pt x="2301875" y="1431485"/>
                    <a:pt x="2367485" y="1498600"/>
                    <a:pt x="2498469" y="1498600"/>
                  </a:cubicBezTo>
                  <a:cubicBezTo>
                    <a:pt x="2662494" y="1498600"/>
                    <a:pt x="2662494" y="1498600"/>
                    <a:pt x="2662494" y="1498600"/>
                  </a:cubicBezTo>
                  <a:cubicBezTo>
                    <a:pt x="2793478" y="1498600"/>
                    <a:pt x="2859088" y="1431485"/>
                    <a:pt x="2859088" y="1297016"/>
                  </a:cubicBezTo>
                  <a:cubicBezTo>
                    <a:pt x="2859088" y="804597"/>
                    <a:pt x="2859088" y="804597"/>
                    <a:pt x="2859088" y="804597"/>
                  </a:cubicBezTo>
                  <a:cubicBezTo>
                    <a:pt x="2859088" y="670366"/>
                    <a:pt x="2793478" y="603250"/>
                    <a:pt x="2662494" y="603250"/>
                  </a:cubicBezTo>
                  <a:cubicBezTo>
                    <a:pt x="2498469" y="603250"/>
                    <a:pt x="2498469" y="603250"/>
                    <a:pt x="2498469" y="603250"/>
                  </a:cubicBezTo>
                  <a:close/>
                  <a:moveTo>
                    <a:pt x="5984257" y="601663"/>
                  </a:moveTo>
                  <a:cubicBezTo>
                    <a:pt x="5854573" y="601663"/>
                    <a:pt x="5789612" y="669833"/>
                    <a:pt x="5789612" y="805935"/>
                  </a:cubicBezTo>
                  <a:cubicBezTo>
                    <a:pt x="5789612" y="1294329"/>
                    <a:pt x="5789612" y="1294329"/>
                    <a:pt x="5789612" y="1294329"/>
                  </a:cubicBezTo>
                  <a:cubicBezTo>
                    <a:pt x="5789612" y="1430431"/>
                    <a:pt x="5854573" y="1498601"/>
                    <a:pt x="5984257" y="1498601"/>
                  </a:cubicBezTo>
                  <a:cubicBezTo>
                    <a:pt x="6117748" y="1498601"/>
                    <a:pt x="6117748" y="1498601"/>
                    <a:pt x="6117748" y="1498601"/>
                  </a:cubicBezTo>
                  <a:cubicBezTo>
                    <a:pt x="6188182" y="1498601"/>
                    <a:pt x="6241959" y="1479771"/>
                    <a:pt x="6279555" y="1442349"/>
                  </a:cubicBezTo>
                  <a:cubicBezTo>
                    <a:pt x="6317152" y="1404688"/>
                    <a:pt x="6335712" y="1351535"/>
                    <a:pt x="6335712" y="1282650"/>
                  </a:cubicBezTo>
                  <a:cubicBezTo>
                    <a:pt x="6335712" y="622877"/>
                    <a:pt x="6335712" y="622877"/>
                    <a:pt x="6335712" y="622877"/>
                  </a:cubicBezTo>
                  <a:cubicBezTo>
                    <a:pt x="6335712" y="608814"/>
                    <a:pt x="6328098" y="601663"/>
                    <a:pt x="6312393" y="601663"/>
                  </a:cubicBezTo>
                  <a:cubicBezTo>
                    <a:pt x="5984257" y="601663"/>
                    <a:pt x="5984257" y="601663"/>
                    <a:pt x="5984257" y="601663"/>
                  </a:cubicBezTo>
                  <a:close/>
                  <a:moveTo>
                    <a:pt x="8626305" y="452438"/>
                  </a:moveTo>
                  <a:cubicBezTo>
                    <a:pt x="8743366" y="452438"/>
                    <a:pt x="8743366" y="452438"/>
                    <a:pt x="8743366" y="452438"/>
                  </a:cubicBezTo>
                  <a:cubicBezTo>
                    <a:pt x="8755976" y="452438"/>
                    <a:pt x="8764303" y="456008"/>
                    <a:pt x="8768110" y="462909"/>
                  </a:cubicBezTo>
                  <a:cubicBezTo>
                    <a:pt x="8771917" y="470049"/>
                    <a:pt x="8770014" y="479092"/>
                    <a:pt x="8762162" y="490039"/>
                  </a:cubicBezTo>
                  <a:cubicBezTo>
                    <a:pt x="8417641" y="1024311"/>
                    <a:pt x="8417641" y="1024311"/>
                    <a:pt x="8417641" y="1024311"/>
                  </a:cubicBezTo>
                  <a:cubicBezTo>
                    <a:pt x="8417641" y="1033830"/>
                    <a:pt x="8417641" y="1033830"/>
                    <a:pt x="8417641" y="1033830"/>
                  </a:cubicBezTo>
                  <a:cubicBezTo>
                    <a:pt x="8797375" y="1610463"/>
                    <a:pt x="8797375" y="1610463"/>
                    <a:pt x="8797375" y="1610463"/>
                  </a:cubicBezTo>
                  <a:cubicBezTo>
                    <a:pt x="8803561" y="1621410"/>
                    <a:pt x="8804275" y="1630453"/>
                    <a:pt x="8799755" y="1637355"/>
                  </a:cubicBezTo>
                  <a:cubicBezTo>
                    <a:pt x="8794996" y="1644494"/>
                    <a:pt x="8786431" y="1647826"/>
                    <a:pt x="8773820" y="1647826"/>
                  </a:cubicBezTo>
                  <a:cubicBezTo>
                    <a:pt x="8663897" y="1647826"/>
                    <a:pt x="8663897" y="1647826"/>
                    <a:pt x="8663897" y="1647826"/>
                  </a:cubicBezTo>
                  <a:cubicBezTo>
                    <a:pt x="8634156" y="1647826"/>
                    <a:pt x="8612267" y="1637117"/>
                    <a:pt x="8598229" y="1614985"/>
                  </a:cubicBezTo>
                  <a:cubicBezTo>
                    <a:pt x="8237291" y="1057153"/>
                    <a:pt x="8237291" y="1057153"/>
                    <a:pt x="8237291" y="1057153"/>
                  </a:cubicBezTo>
                  <a:cubicBezTo>
                    <a:pt x="8228012" y="1041684"/>
                    <a:pt x="8228012" y="1025263"/>
                    <a:pt x="8237291" y="1007890"/>
                  </a:cubicBezTo>
                  <a:cubicBezTo>
                    <a:pt x="8570154" y="482900"/>
                    <a:pt x="8570154" y="482900"/>
                    <a:pt x="8570154" y="482900"/>
                  </a:cubicBezTo>
                  <a:cubicBezTo>
                    <a:pt x="8579433" y="462671"/>
                    <a:pt x="8598229" y="452438"/>
                    <a:pt x="8626305" y="452438"/>
                  </a:cubicBezTo>
                  <a:close/>
                  <a:moveTo>
                    <a:pt x="7587022" y="452438"/>
                  </a:moveTo>
                  <a:cubicBezTo>
                    <a:pt x="7695281" y="452438"/>
                    <a:pt x="7695281" y="452438"/>
                    <a:pt x="7695281" y="452438"/>
                  </a:cubicBezTo>
                  <a:cubicBezTo>
                    <a:pt x="7716980" y="452438"/>
                    <a:pt x="7727949" y="463385"/>
                    <a:pt x="7727949" y="485280"/>
                  </a:cubicBezTo>
                  <a:cubicBezTo>
                    <a:pt x="7727949" y="1615223"/>
                    <a:pt x="7727949" y="1615223"/>
                    <a:pt x="7727949" y="1615223"/>
                  </a:cubicBezTo>
                  <a:cubicBezTo>
                    <a:pt x="7727949" y="1637117"/>
                    <a:pt x="7716980" y="1647826"/>
                    <a:pt x="7695281" y="1647826"/>
                  </a:cubicBezTo>
                  <a:cubicBezTo>
                    <a:pt x="7589406" y="1647826"/>
                    <a:pt x="7589406" y="1647826"/>
                    <a:pt x="7589406" y="1647826"/>
                  </a:cubicBezTo>
                  <a:cubicBezTo>
                    <a:pt x="7567468" y="1647826"/>
                    <a:pt x="7556499" y="1637117"/>
                    <a:pt x="7556499" y="1615223"/>
                  </a:cubicBezTo>
                  <a:cubicBezTo>
                    <a:pt x="7556499" y="485280"/>
                    <a:pt x="7556499" y="485280"/>
                    <a:pt x="7556499" y="485280"/>
                  </a:cubicBezTo>
                  <a:cubicBezTo>
                    <a:pt x="7556499" y="463385"/>
                    <a:pt x="7566753" y="452438"/>
                    <a:pt x="7587022" y="452438"/>
                  </a:cubicBezTo>
                  <a:close/>
                  <a:moveTo>
                    <a:pt x="5965379" y="452438"/>
                  </a:moveTo>
                  <a:cubicBezTo>
                    <a:pt x="6474536" y="452438"/>
                    <a:pt x="6474536" y="452438"/>
                    <a:pt x="6474536" y="452438"/>
                  </a:cubicBezTo>
                  <a:cubicBezTo>
                    <a:pt x="6496207" y="452438"/>
                    <a:pt x="6507162" y="463385"/>
                    <a:pt x="6507162" y="485280"/>
                  </a:cubicBezTo>
                  <a:cubicBezTo>
                    <a:pt x="6507162" y="1615223"/>
                    <a:pt x="6507162" y="1615223"/>
                    <a:pt x="6507162" y="1615223"/>
                  </a:cubicBezTo>
                  <a:cubicBezTo>
                    <a:pt x="6507162" y="1637117"/>
                    <a:pt x="6496207" y="1647826"/>
                    <a:pt x="6474536" y="1647826"/>
                  </a:cubicBezTo>
                  <a:cubicBezTo>
                    <a:pt x="6368799" y="1647826"/>
                    <a:pt x="6368799" y="1647826"/>
                    <a:pt x="6368799" y="1647826"/>
                  </a:cubicBezTo>
                  <a:cubicBezTo>
                    <a:pt x="6346890" y="1647826"/>
                    <a:pt x="6335935" y="1637117"/>
                    <a:pt x="6335935" y="1615223"/>
                  </a:cubicBezTo>
                  <a:cubicBezTo>
                    <a:pt x="6335935" y="1523599"/>
                    <a:pt x="6335935" y="1523599"/>
                    <a:pt x="6335935" y="1523599"/>
                  </a:cubicBezTo>
                  <a:cubicBezTo>
                    <a:pt x="6326647" y="1523599"/>
                    <a:pt x="6326647" y="1523599"/>
                    <a:pt x="6326647" y="1523599"/>
                  </a:cubicBezTo>
                  <a:cubicBezTo>
                    <a:pt x="6287591" y="1606417"/>
                    <a:pt x="6207812" y="1647826"/>
                    <a:pt x="6087310" y="1647826"/>
                  </a:cubicBezTo>
                  <a:cubicBezTo>
                    <a:pt x="5965379" y="1647826"/>
                    <a:pt x="5965379" y="1647826"/>
                    <a:pt x="5965379" y="1647826"/>
                  </a:cubicBezTo>
                  <a:cubicBezTo>
                    <a:pt x="5857499" y="1647826"/>
                    <a:pt x="5772719" y="1617364"/>
                    <a:pt x="5711039" y="1556441"/>
                  </a:cubicBezTo>
                  <a:cubicBezTo>
                    <a:pt x="5649121" y="1495517"/>
                    <a:pt x="5618162" y="1410319"/>
                    <a:pt x="5618162" y="1301085"/>
                  </a:cubicBezTo>
                  <a:cubicBezTo>
                    <a:pt x="5618162" y="799417"/>
                    <a:pt x="5618162" y="799417"/>
                    <a:pt x="5618162" y="799417"/>
                  </a:cubicBezTo>
                  <a:cubicBezTo>
                    <a:pt x="5618162" y="689945"/>
                    <a:pt x="5649121" y="604747"/>
                    <a:pt x="5711039" y="543824"/>
                  </a:cubicBezTo>
                  <a:cubicBezTo>
                    <a:pt x="5772719" y="482900"/>
                    <a:pt x="5857499" y="452438"/>
                    <a:pt x="5965379" y="452438"/>
                  </a:cubicBezTo>
                  <a:close/>
                  <a:moveTo>
                    <a:pt x="3952348" y="452438"/>
                  </a:moveTo>
                  <a:cubicBezTo>
                    <a:pt x="4057677" y="452438"/>
                    <a:pt x="4057677" y="452438"/>
                    <a:pt x="4057677" y="452438"/>
                  </a:cubicBezTo>
                  <a:cubicBezTo>
                    <a:pt x="4079551" y="452438"/>
                    <a:pt x="4090488" y="463385"/>
                    <a:pt x="4090488" y="485280"/>
                  </a:cubicBezTo>
                  <a:cubicBezTo>
                    <a:pt x="4090488" y="576665"/>
                    <a:pt x="4090488" y="576665"/>
                    <a:pt x="4090488" y="576665"/>
                  </a:cubicBezTo>
                  <a:cubicBezTo>
                    <a:pt x="4099761" y="576665"/>
                    <a:pt x="4099761" y="576665"/>
                    <a:pt x="4099761" y="576665"/>
                  </a:cubicBezTo>
                  <a:cubicBezTo>
                    <a:pt x="4143509" y="493847"/>
                    <a:pt x="4226250" y="452438"/>
                    <a:pt x="4347984" y="452438"/>
                  </a:cubicBezTo>
                  <a:cubicBezTo>
                    <a:pt x="4434767" y="452438"/>
                    <a:pt x="4434767" y="452438"/>
                    <a:pt x="4434767" y="452438"/>
                  </a:cubicBezTo>
                  <a:cubicBezTo>
                    <a:pt x="4571956" y="452438"/>
                    <a:pt x="4667299" y="505508"/>
                    <a:pt x="4720557" y="611887"/>
                  </a:cubicBezTo>
                  <a:cubicBezTo>
                    <a:pt x="4745285" y="560244"/>
                    <a:pt x="4784753" y="520739"/>
                    <a:pt x="4838725" y="493371"/>
                  </a:cubicBezTo>
                  <a:cubicBezTo>
                    <a:pt x="4892460" y="466241"/>
                    <a:pt x="4949047" y="452438"/>
                    <a:pt x="5008487" y="452438"/>
                  </a:cubicBezTo>
                  <a:cubicBezTo>
                    <a:pt x="5090515" y="452438"/>
                    <a:pt x="5090515" y="452438"/>
                    <a:pt x="5090515" y="452438"/>
                  </a:cubicBezTo>
                  <a:cubicBezTo>
                    <a:pt x="5196557" y="452438"/>
                    <a:pt x="5279299" y="482900"/>
                    <a:pt x="5338739" y="543824"/>
                  </a:cubicBezTo>
                  <a:cubicBezTo>
                    <a:pt x="5397942" y="604747"/>
                    <a:pt x="5427662" y="689945"/>
                    <a:pt x="5427662" y="799417"/>
                  </a:cubicBezTo>
                  <a:cubicBezTo>
                    <a:pt x="5427662" y="1614985"/>
                    <a:pt x="5427662" y="1614985"/>
                    <a:pt x="5427662" y="1614985"/>
                  </a:cubicBezTo>
                  <a:cubicBezTo>
                    <a:pt x="5427662" y="1637117"/>
                    <a:pt x="5416725" y="1647826"/>
                    <a:pt x="5394851" y="1647826"/>
                  </a:cubicBezTo>
                  <a:cubicBezTo>
                    <a:pt x="5289522" y="1647826"/>
                    <a:pt x="5289522" y="1647826"/>
                    <a:pt x="5289522" y="1647826"/>
                  </a:cubicBezTo>
                  <a:cubicBezTo>
                    <a:pt x="5267648" y="1647826"/>
                    <a:pt x="5256711" y="1637117"/>
                    <a:pt x="5256711" y="1614985"/>
                  </a:cubicBezTo>
                  <a:cubicBezTo>
                    <a:pt x="5256711" y="806319"/>
                    <a:pt x="5256711" y="806319"/>
                    <a:pt x="5256711" y="806319"/>
                  </a:cubicBezTo>
                  <a:cubicBezTo>
                    <a:pt x="5256711" y="670430"/>
                    <a:pt x="5191089" y="602605"/>
                    <a:pt x="5060082" y="602605"/>
                  </a:cubicBezTo>
                  <a:cubicBezTo>
                    <a:pt x="4982809" y="602605"/>
                    <a:pt x="4982809" y="602605"/>
                    <a:pt x="4982809" y="602605"/>
                  </a:cubicBezTo>
                  <a:cubicBezTo>
                    <a:pt x="4912432" y="602605"/>
                    <a:pt x="4858222" y="622358"/>
                    <a:pt x="4819942" y="662339"/>
                  </a:cubicBezTo>
                  <a:cubicBezTo>
                    <a:pt x="4781662" y="702082"/>
                    <a:pt x="4762641" y="756342"/>
                    <a:pt x="4762641" y="825119"/>
                  </a:cubicBezTo>
                  <a:cubicBezTo>
                    <a:pt x="4762641" y="1614985"/>
                    <a:pt x="4762641" y="1614985"/>
                    <a:pt x="4762641" y="1614985"/>
                  </a:cubicBezTo>
                  <a:cubicBezTo>
                    <a:pt x="4762641" y="1637117"/>
                    <a:pt x="4751704" y="1647826"/>
                    <a:pt x="4729830" y="1647826"/>
                  </a:cubicBezTo>
                  <a:cubicBezTo>
                    <a:pt x="4624502" y="1647826"/>
                    <a:pt x="4624502" y="1647826"/>
                    <a:pt x="4624502" y="1647826"/>
                  </a:cubicBezTo>
                  <a:cubicBezTo>
                    <a:pt x="4602628" y="1647826"/>
                    <a:pt x="4591690" y="1637117"/>
                    <a:pt x="4591690" y="1614985"/>
                  </a:cubicBezTo>
                  <a:cubicBezTo>
                    <a:pt x="4591690" y="806319"/>
                    <a:pt x="4591690" y="806319"/>
                    <a:pt x="4591690" y="806319"/>
                  </a:cubicBezTo>
                  <a:cubicBezTo>
                    <a:pt x="4591690" y="670430"/>
                    <a:pt x="4526068" y="602605"/>
                    <a:pt x="4394824" y="602605"/>
                  </a:cubicBezTo>
                  <a:cubicBezTo>
                    <a:pt x="4308278" y="602605"/>
                    <a:pt x="4308278" y="602605"/>
                    <a:pt x="4308278" y="602605"/>
                  </a:cubicBezTo>
                  <a:cubicBezTo>
                    <a:pt x="4237901" y="602605"/>
                    <a:pt x="4184166" y="621168"/>
                    <a:pt x="4146600" y="658769"/>
                  </a:cubicBezTo>
                  <a:cubicBezTo>
                    <a:pt x="4109271" y="696371"/>
                    <a:pt x="4090488" y="749441"/>
                    <a:pt x="4090488" y="818218"/>
                  </a:cubicBezTo>
                  <a:cubicBezTo>
                    <a:pt x="4090488" y="1614985"/>
                    <a:pt x="4090488" y="1614985"/>
                    <a:pt x="4090488" y="1614985"/>
                  </a:cubicBezTo>
                  <a:cubicBezTo>
                    <a:pt x="4090488" y="1637117"/>
                    <a:pt x="4079551" y="1647826"/>
                    <a:pt x="4057677" y="1647826"/>
                  </a:cubicBezTo>
                  <a:cubicBezTo>
                    <a:pt x="3952348" y="1647826"/>
                    <a:pt x="3952348" y="1647826"/>
                    <a:pt x="3952348" y="1647826"/>
                  </a:cubicBezTo>
                  <a:cubicBezTo>
                    <a:pt x="3930474" y="1647826"/>
                    <a:pt x="3919537" y="1637117"/>
                    <a:pt x="3919537" y="1614985"/>
                  </a:cubicBezTo>
                  <a:cubicBezTo>
                    <a:pt x="3919537" y="485280"/>
                    <a:pt x="3919537" y="485280"/>
                    <a:pt x="3919537" y="485280"/>
                  </a:cubicBezTo>
                  <a:cubicBezTo>
                    <a:pt x="3919537" y="463385"/>
                    <a:pt x="3930474" y="452438"/>
                    <a:pt x="3952348" y="452438"/>
                  </a:cubicBezTo>
                  <a:close/>
                  <a:moveTo>
                    <a:pt x="3247193" y="452438"/>
                  </a:moveTo>
                  <a:cubicBezTo>
                    <a:pt x="3352536" y="452438"/>
                    <a:pt x="3352536" y="452438"/>
                    <a:pt x="3352536" y="452438"/>
                  </a:cubicBezTo>
                  <a:cubicBezTo>
                    <a:pt x="3374127" y="452438"/>
                    <a:pt x="3385041" y="463385"/>
                    <a:pt x="3385041" y="485280"/>
                  </a:cubicBezTo>
                  <a:cubicBezTo>
                    <a:pt x="3385041" y="579045"/>
                    <a:pt x="3385041" y="579045"/>
                    <a:pt x="3385041" y="579045"/>
                  </a:cubicBezTo>
                  <a:cubicBezTo>
                    <a:pt x="3394531" y="579045"/>
                    <a:pt x="3394531" y="579045"/>
                    <a:pt x="3394531" y="579045"/>
                  </a:cubicBezTo>
                  <a:cubicBezTo>
                    <a:pt x="3410190" y="544775"/>
                    <a:pt x="3439611" y="515028"/>
                    <a:pt x="3483267" y="490039"/>
                  </a:cubicBezTo>
                  <a:cubicBezTo>
                    <a:pt x="3526923" y="465051"/>
                    <a:pt x="3578408" y="452438"/>
                    <a:pt x="3637486" y="452438"/>
                  </a:cubicBezTo>
                  <a:cubicBezTo>
                    <a:pt x="3728831" y="452438"/>
                    <a:pt x="3728831" y="452438"/>
                    <a:pt x="3728831" y="452438"/>
                  </a:cubicBezTo>
                  <a:cubicBezTo>
                    <a:pt x="3748998" y="452438"/>
                    <a:pt x="3759201" y="463385"/>
                    <a:pt x="3759201" y="485280"/>
                  </a:cubicBezTo>
                  <a:cubicBezTo>
                    <a:pt x="3759201" y="571906"/>
                    <a:pt x="3759201" y="571906"/>
                    <a:pt x="3759201" y="571906"/>
                  </a:cubicBezTo>
                  <a:cubicBezTo>
                    <a:pt x="3759201" y="582853"/>
                    <a:pt x="3756828" y="591182"/>
                    <a:pt x="3752083" y="596656"/>
                  </a:cubicBezTo>
                  <a:cubicBezTo>
                    <a:pt x="3747338" y="602129"/>
                    <a:pt x="3739508" y="604033"/>
                    <a:pt x="3728831" y="602605"/>
                  </a:cubicBezTo>
                  <a:cubicBezTo>
                    <a:pt x="3602609" y="602605"/>
                    <a:pt x="3602609" y="602605"/>
                    <a:pt x="3602609" y="602605"/>
                  </a:cubicBezTo>
                  <a:cubicBezTo>
                    <a:pt x="3532380" y="602605"/>
                    <a:pt x="3478759" y="623548"/>
                    <a:pt x="3441272" y="665909"/>
                  </a:cubicBezTo>
                  <a:cubicBezTo>
                    <a:pt x="3403784" y="708032"/>
                    <a:pt x="3385041" y="765862"/>
                    <a:pt x="3385041" y="839160"/>
                  </a:cubicBezTo>
                  <a:cubicBezTo>
                    <a:pt x="3385041" y="1614985"/>
                    <a:pt x="3385041" y="1614985"/>
                    <a:pt x="3385041" y="1614985"/>
                  </a:cubicBezTo>
                  <a:cubicBezTo>
                    <a:pt x="3385041" y="1637117"/>
                    <a:pt x="3374127" y="1647826"/>
                    <a:pt x="3352536" y="1647826"/>
                  </a:cubicBezTo>
                  <a:cubicBezTo>
                    <a:pt x="3247193" y="1647826"/>
                    <a:pt x="3247193" y="1647826"/>
                    <a:pt x="3247193" y="1647826"/>
                  </a:cubicBezTo>
                  <a:cubicBezTo>
                    <a:pt x="3225365" y="1647826"/>
                    <a:pt x="3214688" y="1637117"/>
                    <a:pt x="3214688" y="1614985"/>
                  </a:cubicBezTo>
                  <a:cubicBezTo>
                    <a:pt x="3214688" y="485280"/>
                    <a:pt x="3214688" y="485280"/>
                    <a:pt x="3214688" y="485280"/>
                  </a:cubicBezTo>
                  <a:cubicBezTo>
                    <a:pt x="3214688" y="463385"/>
                    <a:pt x="3225365" y="452438"/>
                    <a:pt x="3247193" y="452438"/>
                  </a:cubicBezTo>
                  <a:close/>
                  <a:moveTo>
                    <a:pt x="2479749" y="452438"/>
                  </a:moveTo>
                  <a:cubicBezTo>
                    <a:pt x="2680976" y="452438"/>
                    <a:pt x="2680976" y="452438"/>
                    <a:pt x="2680976" y="452438"/>
                  </a:cubicBezTo>
                  <a:cubicBezTo>
                    <a:pt x="2788598" y="452438"/>
                    <a:pt x="2873413" y="482900"/>
                    <a:pt x="2934946" y="543824"/>
                  </a:cubicBezTo>
                  <a:cubicBezTo>
                    <a:pt x="2996478" y="604747"/>
                    <a:pt x="3027363" y="689945"/>
                    <a:pt x="3027363" y="799417"/>
                  </a:cubicBezTo>
                  <a:cubicBezTo>
                    <a:pt x="3027363" y="1301085"/>
                    <a:pt x="3027363" y="1301085"/>
                    <a:pt x="3027363" y="1301085"/>
                  </a:cubicBezTo>
                  <a:cubicBezTo>
                    <a:pt x="3027363" y="1410319"/>
                    <a:pt x="2996478" y="1495517"/>
                    <a:pt x="2934946" y="1556441"/>
                  </a:cubicBezTo>
                  <a:cubicBezTo>
                    <a:pt x="2873413" y="1617364"/>
                    <a:pt x="2788598" y="1647826"/>
                    <a:pt x="2680976" y="1647826"/>
                  </a:cubicBezTo>
                  <a:cubicBezTo>
                    <a:pt x="2479749" y="1647826"/>
                    <a:pt x="2479749" y="1647826"/>
                    <a:pt x="2479749" y="1647826"/>
                  </a:cubicBezTo>
                  <a:cubicBezTo>
                    <a:pt x="2372127" y="1647826"/>
                    <a:pt x="2287550" y="1617364"/>
                    <a:pt x="2226017" y="1556441"/>
                  </a:cubicBezTo>
                  <a:cubicBezTo>
                    <a:pt x="2164247" y="1495517"/>
                    <a:pt x="2133600" y="1410319"/>
                    <a:pt x="2133600" y="1301085"/>
                  </a:cubicBezTo>
                  <a:cubicBezTo>
                    <a:pt x="2133600" y="799417"/>
                    <a:pt x="2133600" y="799417"/>
                    <a:pt x="2133600" y="799417"/>
                  </a:cubicBezTo>
                  <a:cubicBezTo>
                    <a:pt x="2133600" y="689945"/>
                    <a:pt x="2164247" y="604747"/>
                    <a:pt x="2226017" y="543824"/>
                  </a:cubicBezTo>
                  <a:cubicBezTo>
                    <a:pt x="2287550" y="482900"/>
                    <a:pt x="2372127" y="452438"/>
                    <a:pt x="2479749" y="452438"/>
                  </a:cubicBezTo>
                  <a:close/>
                  <a:moveTo>
                    <a:pt x="424918" y="452438"/>
                  </a:moveTo>
                  <a:cubicBezTo>
                    <a:pt x="530229" y="452438"/>
                    <a:pt x="530229" y="452438"/>
                    <a:pt x="530229" y="452438"/>
                  </a:cubicBezTo>
                  <a:cubicBezTo>
                    <a:pt x="552099" y="452438"/>
                    <a:pt x="563034" y="463385"/>
                    <a:pt x="563034" y="485280"/>
                  </a:cubicBezTo>
                  <a:cubicBezTo>
                    <a:pt x="563034" y="576665"/>
                    <a:pt x="563034" y="576665"/>
                    <a:pt x="563034" y="576665"/>
                  </a:cubicBezTo>
                  <a:cubicBezTo>
                    <a:pt x="572305" y="576665"/>
                    <a:pt x="572305" y="576665"/>
                    <a:pt x="572305" y="576665"/>
                  </a:cubicBezTo>
                  <a:cubicBezTo>
                    <a:pt x="611292" y="493847"/>
                    <a:pt x="690929" y="452438"/>
                    <a:pt x="811216" y="452438"/>
                  </a:cubicBezTo>
                  <a:cubicBezTo>
                    <a:pt x="942437" y="452438"/>
                    <a:pt x="942437" y="452438"/>
                    <a:pt x="942437" y="452438"/>
                  </a:cubicBezTo>
                  <a:cubicBezTo>
                    <a:pt x="1048461" y="452438"/>
                    <a:pt x="1131187" y="482900"/>
                    <a:pt x="1190618" y="543824"/>
                  </a:cubicBezTo>
                  <a:cubicBezTo>
                    <a:pt x="1249811" y="604747"/>
                    <a:pt x="1279525" y="689945"/>
                    <a:pt x="1279525" y="799417"/>
                  </a:cubicBezTo>
                  <a:cubicBezTo>
                    <a:pt x="1279525" y="1614985"/>
                    <a:pt x="1279525" y="1614985"/>
                    <a:pt x="1279525" y="1614985"/>
                  </a:cubicBezTo>
                  <a:cubicBezTo>
                    <a:pt x="1279525" y="1637117"/>
                    <a:pt x="1268591" y="1647826"/>
                    <a:pt x="1246720" y="1647826"/>
                  </a:cubicBezTo>
                  <a:cubicBezTo>
                    <a:pt x="1141410" y="1647826"/>
                    <a:pt x="1141410" y="1647826"/>
                    <a:pt x="1141410" y="1647826"/>
                  </a:cubicBezTo>
                  <a:cubicBezTo>
                    <a:pt x="1119539" y="1647826"/>
                    <a:pt x="1108604" y="1637117"/>
                    <a:pt x="1108604" y="1614985"/>
                  </a:cubicBezTo>
                  <a:cubicBezTo>
                    <a:pt x="1108604" y="806319"/>
                    <a:pt x="1108604" y="806319"/>
                    <a:pt x="1108604" y="806319"/>
                  </a:cubicBezTo>
                  <a:cubicBezTo>
                    <a:pt x="1108604" y="670430"/>
                    <a:pt x="1042993" y="602605"/>
                    <a:pt x="912009" y="602605"/>
                  </a:cubicBezTo>
                  <a:cubicBezTo>
                    <a:pt x="780787" y="602605"/>
                    <a:pt x="780787" y="602605"/>
                    <a:pt x="780787" y="602605"/>
                  </a:cubicBezTo>
                  <a:cubicBezTo>
                    <a:pt x="710421" y="602605"/>
                    <a:pt x="656696" y="621168"/>
                    <a:pt x="619137" y="658769"/>
                  </a:cubicBezTo>
                  <a:cubicBezTo>
                    <a:pt x="581815" y="696371"/>
                    <a:pt x="563034" y="749441"/>
                    <a:pt x="563034" y="818218"/>
                  </a:cubicBezTo>
                  <a:cubicBezTo>
                    <a:pt x="563034" y="1614985"/>
                    <a:pt x="563034" y="1614985"/>
                    <a:pt x="563034" y="1614985"/>
                  </a:cubicBezTo>
                  <a:cubicBezTo>
                    <a:pt x="563034" y="1637117"/>
                    <a:pt x="552099" y="1647826"/>
                    <a:pt x="530229" y="1647826"/>
                  </a:cubicBezTo>
                  <a:cubicBezTo>
                    <a:pt x="424918" y="1647826"/>
                    <a:pt x="424918" y="1647826"/>
                    <a:pt x="424918" y="1647826"/>
                  </a:cubicBezTo>
                  <a:cubicBezTo>
                    <a:pt x="403048" y="1647826"/>
                    <a:pt x="392113" y="1637117"/>
                    <a:pt x="392113" y="1614985"/>
                  </a:cubicBezTo>
                  <a:cubicBezTo>
                    <a:pt x="392113" y="485280"/>
                    <a:pt x="392113" y="485280"/>
                    <a:pt x="392113" y="485280"/>
                  </a:cubicBezTo>
                  <a:cubicBezTo>
                    <a:pt x="392113" y="463385"/>
                    <a:pt x="403048" y="452438"/>
                    <a:pt x="424918" y="452438"/>
                  </a:cubicBezTo>
                  <a:close/>
                  <a:moveTo>
                    <a:pt x="30523" y="452438"/>
                  </a:moveTo>
                  <a:cubicBezTo>
                    <a:pt x="138542" y="452438"/>
                    <a:pt x="138542" y="452438"/>
                    <a:pt x="138542" y="452438"/>
                  </a:cubicBezTo>
                  <a:cubicBezTo>
                    <a:pt x="160480" y="452438"/>
                    <a:pt x="171450" y="463385"/>
                    <a:pt x="171450" y="485280"/>
                  </a:cubicBezTo>
                  <a:cubicBezTo>
                    <a:pt x="171450" y="1615223"/>
                    <a:pt x="171450" y="1615223"/>
                    <a:pt x="171450" y="1615223"/>
                  </a:cubicBezTo>
                  <a:cubicBezTo>
                    <a:pt x="171450" y="1637117"/>
                    <a:pt x="160480" y="1647826"/>
                    <a:pt x="138542" y="1647826"/>
                  </a:cubicBezTo>
                  <a:cubicBezTo>
                    <a:pt x="32906" y="1647826"/>
                    <a:pt x="32906" y="1647826"/>
                    <a:pt x="32906" y="1647826"/>
                  </a:cubicBezTo>
                  <a:cubicBezTo>
                    <a:pt x="10968" y="1647826"/>
                    <a:pt x="0" y="1637117"/>
                    <a:pt x="0" y="1615223"/>
                  </a:cubicBezTo>
                  <a:cubicBezTo>
                    <a:pt x="0" y="485280"/>
                    <a:pt x="0" y="485280"/>
                    <a:pt x="0" y="485280"/>
                  </a:cubicBezTo>
                  <a:cubicBezTo>
                    <a:pt x="0" y="463385"/>
                    <a:pt x="10015" y="452438"/>
                    <a:pt x="30523" y="452438"/>
                  </a:cubicBezTo>
                  <a:close/>
                  <a:moveTo>
                    <a:pt x="6895122" y="196850"/>
                  </a:moveTo>
                  <a:cubicBezTo>
                    <a:pt x="7000837" y="196850"/>
                    <a:pt x="7000837" y="196850"/>
                    <a:pt x="7000837" y="196850"/>
                  </a:cubicBezTo>
                  <a:cubicBezTo>
                    <a:pt x="7021075" y="196850"/>
                    <a:pt x="7031313" y="208035"/>
                    <a:pt x="7031313" y="229692"/>
                  </a:cubicBezTo>
                  <a:cubicBezTo>
                    <a:pt x="7031313" y="431262"/>
                    <a:pt x="7031313" y="431262"/>
                    <a:pt x="7031313" y="431262"/>
                  </a:cubicBezTo>
                  <a:cubicBezTo>
                    <a:pt x="7031313" y="445541"/>
                    <a:pt x="7039885" y="452443"/>
                    <a:pt x="7057028" y="452443"/>
                  </a:cubicBezTo>
                  <a:cubicBezTo>
                    <a:pt x="7305602" y="452443"/>
                    <a:pt x="7305602" y="452443"/>
                    <a:pt x="7305602" y="452443"/>
                  </a:cubicBezTo>
                  <a:cubicBezTo>
                    <a:pt x="7329174" y="452443"/>
                    <a:pt x="7340840" y="463390"/>
                    <a:pt x="7340840" y="485284"/>
                  </a:cubicBezTo>
                  <a:cubicBezTo>
                    <a:pt x="7340840" y="571909"/>
                    <a:pt x="7340840" y="571909"/>
                    <a:pt x="7340840" y="571909"/>
                  </a:cubicBezTo>
                  <a:cubicBezTo>
                    <a:pt x="7340840" y="592376"/>
                    <a:pt x="7329174" y="602371"/>
                    <a:pt x="7305602" y="602371"/>
                  </a:cubicBezTo>
                  <a:cubicBezTo>
                    <a:pt x="7057028" y="602371"/>
                    <a:pt x="7057028" y="602371"/>
                    <a:pt x="7057028" y="602371"/>
                  </a:cubicBezTo>
                  <a:cubicBezTo>
                    <a:pt x="7039885" y="602371"/>
                    <a:pt x="7031313" y="609511"/>
                    <a:pt x="7031313" y="623551"/>
                  </a:cubicBezTo>
                  <a:cubicBezTo>
                    <a:pt x="7031313" y="1298706"/>
                    <a:pt x="7031313" y="1298706"/>
                    <a:pt x="7031313" y="1298706"/>
                  </a:cubicBezTo>
                  <a:cubicBezTo>
                    <a:pt x="7031313" y="1431500"/>
                    <a:pt x="7100124" y="1497897"/>
                    <a:pt x="7237744" y="1497897"/>
                  </a:cubicBezTo>
                  <a:cubicBezTo>
                    <a:pt x="7329174" y="1497897"/>
                    <a:pt x="7329174" y="1497897"/>
                    <a:pt x="7329174" y="1497897"/>
                  </a:cubicBezTo>
                  <a:cubicBezTo>
                    <a:pt x="7352507" y="1497897"/>
                    <a:pt x="7364412" y="1508844"/>
                    <a:pt x="7364412" y="1530738"/>
                  </a:cubicBezTo>
                  <a:cubicBezTo>
                    <a:pt x="7364412" y="1617364"/>
                    <a:pt x="7364412" y="1617364"/>
                    <a:pt x="7364412" y="1617364"/>
                  </a:cubicBezTo>
                  <a:cubicBezTo>
                    <a:pt x="7364412" y="1637830"/>
                    <a:pt x="7352507" y="1647825"/>
                    <a:pt x="7329174" y="1647825"/>
                  </a:cubicBezTo>
                  <a:cubicBezTo>
                    <a:pt x="7216553" y="1647825"/>
                    <a:pt x="7216553" y="1647825"/>
                    <a:pt x="7216553" y="1647825"/>
                  </a:cubicBezTo>
                  <a:cubicBezTo>
                    <a:pt x="7108695" y="1647825"/>
                    <a:pt x="7022504" y="1617839"/>
                    <a:pt x="6958694" y="1557630"/>
                  </a:cubicBezTo>
                  <a:cubicBezTo>
                    <a:pt x="6894407" y="1497421"/>
                    <a:pt x="6862502" y="1413651"/>
                    <a:pt x="6862502" y="1305607"/>
                  </a:cubicBezTo>
                  <a:cubicBezTo>
                    <a:pt x="6862502" y="623551"/>
                    <a:pt x="6862502" y="623551"/>
                    <a:pt x="6862502" y="623551"/>
                  </a:cubicBezTo>
                  <a:cubicBezTo>
                    <a:pt x="6862502" y="609511"/>
                    <a:pt x="6854645" y="602371"/>
                    <a:pt x="6838931" y="602371"/>
                  </a:cubicBezTo>
                  <a:cubicBezTo>
                    <a:pt x="6709882" y="602371"/>
                    <a:pt x="6709882" y="602371"/>
                    <a:pt x="6709882" y="602371"/>
                  </a:cubicBezTo>
                  <a:cubicBezTo>
                    <a:pt x="6687977" y="602371"/>
                    <a:pt x="6677024" y="592376"/>
                    <a:pt x="6677024" y="571909"/>
                  </a:cubicBezTo>
                  <a:cubicBezTo>
                    <a:pt x="6677024" y="485284"/>
                    <a:pt x="6677024" y="485284"/>
                    <a:pt x="6677024" y="485284"/>
                  </a:cubicBezTo>
                  <a:cubicBezTo>
                    <a:pt x="6677024" y="463390"/>
                    <a:pt x="6687977" y="452443"/>
                    <a:pt x="6709882" y="452443"/>
                  </a:cubicBezTo>
                  <a:cubicBezTo>
                    <a:pt x="6838931" y="452443"/>
                    <a:pt x="6838931" y="452443"/>
                    <a:pt x="6838931" y="452443"/>
                  </a:cubicBezTo>
                  <a:cubicBezTo>
                    <a:pt x="6854645" y="452443"/>
                    <a:pt x="6862502" y="445541"/>
                    <a:pt x="6862502" y="431262"/>
                  </a:cubicBezTo>
                  <a:cubicBezTo>
                    <a:pt x="6862502" y="229692"/>
                    <a:pt x="6862502" y="229692"/>
                    <a:pt x="6862502" y="229692"/>
                  </a:cubicBezTo>
                  <a:cubicBezTo>
                    <a:pt x="6862502" y="208035"/>
                    <a:pt x="6873217" y="196850"/>
                    <a:pt x="6895122" y="196850"/>
                  </a:cubicBezTo>
                  <a:close/>
                  <a:moveTo>
                    <a:pt x="7587022" y="1588"/>
                  </a:moveTo>
                  <a:cubicBezTo>
                    <a:pt x="7695281" y="1588"/>
                    <a:pt x="7695281" y="1588"/>
                    <a:pt x="7695281" y="1588"/>
                  </a:cubicBezTo>
                  <a:cubicBezTo>
                    <a:pt x="7716980" y="1588"/>
                    <a:pt x="7727949" y="12584"/>
                    <a:pt x="7727949" y="34577"/>
                  </a:cubicBezTo>
                  <a:cubicBezTo>
                    <a:pt x="7727949" y="255937"/>
                    <a:pt x="7727949" y="255937"/>
                    <a:pt x="7727949" y="255937"/>
                  </a:cubicBezTo>
                  <a:cubicBezTo>
                    <a:pt x="7727949" y="277930"/>
                    <a:pt x="7716980" y="288926"/>
                    <a:pt x="7695281" y="288926"/>
                  </a:cubicBezTo>
                  <a:cubicBezTo>
                    <a:pt x="7587022" y="288926"/>
                    <a:pt x="7587022" y="288926"/>
                    <a:pt x="7587022" y="288926"/>
                  </a:cubicBezTo>
                  <a:cubicBezTo>
                    <a:pt x="7566753" y="288926"/>
                    <a:pt x="7556499" y="277930"/>
                    <a:pt x="7556499" y="255937"/>
                  </a:cubicBezTo>
                  <a:cubicBezTo>
                    <a:pt x="7556499" y="34577"/>
                    <a:pt x="7556499" y="34577"/>
                    <a:pt x="7556499" y="34577"/>
                  </a:cubicBezTo>
                  <a:cubicBezTo>
                    <a:pt x="7556499" y="12584"/>
                    <a:pt x="7566753" y="1588"/>
                    <a:pt x="7587022" y="1588"/>
                  </a:cubicBezTo>
                  <a:close/>
                  <a:moveTo>
                    <a:pt x="30523" y="1588"/>
                  </a:moveTo>
                  <a:cubicBezTo>
                    <a:pt x="138542" y="1588"/>
                    <a:pt x="138542" y="1588"/>
                    <a:pt x="138542" y="1588"/>
                  </a:cubicBezTo>
                  <a:cubicBezTo>
                    <a:pt x="160480" y="1588"/>
                    <a:pt x="171450" y="12584"/>
                    <a:pt x="171450" y="34577"/>
                  </a:cubicBezTo>
                  <a:cubicBezTo>
                    <a:pt x="171450" y="255937"/>
                    <a:pt x="171450" y="255937"/>
                    <a:pt x="171450" y="255937"/>
                  </a:cubicBezTo>
                  <a:cubicBezTo>
                    <a:pt x="171450" y="277930"/>
                    <a:pt x="160480" y="288926"/>
                    <a:pt x="138542" y="288926"/>
                  </a:cubicBezTo>
                  <a:cubicBezTo>
                    <a:pt x="30523" y="288926"/>
                    <a:pt x="30523" y="288926"/>
                    <a:pt x="30523" y="288926"/>
                  </a:cubicBezTo>
                  <a:cubicBezTo>
                    <a:pt x="10015" y="288926"/>
                    <a:pt x="0" y="277930"/>
                    <a:pt x="0" y="255937"/>
                  </a:cubicBezTo>
                  <a:cubicBezTo>
                    <a:pt x="0" y="34577"/>
                    <a:pt x="0" y="34577"/>
                    <a:pt x="0" y="34577"/>
                  </a:cubicBezTo>
                  <a:cubicBezTo>
                    <a:pt x="0" y="12584"/>
                    <a:pt x="10015" y="1588"/>
                    <a:pt x="30523" y="1588"/>
                  </a:cubicBezTo>
                  <a:close/>
                  <a:moveTo>
                    <a:pt x="7981519" y="0"/>
                  </a:moveTo>
                  <a:cubicBezTo>
                    <a:pt x="8087394" y="0"/>
                    <a:pt x="8087394" y="0"/>
                    <a:pt x="8087394" y="0"/>
                  </a:cubicBezTo>
                  <a:cubicBezTo>
                    <a:pt x="8109093" y="0"/>
                    <a:pt x="8120062" y="10948"/>
                    <a:pt x="8120062" y="32842"/>
                  </a:cubicBezTo>
                  <a:cubicBezTo>
                    <a:pt x="8120062" y="1614983"/>
                    <a:pt x="8120062" y="1614983"/>
                    <a:pt x="8120062" y="1614983"/>
                  </a:cubicBezTo>
                  <a:cubicBezTo>
                    <a:pt x="8120062" y="1637116"/>
                    <a:pt x="8109093" y="1647825"/>
                    <a:pt x="8087394" y="1647825"/>
                  </a:cubicBezTo>
                  <a:cubicBezTo>
                    <a:pt x="7981519" y="1647825"/>
                    <a:pt x="7981519" y="1647825"/>
                    <a:pt x="7981519" y="1647825"/>
                  </a:cubicBezTo>
                  <a:cubicBezTo>
                    <a:pt x="7959581" y="1647825"/>
                    <a:pt x="7948612" y="1637116"/>
                    <a:pt x="7948612" y="1614983"/>
                  </a:cubicBezTo>
                  <a:cubicBezTo>
                    <a:pt x="7948612" y="32842"/>
                    <a:pt x="7948612" y="32842"/>
                    <a:pt x="7948612" y="32842"/>
                  </a:cubicBezTo>
                  <a:cubicBezTo>
                    <a:pt x="7948612" y="10948"/>
                    <a:pt x="7959581" y="0"/>
                    <a:pt x="7981519" y="0"/>
                  </a:cubicBezTo>
                  <a:close/>
                  <a:moveTo>
                    <a:pt x="1922541" y="0"/>
                  </a:moveTo>
                  <a:cubicBezTo>
                    <a:pt x="2002314" y="0"/>
                    <a:pt x="2002314" y="0"/>
                    <a:pt x="2002314" y="0"/>
                  </a:cubicBezTo>
                  <a:cubicBezTo>
                    <a:pt x="2024221" y="0"/>
                    <a:pt x="2035175" y="10234"/>
                    <a:pt x="2035175" y="30463"/>
                  </a:cubicBezTo>
                  <a:cubicBezTo>
                    <a:pt x="2035175" y="117328"/>
                    <a:pt x="2035175" y="117328"/>
                    <a:pt x="2035175" y="117328"/>
                  </a:cubicBezTo>
                  <a:cubicBezTo>
                    <a:pt x="2035175" y="139223"/>
                    <a:pt x="2024221" y="149932"/>
                    <a:pt x="2002314" y="149932"/>
                  </a:cubicBezTo>
                  <a:cubicBezTo>
                    <a:pt x="1943735" y="149932"/>
                    <a:pt x="1943735" y="149932"/>
                    <a:pt x="1943735" y="149932"/>
                  </a:cubicBezTo>
                  <a:cubicBezTo>
                    <a:pt x="1879679" y="149932"/>
                    <a:pt x="1835150" y="166115"/>
                    <a:pt x="1809908" y="198006"/>
                  </a:cubicBezTo>
                  <a:cubicBezTo>
                    <a:pt x="1784905" y="230134"/>
                    <a:pt x="1772523" y="281301"/>
                    <a:pt x="1772523" y="351746"/>
                  </a:cubicBezTo>
                  <a:cubicBezTo>
                    <a:pt x="1772523" y="431233"/>
                    <a:pt x="1772523" y="431233"/>
                    <a:pt x="1772523" y="431233"/>
                  </a:cubicBezTo>
                  <a:cubicBezTo>
                    <a:pt x="1772523" y="445275"/>
                    <a:pt x="1779428" y="452414"/>
                    <a:pt x="1793477" y="452414"/>
                  </a:cubicBezTo>
                  <a:cubicBezTo>
                    <a:pt x="1999932" y="452414"/>
                    <a:pt x="1999932" y="452414"/>
                    <a:pt x="1999932" y="452414"/>
                  </a:cubicBezTo>
                  <a:cubicBezTo>
                    <a:pt x="2023507" y="452414"/>
                    <a:pt x="2035175" y="462648"/>
                    <a:pt x="2035175" y="482877"/>
                  </a:cubicBezTo>
                  <a:cubicBezTo>
                    <a:pt x="2035175" y="569742"/>
                    <a:pt x="2035175" y="569742"/>
                    <a:pt x="2035175" y="569742"/>
                  </a:cubicBezTo>
                  <a:cubicBezTo>
                    <a:pt x="2035175" y="591637"/>
                    <a:pt x="2023507" y="602346"/>
                    <a:pt x="1999932" y="602346"/>
                  </a:cubicBezTo>
                  <a:cubicBezTo>
                    <a:pt x="1793477" y="602346"/>
                    <a:pt x="1793477" y="602346"/>
                    <a:pt x="1793477" y="602346"/>
                  </a:cubicBezTo>
                  <a:cubicBezTo>
                    <a:pt x="1779428" y="602346"/>
                    <a:pt x="1772523" y="609486"/>
                    <a:pt x="1772523" y="623527"/>
                  </a:cubicBezTo>
                  <a:cubicBezTo>
                    <a:pt x="1772523" y="1614983"/>
                    <a:pt x="1772523" y="1614983"/>
                    <a:pt x="1772523" y="1614983"/>
                  </a:cubicBezTo>
                  <a:cubicBezTo>
                    <a:pt x="1772523" y="1637116"/>
                    <a:pt x="1760854" y="1647825"/>
                    <a:pt x="1737280" y="1647825"/>
                  </a:cubicBezTo>
                  <a:cubicBezTo>
                    <a:pt x="1634172" y="1647825"/>
                    <a:pt x="1634172" y="1647825"/>
                    <a:pt x="1634172" y="1647825"/>
                  </a:cubicBezTo>
                  <a:cubicBezTo>
                    <a:pt x="1612265" y="1647825"/>
                    <a:pt x="1601311" y="1637116"/>
                    <a:pt x="1601311" y="1614983"/>
                  </a:cubicBezTo>
                  <a:cubicBezTo>
                    <a:pt x="1601311" y="623527"/>
                    <a:pt x="1601311" y="623527"/>
                    <a:pt x="1601311" y="623527"/>
                  </a:cubicBezTo>
                  <a:cubicBezTo>
                    <a:pt x="1601311" y="609486"/>
                    <a:pt x="1593453" y="602346"/>
                    <a:pt x="1577737" y="602346"/>
                  </a:cubicBezTo>
                  <a:cubicBezTo>
                    <a:pt x="1439386" y="602346"/>
                    <a:pt x="1439386" y="602346"/>
                    <a:pt x="1439386" y="602346"/>
                  </a:cubicBezTo>
                  <a:cubicBezTo>
                    <a:pt x="1417478" y="602346"/>
                    <a:pt x="1406525" y="591637"/>
                    <a:pt x="1406525" y="569742"/>
                  </a:cubicBezTo>
                  <a:cubicBezTo>
                    <a:pt x="1406525" y="482877"/>
                    <a:pt x="1406525" y="482877"/>
                    <a:pt x="1406525" y="482877"/>
                  </a:cubicBezTo>
                  <a:cubicBezTo>
                    <a:pt x="1406525" y="462648"/>
                    <a:pt x="1417478" y="452414"/>
                    <a:pt x="1439386" y="452414"/>
                  </a:cubicBezTo>
                  <a:cubicBezTo>
                    <a:pt x="1577737" y="452414"/>
                    <a:pt x="1577737" y="452414"/>
                    <a:pt x="1577737" y="452414"/>
                  </a:cubicBezTo>
                  <a:cubicBezTo>
                    <a:pt x="1593453" y="452414"/>
                    <a:pt x="1601311" y="445275"/>
                    <a:pt x="1601311" y="431233"/>
                  </a:cubicBezTo>
                  <a:cubicBezTo>
                    <a:pt x="1601311" y="344606"/>
                    <a:pt x="1601311" y="344606"/>
                    <a:pt x="1601311" y="344606"/>
                  </a:cubicBezTo>
                  <a:cubicBezTo>
                    <a:pt x="1601311" y="233704"/>
                    <a:pt x="1628695" y="148504"/>
                    <a:pt x="1683226" y="89007"/>
                  </a:cubicBezTo>
                  <a:cubicBezTo>
                    <a:pt x="1738233" y="29749"/>
                    <a:pt x="1817767" y="0"/>
                    <a:pt x="1922541" y="0"/>
                  </a:cubicBezTo>
                  <a:close/>
                </a:path>
              </a:pathLst>
            </a:custGeom>
            <a:solidFill>
              <a:srgbClr val="0056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9AF06E69-8160-4E75-A421-13BEA219E2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4038598" y="4113213"/>
              <a:ext cx="8810623" cy="787401"/>
            </a:xfrm>
            <a:custGeom>
              <a:avLst/>
              <a:gdLst>
                <a:gd name="connsiteX0" fmla="*/ 8170503 w 8810623"/>
                <a:gd name="connsiteY0" fmla="*/ 242888 h 787401"/>
                <a:gd name="connsiteX1" fmla="*/ 8109425 w 8810623"/>
                <a:gd name="connsiteY1" fmla="*/ 261635 h 787401"/>
                <a:gd name="connsiteX2" fmla="*/ 8076865 w 8810623"/>
                <a:gd name="connsiteY2" fmla="*/ 311385 h 787401"/>
                <a:gd name="connsiteX3" fmla="*/ 8069260 w 8810623"/>
                <a:gd name="connsiteY3" fmla="*/ 360174 h 787401"/>
                <a:gd name="connsiteX4" fmla="*/ 8072587 w 8810623"/>
                <a:gd name="connsiteY4" fmla="*/ 363538 h 787401"/>
                <a:gd name="connsiteX5" fmla="*/ 8269133 w 8810623"/>
                <a:gd name="connsiteY5" fmla="*/ 363538 h 787401"/>
                <a:gd name="connsiteX6" fmla="*/ 8272460 w 8810623"/>
                <a:gd name="connsiteY6" fmla="*/ 360174 h 787401"/>
                <a:gd name="connsiteX7" fmla="*/ 8267469 w 8810623"/>
                <a:gd name="connsiteY7" fmla="*/ 317634 h 787401"/>
                <a:gd name="connsiteX8" fmla="*/ 8233483 w 8810623"/>
                <a:gd name="connsiteY8" fmla="*/ 263317 h 787401"/>
                <a:gd name="connsiteX9" fmla="*/ 8170503 w 8810623"/>
                <a:gd name="connsiteY9" fmla="*/ 242888 h 787401"/>
                <a:gd name="connsiteX10" fmla="*/ 7476614 w 8810623"/>
                <a:gd name="connsiteY10" fmla="*/ 242888 h 787401"/>
                <a:gd name="connsiteX11" fmla="*/ 7416249 w 8810623"/>
                <a:gd name="connsiteY11" fmla="*/ 263203 h 787401"/>
                <a:gd name="connsiteX12" fmla="*/ 7381892 w 8810623"/>
                <a:gd name="connsiteY12" fmla="*/ 315542 h 787401"/>
                <a:gd name="connsiteX13" fmla="*/ 7372348 w 8810623"/>
                <a:gd name="connsiteY13" fmla="*/ 395604 h 787401"/>
                <a:gd name="connsiteX14" fmla="*/ 7380937 w 8810623"/>
                <a:gd name="connsiteY14" fmla="*/ 476862 h 787401"/>
                <a:gd name="connsiteX15" fmla="*/ 7415056 w 8810623"/>
                <a:gd name="connsiteY15" fmla="*/ 528962 h 787401"/>
                <a:gd name="connsiteX16" fmla="*/ 7476614 w 8810623"/>
                <a:gd name="connsiteY16" fmla="*/ 549276 h 787401"/>
                <a:gd name="connsiteX17" fmla="*/ 7538172 w 8810623"/>
                <a:gd name="connsiteY17" fmla="*/ 528962 h 787401"/>
                <a:gd name="connsiteX18" fmla="*/ 7568712 w 8810623"/>
                <a:gd name="connsiteY18" fmla="*/ 476862 h 787401"/>
                <a:gd name="connsiteX19" fmla="*/ 7572529 w 8810623"/>
                <a:gd name="connsiteY19" fmla="*/ 447466 h 787401"/>
                <a:gd name="connsiteX20" fmla="*/ 7573961 w 8810623"/>
                <a:gd name="connsiteY20" fmla="*/ 395604 h 787401"/>
                <a:gd name="connsiteX21" fmla="*/ 7572529 w 8810623"/>
                <a:gd name="connsiteY21" fmla="*/ 344221 h 787401"/>
                <a:gd name="connsiteX22" fmla="*/ 7567757 w 8810623"/>
                <a:gd name="connsiteY22" fmla="*/ 315542 h 787401"/>
                <a:gd name="connsiteX23" fmla="*/ 7536740 w 8810623"/>
                <a:gd name="connsiteY23" fmla="*/ 263203 h 787401"/>
                <a:gd name="connsiteX24" fmla="*/ 7476614 w 8810623"/>
                <a:gd name="connsiteY24" fmla="*/ 242888 h 787401"/>
                <a:gd name="connsiteX25" fmla="*/ 6701829 w 8810623"/>
                <a:gd name="connsiteY25" fmla="*/ 242888 h 787401"/>
                <a:gd name="connsiteX26" fmla="*/ 6640988 w 8810623"/>
                <a:gd name="connsiteY26" fmla="*/ 261635 h 787401"/>
                <a:gd name="connsiteX27" fmla="*/ 6608428 w 8810623"/>
                <a:gd name="connsiteY27" fmla="*/ 311385 h 787401"/>
                <a:gd name="connsiteX28" fmla="*/ 6600823 w 8810623"/>
                <a:gd name="connsiteY28" fmla="*/ 360174 h 787401"/>
                <a:gd name="connsiteX29" fmla="*/ 6604150 w 8810623"/>
                <a:gd name="connsiteY29" fmla="*/ 363538 h 787401"/>
                <a:gd name="connsiteX30" fmla="*/ 6800696 w 8810623"/>
                <a:gd name="connsiteY30" fmla="*/ 363538 h 787401"/>
                <a:gd name="connsiteX31" fmla="*/ 6804023 w 8810623"/>
                <a:gd name="connsiteY31" fmla="*/ 360174 h 787401"/>
                <a:gd name="connsiteX32" fmla="*/ 6798794 w 8810623"/>
                <a:gd name="connsiteY32" fmla="*/ 317634 h 787401"/>
                <a:gd name="connsiteX33" fmla="*/ 6765046 w 8810623"/>
                <a:gd name="connsiteY33" fmla="*/ 263317 h 787401"/>
                <a:gd name="connsiteX34" fmla="*/ 6701829 w 8810623"/>
                <a:gd name="connsiteY34" fmla="*/ 242888 h 787401"/>
                <a:gd name="connsiteX35" fmla="*/ 4320700 w 8810623"/>
                <a:gd name="connsiteY35" fmla="*/ 242888 h 787401"/>
                <a:gd name="connsiteX36" fmla="*/ 4259930 w 8810623"/>
                <a:gd name="connsiteY36" fmla="*/ 261635 h 787401"/>
                <a:gd name="connsiteX37" fmla="*/ 4227409 w 8810623"/>
                <a:gd name="connsiteY37" fmla="*/ 311385 h 787401"/>
                <a:gd name="connsiteX38" fmla="*/ 4219575 w 8810623"/>
                <a:gd name="connsiteY38" fmla="*/ 360174 h 787401"/>
                <a:gd name="connsiteX39" fmla="*/ 4223136 w 8810623"/>
                <a:gd name="connsiteY39" fmla="*/ 363538 h 787401"/>
                <a:gd name="connsiteX40" fmla="*/ 4419212 w 8810623"/>
                <a:gd name="connsiteY40" fmla="*/ 363538 h 787401"/>
                <a:gd name="connsiteX41" fmla="*/ 4422773 w 8810623"/>
                <a:gd name="connsiteY41" fmla="*/ 360174 h 787401"/>
                <a:gd name="connsiteX42" fmla="*/ 4417551 w 8810623"/>
                <a:gd name="connsiteY42" fmla="*/ 317634 h 787401"/>
                <a:gd name="connsiteX43" fmla="*/ 4383607 w 8810623"/>
                <a:gd name="connsiteY43" fmla="*/ 263317 h 787401"/>
                <a:gd name="connsiteX44" fmla="*/ 4320700 w 8810623"/>
                <a:gd name="connsiteY44" fmla="*/ 242888 h 787401"/>
                <a:gd name="connsiteX45" fmla="*/ 2676960 w 8810623"/>
                <a:gd name="connsiteY45" fmla="*/ 242888 h 787401"/>
                <a:gd name="connsiteX46" fmla="*/ 2615643 w 8810623"/>
                <a:gd name="connsiteY46" fmla="*/ 261635 h 787401"/>
                <a:gd name="connsiteX47" fmla="*/ 2582590 w 8810623"/>
                <a:gd name="connsiteY47" fmla="*/ 311385 h 787401"/>
                <a:gd name="connsiteX48" fmla="*/ 2574925 w 8810623"/>
                <a:gd name="connsiteY48" fmla="*/ 360174 h 787401"/>
                <a:gd name="connsiteX49" fmla="*/ 2578279 w 8810623"/>
                <a:gd name="connsiteY49" fmla="*/ 363538 h 787401"/>
                <a:gd name="connsiteX50" fmla="*/ 2776360 w 8810623"/>
                <a:gd name="connsiteY50" fmla="*/ 363538 h 787401"/>
                <a:gd name="connsiteX51" fmla="*/ 2779713 w 8810623"/>
                <a:gd name="connsiteY51" fmla="*/ 360174 h 787401"/>
                <a:gd name="connsiteX52" fmla="*/ 2774683 w 8810623"/>
                <a:gd name="connsiteY52" fmla="*/ 317634 h 787401"/>
                <a:gd name="connsiteX53" fmla="*/ 2740432 w 8810623"/>
                <a:gd name="connsiteY53" fmla="*/ 263317 h 787401"/>
                <a:gd name="connsiteX54" fmla="*/ 2676960 w 8810623"/>
                <a:gd name="connsiteY54" fmla="*/ 242888 h 787401"/>
                <a:gd name="connsiteX55" fmla="*/ 1425100 w 8810623"/>
                <a:gd name="connsiteY55" fmla="*/ 242888 h 787401"/>
                <a:gd name="connsiteX56" fmla="*/ 1364331 w 8810623"/>
                <a:gd name="connsiteY56" fmla="*/ 261635 h 787401"/>
                <a:gd name="connsiteX57" fmla="*/ 1331571 w 8810623"/>
                <a:gd name="connsiteY57" fmla="*/ 311385 h 787401"/>
                <a:gd name="connsiteX58" fmla="*/ 1323974 w 8810623"/>
                <a:gd name="connsiteY58" fmla="*/ 360174 h 787401"/>
                <a:gd name="connsiteX59" fmla="*/ 1327297 w 8810623"/>
                <a:gd name="connsiteY59" fmla="*/ 363538 h 787401"/>
                <a:gd name="connsiteX60" fmla="*/ 1523613 w 8810623"/>
                <a:gd name="connsiteY60" fmla="*/ 363538 h 787401"/>
                <a:gd name="connsiteX61" fmla="*/ 1527175 w 8810623"/>
                <a:gd name="connsiteY61" fmla="*/ 360174 h 787401"/>
                <a:gd name="connsiteX62" fmla="*/ 1521951 w 8810623"/>
                <a:gd name="connsiteY62" fmla="*/ 317634 h 787401"/>
                <a:gd name="connsiteX63" fmla="*/ 1488007 w 8810623"/>
                <a:gd name="connsiteY63" fmla="*/ 263317 h 787401"/>
                <a:gd name="connsiteX64" fmla="*/ 1425100 w 8810623"/>
                <a:gd name="connsiteY64" fmla="*/ 242888 h 787401"/>
                <a:gd name="connsiteX65" fmla="*/ 7790487 w 8810623"/>
                <a:gd name="connsiteY65" fmla="*/ 179388 h 787401"/>
                <a:gd name="connsiteX66" fmla="*/ 7855671 w 8810623"/>
                <a:gd name="connsiteY66" fmla="*/ 179388 h 787401"/>
                <a:gd name="connsiteX67" fmla="*/ 7864473 w 8810623"/>
                <a:gd name="connsiteY67" fmla="*/ 187962 h 787401"/>
                <a:gd name="connsiteX68" fmla="*/ 7864473 w 8810623"/>
                <a:gd name="connsiteY68" fmla="*/ 607377 h 787401"/>
                <a:gd name="connsiteX69" fmla="*/ 7855671 w 8810623"/>
                <a:gd name="connsiteY69" fmla="*/ 615951 h 787401"/>
                <a:gd name="connsiteX70" fmla="*/ 7790487 w 8810623"/>
                <a:gd name="connsiteY70" fmla="*/ 615951 h 787401"/>
                <a:gd name="connsiteX71" fmla="*/ 7781923 w 8810623"/>
                <a:gd name="connsiteY71" fmla="*/ 607377 h 787401"/>
                <a:gd name="connsiteX72" fmla="*/ 7781923 w 8810623"/>
                <a:gd name="connsiteY72" fmla="*/ 187962 h 787401"/>
                <a:gd name="connsiteX73" fmla="*/ 7790487 w 8810623"/>
                <a:gd name="connsiteY73" fmla="*/ 179388 h 787401"/>
                <a:gd name="connsiteX74" fmla="*/ 5619666 w 8810623"/>
                <a:gd name="connsiteY74" fmla="*/ 179388 h 787401"/>
                <a:gd name="connsiteX75" fmla="*/ 5689184 w 8810623"/>
                <a:gd name="connsiteY75" fmla="*/ 179388 h 787401"/>
                <a:gd name="connsiteX76" fmla="*/ 5699421 w 8810623"/>
                <a:gd name="connsiteY76" fmla="*/ 186051 h 787401"/>
                <a:gd name="connsiteX77" fmla="*/ 5796556 w 8810623"/>
                <a:gd name="connsiteY77" fmla="*/ 509928 h 787401"/>
                <a:gd name="connsiteX78" fmla="*/ 5799175 w 8810623"/>
                <a:gd name="connsiteY78" fmla="*/ 511832 h 787401"/>
                <a:gd name="connsiteX79" fmla="*/ 5801794 w 8810623"/>
                <a:gd name="connsiteY79" fmla="*/ 509928 h 787401"/>
                <a:gd name="connsiteX80" fmla="*/ 5897976 w 8810623"/>
                <a:gd name="connsiteY80" fmla="*/ 186051 h 787401"/>
                <a:gd name="connsiteX81" fmla="*/ 5908213 w 8810623"/>
                <a:gd name="connsiteY81" fmla="*/ 179388 h 787401"/>
                <a:gd name="connsiteX82" fmla="*/ 5976302 w 8810623"/>
                <a:gd name="connsiteY82" fmla="*/ 179388 h 787401"/>
                <a:gd name="connsiteX83" fmla="*/ 5983206 w 8810623"/>
                <a:gd name="connsiteY83" fmla="*/ 188669 h 787401"/>
                <a:gd name="connsiteX84" fmla="*/ 5826553 w 8810623"/>
                <a:gd name="connsiteY84" fmla="*/ 646523 h 787401"/>
                <a:gd name="connsiteX85" fmla="*/ 5787033 w 8810623"/>
                <a:gd name="connsiteY85" fmla="*/ 734572 h 787401"/>
                <a:gd name="connsiteX86" fmla="*/ 5735609 w 8810623"/>
                <a:gd name="connsiteY86" fmla="*/ 775503 h 787401"/>
                <a:gd name="connsiteX87" fmla="*/ 5646093 w 8810623"/>
                <a:gd name="connsiteY87" fmla="*/ 787401 h 787401"/>
                <a:gd name="connsiteX88" fmla="*/ 5640141 w 8810623"/>
                <a:gd name="connsiteY88" fmla="*/ 787401 h 787401"/>
                <a:gd name="connsiteX89" fmla="*/ 5634189 w 8810623"/>
                <a:gd name="connsiteY89" fmla="*/ 787401 h 787401"/>
                <a:gd name="connsiteX90" fmla="*/ 5634189 w 8810623"/>
                <a:gd name="connsiteY90" fmla="*/ 778834 h 787401"/>
                <a:gd name="connsiteX91" fmla="*/ 5634189 w 8810623"/>
                <a:gd name="connsiteY91" fmla="*/ 728147 h 787401"/>
                <a:gd name="connsiteX92" fmla="*/ 5642760 w 8810623"/>
                <a:gd name="connsiteY92" fmla="*/ 719580 h 787401"/>
                <a:gd name="connsiteX93" fmla="*/ 5644426 w 8810623"/>
                <a:gd name="connsiteY93" fmla="*/ 719580 h 787401"/>
                <a:gd name="connsiteX94" fmla="*/ 5698707 w 8810623"/>
                <a:gd name="connsiteY94" fmla="*/ 711013 h 787401"/>
                <a:gd name="connsiteX95" fmla="*/ 5731323 w 8810623"/>
                <a:gd name="connsiteY95" fmla="*/ 682219 h 787401"/>
                <a:gd name="connsiteX96" fmla="*/ 5756083 w 8810623"/>
                <a:gd name="connsiteY96" fmla="*/ 619157 h 787401"/>
                <a:gd name="connsiteX97" fmla="*/ 5756083 w 8810623"/>
                <a:gd name="connsiteY97" fmla="*/ 613921 h 787401"/>
                <a:gd name="connsiteX98" fmla="*/ 5612762 w 8810623"/>
                <a:gd name="connsiteY98" fmla="*/ 188669 h 787401"/>
                <a:gd name="connsiteX99" fmla="*/ 5611810 w 8810623"/>
                <a:gd name="connsiteY99" fmla="*/ 185337 h 787401"/>
                <a:gd name="connsiteX100" fmla="*/ 5619666 w 8810623"/>
                <a:gd name="connsiteY100" fmla="*/ 179388 h 787401"/>
                <a:gd name="connsiteX101" fmla="*/ 8799 w 8810623"/>
                <a:gd name="connsiteY101" fmla="*/ 179388 h 787401"/>
                <a:gd name="connsiteX102" fmla="*/ 73005 w 8810623"/>
                <a:gd name="connsiteY102" fmla="*/ 179388 h 787401"/>
                <a:gd name="connsiteX103" fmla="*/ 81565 w 8810623"/>
                <a:gd name="connsiteY103" fmla="*/ 187952 h 787401"/>
                <a:gd name="connsiteX104" fmla="*/ 81565 w 8810623"/>
                <a:gd name="connsiteY104" fmla="*/ 454841 h 787401"/>
                <a:gd name="connsiteX105" fmla="*/ 105345 w 8810623"/>
                <a:gd name="connsiteY105" fmla="*/ 525250 h 787401"/>
                <a:gd name="connsiteX106" fmla="*/ 171691 w 8810623"/>
                <a:gd name="connsiteY106" fmla="*/ 551178 h 787401"/>
                <a:gd name="connsiteX107" fmla="*/ 240415 w 8810623"/>
                <a:gd name="connsiteY107" fmla="*/ 524775 h 787401"/>
                <a:gd name="connsiteX108" fmla="*/ 266097 w 8810623"/>
                <a:gd name="connsiteY108" fmla="*/ 454841 h 787401"/>
                <a:gd name="connsiteX109" fmla="*/ 266097 w 8810623"/>
                <a:gd name="connsiteY109" fmla="*/ 187952 h 787401"/>
                <a:gd name="connsiteX110" fmla="*/ 274896 w 8810623"/>
                <a:gd name="connsiteY110" fmla="*/ 179388 h 787401"/>
                <a:gd name="connsiteX111" fmla="*/ 339103 w 8810623"/>
                <a:gd name="connsiteY111" fmla="*/ 179388 h 787401"/>
                <a:gd name="connsiteX112" fmla="*/ 347662 w 8810623"/>
                <a:gd name="connsiteY112" fmla="*/ 187952 h 787401"/>
                <a:gd name="connsiteX113" fmla="*/ 347662 w 8810623"/>
                <a:gd name="connsiteY113" fmla="*/ 607791 h 787401"/>
                <a:gd name="connsiteX114" fmla="*/ 339103 w 8810623"/>
                <a:gd name="connsiteY114" fmla="*/ 616354 h 787401"/>
                <a:gd name="connsiteX115" fmla="*/ 274896 w 8810623"/>
                <a:gd name="connsiteY115" fmla="*/ 616354 h 787401"/>
                <a:gd name="connsiteX116" fmla="*/ 266097 w 8810623"/>
                <a:gd name="connsiteY116" fmla="*/ 607791 h 787401"/>
                <a:gd name="connsiteX117" fmla="*/ 266097 w 8810623"/>
                <a:gd name="connsiteY117" fmla="*/ 575917 h 787401"/>
                <a:gd name="connsiteX118" fmla="*/ 264909 w 8810623"/>
                <a:gd name="connsiteY118" fmla="*/ 573776 h 787401"/>
                <a:gd name="connsiteX119" fmla="*/ 261817 w 8810623"/>
                <a:gd name="connsiteY119" fmla="*/ 575203 h 787401"/>
                <a:gd name="connsiteX120" fmla="*/ 156234 w 8810623"/>
                <a:gd name="connsiteY120" fmla="*/ 622301 h 787401"/>
                <a:gd name="connsiteX121" fmla="*/ 78713 w 8810623"/>
                <a:gd name="connsiteY121" fmla="*/ 606126 h 787401"/>
                <a:gd name="connsiteX122" fmla="*/ 21642 w 8810623"/>
                <a:gd name="connsiteY122" fmla="*/ 557839 h 787401"/>
                <a:gd name="connsiteX123" fmla="*/ 0 w 8810623"/>
                <a:gd name="connsiteY123" fmla="*/ 480769 h 787401"/>
                <a:gd name="connsiteX124" fmla="*/ 0 w 8810623"/>
                <a:gd name="connsiteY124" fmla="*/ 187952 h 787401"/>
                <a:gd name="connsiteX125" fmla="*/ 8799 w 8810623"/>
                <a:gd name="connsiteY125" fmla="*/ 179388 h 787401"/>
                <a:gd name="connsiteX126" fmla="*/ 7185536 w 8810623"/>
                <a:gd name="connsiteY126" fmla="*/ 174625 h 787401"/>
                <a:gd name="connsiteX127" fmla="*/ 7235128 w 8810623"/>
                <a:gd name="connsiteY127" fmla="*/ 185801 h 787401"/>
                <a:gd name="connsiteX128" fmla="*/ 7239399 w 8810623"/>
                <a:gd name="connsiteY128" fmla="*/ 196263 h 787401"/>
                <a:gd name="connsiteX129" fmla="*/ 7225637 w 8810623"/>
                <a:gd name="connsiteY129" fmla="*/ 260703 h 787401"/>
                <a:gd name="connsiteX130" fmla="*/ 7215434 w 8810623"/>
                <a:gd name="connsiteY130" fmla="*/ 265696 h 787401"/>
                <a:gd name="connsiteX131" fmla="*/ 7181265 w 8810623"/>
                <a:gd name="connsiteY131" fmla="*/ 259752 h 787401"/>
                <a:gd name="connsiteX132" fmla="*/ 7169164 w 8810623"/>
                <a:gd name="connsiteY132" fmla="*/ 260703 h 787401"/>
                <a:gd name="connsiteX133" fmla="*/ 7102724 w 8810623"/>
                <a:gd name="connsiteY133" fmla="*/ 288523 h 787401"/>
                <a:gd name="connsiteX134" fmla="*/ 7076623 w 8810623"/>
                <a:gd name="connsiteY134" fmla="*/ 356767 h 787401"/>
                <a:gd name="connsiteX135" fmla="*/ 7076623 w 8810623"/>
                <a:gd name="connsiteY135" fmla="*/ 607390 h 787401"/>
                <a:gd name="connsiteX136" fmla="*/ 7068081 w 8810623"/>
                <a:gd name="connsiteY136" fmla="*/ 615950 h 787401"/>
                <a:gd name="connsiteX137" fmla="*/ 7003065 w 8810623"/>
                <a:gd name="connsiteY137" fmla="*/ 615950 h 787401"/>
                <a:gd name="connsiteX138" fmla="*/ 6994523 w 8810623"/>
                <a:gd name="connsiteY138" fmla="*/ 607390 h 787401"/>
                <a:gd name="connsiteX139" fmla="*/ 6994523 w 8810623"/>
                <a:gd name="connsiteY139" fmla="*/ 187703 h 787401"/>
                <a:gd name="connsiteX140" fmla="*/ 7003065 w 8810623"/>
                <a:gd name="connsiteY140" fmla="*/ 179143 h 787401"/>
                <a:gd name="connsiteX141" fmla="*/ 7068081 w 8810623"/>
                <a:gd name="connsiteY141" fmla="*/ 179143 h 787401"/>
                <a:gd name="connsiteX142" fmla="*/ 7076623 w 8810623"/>
                <a:gd name="connsiteY142" fmla="*/ 187703 h 787401"/>
                <a:gd name="connsiteX143" fmla="*/ 7076623 w 8810623"/>
                <a:gd name="connsiteY143" fmla="*/ 233120 h 787401"/>
                <a:gd name="connsiteX144" fmla="*/ 7078047 w 8810623"/>
                <a:gd name="connsiteY144" fmla="*/ 236211 h 787401"/>
                <a:gd name="connsiteX145" fmla="*/ 7080182 w 8810623"/>
                <a:gd name="connsiteY145" fmla="*/ 234784 h 787401"/>
                <a:gd name="connsiteX146" fmla="*/ 7185536 w 8810623"/>
                <a:gd name="connsiteY146" fmla="*/ 174625 h 787401"/>
                <a:gd name="connsiteX147" fmla="*/ 5407142 w 8810623"/>
                <a:gd name="connsiteY147" fmla="*/ 174625 h 787401"/>
                <a:gd name="connsiteX148" fmla="*/ 5495269 w 8810623"/>
                <a:gd name="connsiteY148" fmla="*/ 190597 h 787401"/>
                <a:gd name="connsiteX149" fmla="*/ 5554337 w 8810623"/>
                <a:gd name="connsiteY149" fmla="*/ 234935 h 787401"/>
                <a:gd name="connsiteX150" fmla="*/ 5574821 w 8810623"/>
                <a:gd name="connsiteY150" fmla="*/ 298582 h 787401"/>
                <a:gd name="connsiteX151" fmla="*/ 5574821 w 8810623"/>
                <a:gd name="connsiteY151" fmla="*/ 301204 h 787401"/>
                <a:gd name="connsiteX152" fmla="*/ 5566246 w 8810623"/>
                <a:gd name="connsiteY152" fmla="*/ 309786 h 787401"/>
                <a:gd name="connsiteX153" fmla="*/ 5505987 w 8810623"/>
                <a:gd name="connsiteY153" fmla="*/ 309786 h 787401"/>
                <a:gd name="connsiteX154" fmla="*/ 5497412 w 8810623"/>
                <a:gd name="connsiteY154" fmla="*/ 301204 h 787401"/>
                <a:gd name="connsiteX155" fmla="*/ 5497412 w 8810623"/>
                <a:gd name="connsiteY155" fmla="*/ 298582 h 787401"/>
                <a:gd name="connsiteX156" fmla="*/ 5472880 w 8810623"/>
                <a:gd name="connsiteY156" fmla="*/ 256866 h 787401"/>
                <a:gd name="connsiteX157" fmla="*/ 5406427 w 8810623"/>
                <a:gd name="connsiteY157" fmla="*/ 240179 h 787401"/>
                <a:gd name="connsiteX158" fmla="*/ 5344738 w 8810623"/>
                <a:gd name="connsiteY158" fmla="*/ 254720 h 787401"/>
                <a:gd name="connsiteX159" fmla="*/ 5321158 w 8810623"/>
                <a:gd name="connsiteY159" fmla="*/ 294291 h 787401"/>
                <a:gd name="connsiteX160" fmla="*/ 5344024 w 8810623"/>
                <a:gd name="connsiteY160" fmla="*/ 332193 h 787401"/>
                <a:gd name="connsiteX161" fmla="*/ 5417622 w 8810623"/>
                <a:gd name="connsiteY161" fmla="*/ 359845 h 787401"/>
                <a:gd name="connsiteX162" fmla="*/ 5500509 w 8810623"/>
                <a:gd name="connsiteY162" fmla="*/ 386782 h 787401"/>
                <a:gd name="connsiteX163" fmla="*/ 5556719 w 8810623"/>
                <a:gd name="connsiteY163" fmla="*/ 426353 h 787401"/>
                <a:gd name="connsiteX164" fmla="*/ 5580061 w 8810623"/>
                <a:gd name="connsiteY164" fmla="*/ 494768 h 787401"/>
                <a:gd name="connsiteX165" fmla="*/ 5534092 w 8810623"/>
                <a:gd name="connsiteY165" fmla="*/ 587735 h 787401"/>
                <a:gd name="connsiteX166" fmla="*/ 5411429 w 8810623"/>
                <a:gd name="connsiteY166" fmla="*/ 622300 h 787401"/>
                <a:gd name="connsiteX167" fmla="*/ 5320682 w 8810623"/>
                <a:gd name="connsiteY167" fmla="*/ 606806 h 787401"/>
                <a:gd name="connsiteX168" fmla="*/ 5260184 w 8810623"/>
                <a:gd name="connsiteY168" fmla="*/ 564136 h 787401"/>
                <a:gd name="connsiteX169" fmla="*/ 5238748 w 8810623"/>
                <a:gd name="connsiteY169" fmla="*/ 504303 h 787401"/>
                <a:gd name="connsiteX170" fmla="*/ 5238748 w 8810623"/>
                <a:gd name="connsiteY170" fmla="*/ 494768 h 787401"/>
                <a:gd name="connsiteX171" fmla="*/ 5247322 w 8810623"/>
                <a:gd name="connsiteY171" fmla="*/ 486186 h 787401"/>
                <a:gd name="connsiteX172" fmla="*/ 5309249 w 8810623"/>
                <a:gd name="connsiteY172" fmla="*/ 486186 h 787401"/>
                <a:gd name="connsiteX173" fmla="*/ 5317824 w 8810623"/>
                <a:gd name="connsiteY173" fmla="*/ 494768 h 787401"/>
                <a:gd name="connsiteX174" fmla="*/ 5317824 w 8810623"/>
                <a:gd name="connsiteY174" fmla="*/ 499059 h 787401"/>
                <a:gd name="connsiteX175" fmla="*/ 5344024 w 8810623"/>
                <a:gd name="connsiteY175" fmla="*/ 541252 h 787401"/>
                <a:gd name="connsiteX176" fmla="*/ 5410714 w 8810623"/>
                <a:gd name="connsiteY176" fmla="*/ 559368 h 787401"/>
                <a:gd name="connsiteX177" fmla="*/ 5473356 w 8810623"/>
                <a:gd name="connsiteY177" fmla="*/ 542682 h 787401"/>
                <a:gd name="connsiteX178" fmla="*/ 5497412 w 8810623"/>
                <a:gd name="connsiteY178" fmla="*/ 500012 h 787401"/>
                <a:gd name="connsiteX179" fmla="*/ 5475261 w 8810623"/>
                <a:gd name="connsiteY179" fmla="*/ 462587 h 787401"/>
                <a:gd name="connsiteX180" fmla="*/ 5402854 w 8810623"/>
                <a:gd name="connsiteY180" fmla="*/ 436365 h 787401"/>
                <a:gd name="connsiteX181" fmla="*/ 5320682 w 8810623"/>
                <a:gd name="connsiteY181" fmla="*/ 408475 h 787401"/>
                <a:gd name="connsiteX182" fmla="*/ 5264948 w 8810623"/>
                <a:gd name="connsiteY182" fmla="*/ 367950 h 787401"/>
                <a:gd name="connsiteX183" fmla="*/ 5242082 w 8810623"/>
                <a:gd name="connsiteY183" fmla="*/ 300489 h 787401"/>
                <a:gd name="connsiteX184" fmla="*/ 5287337 w 8810623"/>
                <a:gd name="connsiteY184" fmla="*/ 208713 h 787401"/>
                <a:gd name="connsiteX185" fmla="*/ 5407142 w 8810623"/>
                <a:gd name="connsiteY185" fmla="*/ 174625 h 787401"/>
                <a:gd name="connsiteX186" fmla="*/ 1908331 w 8810623"/>
                <a:gd name="connsiteY186" fmla="*/ 174625 h 787401"/>
                <a:gd name="connsiteX187" fmla="*/ 1958484 w 8810623"/>
                <a:gd name="connsiteY187" fmla="*/ 185801 h 787401"/>
                <a:gd name="connsiteX188" fmla="*/ 1962782 w 8810623"/>
                <a:gd name="connsiteY188" fmla="*/ 196263 h 787401"/>
                <a:gd name="connsiteX189" fmla="*/ 1948931 w 8810623"/>
                <a:gd name="connsiteY189" fmla="*/ 260703 h 787401"/>
                <a:gd name="connsiteX190" fmla="*/ 1938661 w 8810623"/>
                <a:gd name="connsiteY190" fmla="*/ 265696 h 787401"/>
                <a:gd name="connsiteX191" fmla="*/ 1904033 w 8810623"/>
                <a:gd name="connsiteY191" fmla="*/ 259752 h 787401"/>
                <a:gd name="connsiteX192" fmla="*/ 1892091 w 8810623"/>
                <a:gd name="connsiteY192" fmla="*/ 260703 h 787401"/>
                <a:gd name="connsiteX193" fmla="*/ 1825224 w 8810623"/>
                <a:gd name="connsiteY193" fmla="*/ 288523 h 787401"/>
                <a:gd name="connsiteX194" fmla="*/ 1798954 w 8810623"/>
                <a:gd name="connsiteY194" fmla="*/ 356767 h 787401"/>
                <a:gd name="connsiteX195" fmla="*/ 1798954 w 8810623"/>
                <a:gd name="connsiteY195" fmla="*/ 607390 h 787401"/>
                <a:gd name="connsiteX196" fmla="*/ 1790358 w 8810623"/>
                <a:gd name="connsiteY196" fmla="*/ 615950 h 787401"/>
                <a:gd name="connsiteX197" fmla="*/ 1724683 w 8810623"/>
                <a:gd name="connsiteY197" fmla="*/ 615950 h 787401"/>
                <a:gd name="connsiteX198" fmla="*/ 1716086 w 8810623"/>
                <a:gd name="connsiteY198" fmla="*/ 607390 h 787401"/>
                <a:gd name="connsiteX199" fmla="*/ 1716086 w 8810623"/>
                <a:gd name="connsiteY199" fmla="*/ 187703 h 787401"/>
                <a:gd name="connsiteX200" fmla="*/ 1724683 w 8810623"/>
                <a:gd name="connsiteY200" fmla="*/ 179143 h 787401"/>
                <a:gd name="connsiteX201" fmla="*/ 1790358 w 8810623"/>
                <a:gd name="connsiteY201" fmla="*/ 179143 h 787401"/>
                <a:gd name="connsiteX202" fmla="*/ 1798954 w 8810623"/>
                <a:gd name="connsiteY202" fmla="*/ 187703 h 787401"/>
                <a:gd name="connsiteX203" fmla="*/ 1798954 w 8810623"/>
                <a:gd name="connsiteY203" fmla="*/ 233120 h 787401"/>
                <a:gd name="connsiteX204" fmla="*/ 1800149 w 8810623"/>
                <a:gd name="connsiteY204" fmla="*/ 236211 h 787401"/>
                <a:gd name="connsiteX205" fmla="*/ 1802297 w 8810623"/>
                <a:gd name="connsiteY205" fmla="*/ 234784 h 787401"/>
                <a:gd name="connsiteX206" fmla="*/ 1908331 w 8810623"/>
                <a:gd name="connsiteY206" fmla="*/ 174625 h 787401"/>
                <a:gd name="connsiteX207" fmla="*/ 8657956 w 8810623"/>
                <a:gd name="connsiteY207" fmla="*/ 173038 h 787401"/>
                <a:gd name="connsiteX208" fmla="*/ 8769484 w 8810623"/>
                <a:gd name="connsiteY208" fmla="*/ 213930 h 787401"/>
                <a:gd name="connsiteX209" fmla="*/ 8810623 w 8810623"/>
                <a:gd name="connsiteY209" fmla="*/ 324242 h 787401"/>
                <a:gd name="connsiteX210" fmla="*/ 8810623 w 8810623"/>
                <a:gd name="connsiteY210" fmla="*/ 607393 h 787401"/>
                <a:gd name="connsiteX211" fmla="*/ 8802062 w 8810623"/>
                <a:gd name="connsiteY211" fmla="*/ 615951 h 787401"/>
                <a:gd name="connsiteX212" fmla="*/ 8736905 w 8810623"/>
                <a:gd name="connsiteY212" fmla="*/ 615951 h 787401"/>
                <a:gd name="connsiteX213" fmla="*/ 8728345 w 8810623"/>
                <a:gd name="connsiteY213" fmla="*/ 607393 h 787401"/>
                <a:gd name="connsiteX214" fmla="*/ 8728345 w 8810623"/>
                <a:gd name="connsiteY214" fmla="*/ 340408 h 787401"/>
                <a:gd name="connsiteX215" fmla="*/ 8703376 w 8810623"/>
                <a:gd name="connsiteY215" fmla="*/ 270988 h 787401"/>
                <a:gd name="connsiteX216" fmla="*/ 8637267 w 8810623"/>
                <a:gd name="connsiteY216" fmla="*/ 244361 h 787401"/>
                <a:gd name="connsiteX217" fmla="*/ 8571159 w 8810623"/>
                <a:gd name="connsiteY217" fmla="*/ 270988 h 787401"/>
                <a:gd name="connsiteX218" fmla="*/ 8545477 w 8810623"/>
                <a:gd name="connsiteY218" fmla="*/ 339695 h 787401"/>
                <a:gd name="connsiteX219" fmla="*/ 8545477 w 8810623"/>
                <a:gd name="connsiteY219" fmla="*/ 607393 h 787401"/>
                <a:gd name="connsiteX220" fmla="*/ 8536916 w 8810623"/>
                <a:gd name="connsiteY220" fmla="*/ 615951 h 787401"/>
                <a:gd name="connsiteX221" fmla="*/ 8471759 w 8810623"/>
                <a:gd name="connsiteY221" fmla="*/ 615951 h 787401"/>
                <a:gd name="connsiteX222" fmla="*/ 8462960 w 8810623"/>
                <a:gd name="connsiteY222" fmla="*/ 607393 h 787401"/>
                <a:gd name="connsiteX223" fmla="*/ 8462960 w 8810623"/>
                <a:gd name="connsiteY223" fmla="*/ 187778 h 787401"/>
                <a:gd name="connsiteX224" fmla="*/ 8471759 w 8810623"/>
                <a:gd name="connsiteY224" fmla="*/ 179220 h 787401"/>
                <a:gd name="connsiteX225" fmla="*/ 8536916 w 8810623"/>
                <a:gd name="connsiteY225" fmla="*/ 179220 h 787401"/>
                <a:gd name="connsiteX226" fmla="*/ 8545477 w 8810623"/>
                <a:gd name="connsiteY226" fmla="*/ 187778 h 787401"/>
                <a:gd name="connsiteX227" fmla="*/ 8545477 w 8810623"/>
                <a:gd name="connsiteY227" fmla="*/ 218685 h 787401"/>
                <a:gd name="connsiteX228" fmla="*/ 8546666 w 8810623"/>
                <a:gd name="connsiteY228" fmla="*/ 221062 h 787401"/>
                <a:gd name="connsiteX229" fmla="*/ 8548806 w 8810623"/>
                <a:gd name="connsiteY229" fmla="*/ 220349 h 787401"/>
                <a:gd name="connsiteX230" fmla="*/ 8657956 w 8810623"/>
                <a:gd name="connsiteY230" fmla="*/ 173038 h 787401"/>
                <a:gd name="connsiteX231" fmla="*/ 8170266 w 8810623"/>
                <a:gd name="connsiteY231" fmla="*/ 173038 h 787401"/>
                <a:gd name="connsiteX232" fmla="*/ 8299682 w 8810623"/>
                <a:gd name="connsiteY232" fmla="*/ 216270 h 787401"/>
                <a:gd name="connsiteX233" fmla="*/ 8351923 w 8810623"/>
                <a:gd name="connsiteY233" fmla="*/ 343592 h 787401"/>
                <a:gd name="connsiteX234" fmla="*/ 8354535 w 8810623"/>
                <a:gd name="connsiteY234" fmla="*/ 422455 h 787401"/>
                <a:gd name="connsiteX235" fmla="*/ 8345986 w 8810623"/>
                <a:gd name="connsiteY235" fmla="*/ 431006 h 787401"/>
                <a:gd name="connsiteX236" fmla="*/ 8072433 w 8810623"/>
                <a:gd name="connsiteY236" fmla="*/ 431006 h 787401"/>
                <a:gd name="connsiteX237" fmla="*/ 8069108 w 8810623"/>
                <a:gd name="connsiteY237" fmla="*/ 434569 h 787401"/>
                <a:gd name="connsiteX238" fmla="*/ 8074095 w 8810623"/>
                <a:gd name="connsiteY238" fmla="*/ 478989 h 787401"/>
                <a:gd name="connsiteX239" fmla="*/ 8112326 w 8810623"/>
                <a:gd name="connsiteY239" fmla="*/ 532673 h 787401"/>
                <a:gd name="connsiteX240" fmla="*/ 8184751 w 8810623"/>
                <a:gd name="connsiteY240" fmla="*/ 551914 h 787401"/>
                <a:gd name="connsiteX241" fmla="*/ 8282347 w 8810623"/>
                <a:gd name="connsiteY241" fmla="*/ 499655 h 787401"/>
                <a:gd name="connsiteX242" fmla="*/ 8293508 w 8810623"/>
                <a:gd name="connsiteY242" fmla="*/ 497042 h 787401"/>
                <a:gd name="connsiteX243" fmla="*/ 8342424 w 8810623"/>
                <a:gd name="connsiteY243" fmla="*/ 529585 h 787401"/>
                <a:gd name="connsiteX244" fmla="*/ 8345036 w 8810623"/>
                <a:gd name="connsiteY244" fmla="*/ 540749 h 787401"/>
                <a:gd name="connsiteX245" fmla="*/ 8276886 w 8810623"/>
                <a:gd name="connsiteY245" fmla="*/ 601560 h 787401"/>
                <a:gd name="connsiteX246" fmla="*/ 8176915 w 8810623"/>
                <a:gd name="connsiteY246" fmla="*/ 623888 h 787401"/>
                <a:gd name="connsiteX247" fmla="*/ 8071483 w 8810623"/>
                <a:gd name="connsiteY247" fmla="*/ 596571 h 787401"/>
                <a:gd name="connsiteX248" fmla="*/ 8007369 w 8810623"/>
                <a:gd name="connsiteY248" fmla="*/ 518421 h 787401"/>
                <a:gd name="connsiteX249" fmla="*/ 7986710 w 8810623"/>
                <a:gd name="connsiteY249" fmla="*/ 395850 h 787401"/>
                <a:gd name="connsiteX250" fmla="*/ 7996208 w 8810623"/>
                <a:gd name="connsiteY250" fmla="*/ 300835 h 787401"/>
                <a:gd name="connsiteX251" fmla="*/ 8057948 w 8810623"/>
                <a:gd name="connsiteY251" fmla="*/ 207244 h 787401"/>
                <a:gd name="connsiteX252" fmla="*/ 8170266 w 8810623"/>
                <a:gd name="connsiteY252" fmla="*/ 173038 h 787401"/>
                <a:gd name="connsiteX253" fmla="*/ 7457407 w 8810623"/>
                <a:gd name="connsiteY253" fmla="*/ 173038 h 787401"/>
                <a:gd name="connsiteX254" fmla="*/ 7568301 w 8810623"/>
                <a:gd name="connsiteY254" fmla="*/ 215834 h 787401"/>
                <a:gd name="connsiteX255" fmla="*/ 7571157 w 8810623"/>
                <a:gd name="connsiteY255" fmla="*/ 217261 h 787401"/>
                <a:gd name="connsiteX256" fmla="*/ 7572585 w 8810623"/>
                <a:gd name="connsiteY256" fmla="*/ 215121 h 787401"/>
                <a:gd name="connsiteX257" fmla="*/ 7572585 w 8810623"/>
                <a:gd name="connsiteY257" fmla="*/ 188492 h 787401"/>
                <a:gd name="connsiteX258" fmla="*/ 7581152 w 8810623"/>
                <a:gd name="connsiteY258" fmla="*/ 179933 h 787401"/>
                <a:gd name="connsiteX259" fmla="*/ 7646356 w 8810623"/>
                <a:gd name="connsiteY259" fmla="*/ 179933 h 787401"/>
                <a:gd name="connsiteX260" fmla="*/ 7654923 w 8810623"/>
                <a:gd name="connsiteY260" fmla="*/ 188492 h 787401"/>
                <a:gd name="connsiteX261" fmla="*/ 7654923 w 8810623"/>
                <a:gd name="connsiteY261" fmla="*/ 594343 h 787401"/>
                <a:gd name="connsiteX262" fmla="*/ 7596144 w 8810623"/>
                <a:gd name="connsiteY262" fmla="*/ 742941 h 787401"/>
                <a:gd name="connsiteX263" fmla="*/ 7438607 w 8810623"/>
                <a:gd name="connsiteY263" fmla="*/ 787401 h 787401"/>
                <a:gd name="connsiteX264" fmla="*/ 7395535 w 8810623"/>
                <a:gd name="connsiteY264" fmla="*/ 785737 h 787401"/>
                <a:gd name="connsiteX265" fmla="*/ 7386968 w 8810623"/>
                <a:gd name="connsiteY265" fmla="*/ 776227 h 787401"/>
                <a:gd name="connsiteX266" fmla="*/ 7389585 w 8810623"/>
                <a:gd name="connsiteY266" fmla="*/ 717025 h 787401"/>
                <a:gd name="connsiteX267" fmla="*/ 7392203 w 8810623"/>
                <a:gd name="connsiteY267" fmla="*/ 711081 h 787401"/>
                <a:gd name="connsiteX268" fmla="*/ 7399104 w 8810623"/>
                <a:gd name="connsiteY268" fmla="*/ 709417 h 787401"/>
                <a:gd name="connsiteX269" fmla="*/ 7434324 w 8810623"/>
                <a:gd name="connsiteY269" fmla="*/ 710130 h 787401"/>
                <a:gd name="connsiteX270" fmla="*/ 7539983 w 8810623"/>
                <a:gd name="connsiteY270" fmla="*/ 683264 h 787401"/>
                <a:gd name="connsiteX271" fmla="*/ 7572585 w 8810623"/>
                <a:gd name="connsiteY271" fmla="*/ 591728 h 787401"/>
                <a:gd name="connsiteX272" fmla="*/ 7572585 w 8810623"/>
                <a:gd name="connsiteY272" fmla="*/ 576273 h 787401"/>
                <a:gd name="connsiteX273" fmla="*/ 7571157 w 8810623"/>
                <a:gd name="connsiteY273" fmla="*/ 573658 h 787401"/>
                <a:gd name="connsiteX274" fmla="*/ 7568301 w 8810623"/>
                <a:gd name="connsiteY274" fmla="*/ 574609 h 787401"/>
                <a:gd name="connsiteX275" fmla="*/ 7462642 w 8810623"/>
                <a:gd name="connsiteY275" fmla="*/ 616692 h 787401"/>
                <a:gd name="connsiteX276" fmla="*/ 7361505 w 8810623"/>
                <a:gd name="connsiteY276" fmla="*/ 587448 h 787401"/>
                <a:gd name="connsiteX277" fmla="*/ 7299395 w 8810623"/>
                <a:gd name="connsiteY277" fmla="*/ 501618 h 787401"/>
                <a:gd name="connsiteX278" fmla="*/ 7288210 w 8810623"/>
                <a:gd name="connsiteY278" fmla="*/ 397005 h 787401"/>
                <a:gd name="connsiteX279" fmla="*/ 7301060 w 8810623"/>
                <a:gd name="connsiteY279" fmla="*/ 287161 h 787401"/>
                <a:gd name="connsiteX280" fmla="*/ 7359125 w 8810623"/>
                <a:gd name="connsiteY280" fmla="*/ 204184 h 787401"/>
                <a:gd name="connsiteX281" fmla="*/ 7457407 w 8810623"/>
                <a:gd name="connsiteY281" fmla="*/ 173038 h 787401"/>
                <a:gd name="connsiteX282" fmla="*/ 6702382 w 8810623"/>
                <a:gd name="connsiteY282" fmla="*/ 173038 h 787401"/>
                <a:gd name="connsiteX283" fmla="*/ 6832594 w 8810623"/>
                <a:gd name="connsiteY283" fmla="*/ 216270 h 787401"/>
                <a:gd name="connsiteX284" fmla="*/ 6885061 w 8810623"/>
                <a:gd name="connsiteY284" fmla="*/ 343592 h 787401"/>
                <a:gd name="connsiteX285" fmla="*/ 6887684 w 8810623"/>
                <a:gd name="connsiteY285" fmla="*/ 422455 h 787401"/>
                <a:gd name="connsiteX286" fmla="*/ 6878860 w 8810623"/>
                <a:gd name="connsiteY286" fmla="*/ 431006 h 787401"/>
                <a:gd name="connsiteX287" fmla="*/ 6604365 w 8810623"/>
                <a:gd name="connsiteY287" fmla="*/ 431006 h 787401"/>
                <a:gd name="connsiteX288" fmla="*/ 6601027 w 8810623"/>
                <a:gd name="connsiteY288" fmla="*/ 434569 h 787401"/>
                <a:gd name="connsiteX289" fmla="*/ 6606035 w 8810623"/>
                <a:gd name="connsiteY289" fmla="*/ 478989 h 787401"/>
                <a:gd name="connsiteX290" fmla="*/ 6644431 w 8810623"/>
                <a:gd name="connsiteY290" fmla="*/ 532673 h 787401"/>
                <a:gd name="connsiteX291" fmla="*/ 6717168 w 8810623"/>
                <a:gd name="connsiteY291" fmla="*/ 551914 h 787401"/>
                <a:gd name="connsiteX292" fmla="*/ 6815185 w 8810623"/>
                <a:gd name="connsiteY292" fmla="*/ 499655 h 787401"/>
                <a:gd name="connsiteX293" fmla="*/ 6826394 w 8810623"/>
                <a:gd name="connsiteY293" fmla="*/ 497042 h 787401"/>
                <a:gd name="connsiteX294" fmla="*/ 6875521 w 8810623"/>
                <a:gd name="connsiteY294" fmla="*/ 529585 h 787401"/>
                <a:gd name="connsiteX295" fmla="*/ 6878145 w 8810623"/>
                <a:gd name="connsiteY295" fmla="*/ 540749 h 787401"/>
                <a:gd name="connsiteX296" fmla="*/ 6809700 w 8810623"/>
                <a:gd name="connsiteY296" fmla="*/ 601560 h 787401"/>
                <a:gd name="connsiteX297" fmla="*/ 6709298 w 8810623"/>
                <a:gd name="connsiteY297" fmla="*/ 623888 h 787401"/>
                <a:gd name="connsiteX298" fmla="*/ 6603412 w 8810623"/>
                <a:gd name="connsiteY298" fmla="*/ 596571 h 787401"/>
                <a:gd name="connsiteX299" fmla="*/ 6539021 w 8810623"/>
                <a:gd name="connsiteY299" fmla="*/ 518421 h 787401"/>
                <a:gd name="connsiteX300" fmla="*/ 6518273 w 8810623"/>
                <a:gd name="connsiteY300" fmla="*/ 395850 h 787401"/>
                <a:gd name="connsiteX301" fmla="*/ 6527812 w 8810623"/>
                <a:gd name="connsiteY301" fmla="*/ 300835 h 787401"/>
                <a:gd name="connsiteX302" fmla="*/ 6589818 w 8810623"/>
                <a:gd name="connsiteY302" fmla="*/ 207244 h 787401"/>
                <a:gd name="connsiteX303" fmla="*/ 6702382 w 8810623"/>
                <a:gd name="connsiteY303" fmla="*/ 173038 h 787401"/>
                <a:gd name="connsiteX304" fmla="*/ 6260593 w 8810623"/>
                <a:gd name="connsiteY304" fmla="*/ 173038 h 787401"/>
                <a:gd name="connsiteX305" fmla="*/ 6372121 w 8810623"/>
                <a:gd name="connsiteY305" fmla="*/ 213930 h 787401"/>
                <a:gd name="connsiteX306" fmla="*/ 6413498 w 8810623"/>
                <a:gd name="connsiteY306" fmla="*/ 324242 h 787401"/>
                <a:gd name="connsiteX307" fmla="*/ 6413498 w 8810623"/>
                <a:gd name="connsiteY307" fmla="*/ 607393 h 787401"/>
                <a:gd name="connsiteX308" fmla="*/ 6404699 w 8810623"/>
                <a:gd name="connsiteY308" fmla="*/ 615951 h 787401"/>
                <a:gd name="connsiteX309" fmla="*/ 6339542 w 8810623"/>
                <a:gd name="connsiteY309" fmla="*/ 615951 h 787401"/>
                <a:gd name="connsiteX310" fmla="*/ 6330981 w 8810623"/>
                <a:gd name="connsiteY310" fmla="*/ 607393 h 787401"/>
                <a:gd name="connsiteX311" fmla="*/ 6330981 w 8810623"/>
                <a:gd name="connsiteY311" fmla="*/ 340408 h 787401"/>
                <a:gd name="connsiteX312" fmla="*/ 6306012 w 8810623"/>
                <a:gd name="connsiteY312" fmla="*/ 270988 h 787401"/>
                <a:gd name="connsiteX313" fmla="*/ 6239904 w 8810623"/>
                <a:gd name="connsiteY313" fmla="*/ 244361 h 787401"/>
                <a:gd name="connsiteX314" fmla="*/ 6173796 w 8810623"/>
                <a:gd name="connsiteY314" fmla="*/ 270988 h 787401"/>
                <a:gd name="connsiteX315" fmla="*/ 6148114 w 8810623"/>
                <a:gd name="connsiteY315" fmla="*/ 339695 h 787401"/>
                <a:gd name="connsiteX316" fmla="*/ 6148114 w 8810623"/>
                <a:gd name="connsiteY316" fmla="*/ 607393 h 787401"/>
                <a:gd name="connsiteX317" fmla="*/ 6139553 w 8810623"/>
                <a:gd name="connsiteY317" fmla="*/ 615951 h 787401"/>
                <a:gd name="connsiteX318" fmla="*/ 6074396 w 8810623"/>
                <a:gd name="connsiteY318" fmla="*/ 615951 h 787401"/>
                <a:gd name="connsiteX319" fmla="*/ 6065835 w 8810623"/>
                <a:gd name="connsiteY319" fmla="*/ 607393 h 787401"/>
                <a:gd name="connsiteX320" fmla="*/ 6065835 w 8810623"/>
                <a:gd name="connsiteY320" fmla="*/ 187778 h 787401"/>
                <a:gd name="connsiteX321" fmla="*/ 6074396 w 8810623"/>
                <a:gd name="connsiteY321" fmla="*/ 179220 h 787401"/>
                <a:gd name="connsiteX322" fmla="*/ 6139553 w 8810623"/>
                <a:gd name="connsiteY322" fmla="*/ 179220 h 787401"/>
                <a:gd name="connsiteX323" fmla="*/ 6148114 w 8810623"/>
                <a:gd name="connsiteY323" fmla="*/ 187778 h 787401"/>
                <a:gd name="connsiteX324" fmla="*/ 6148114 w 8810623"/>
                <a:gd name="connsiteY324" fmla="*/ 218685 h 787401"/>
                <a:gd name="connsiteX325" fmla="*/ 6149540 w 8810623"/>
                <a:gd name="connsiteY325" fmla="*/ 221062 h 787401"/>
                <a:gd name="connsiteX326" fmla="*/ 6151681 w 8810623"/>
                <a:gd name="connsiteY326" fmla="*/ 220349 h 787401"/>
                <a:gd name="connsiteX327" fmla="*/ 6260593 w 8810623"/>
                <a:gd name="connsiteY327" fmla="*/ 173038 h 787401"/>
                <a:gd name="connsiteX328" fmla="*/ 4806681 w 8810623"/>
                <a:gd name="connsiteY328" fmla="*/ 173038 h 787401"/>
                <a:gd name="connsiteX329" fmla="*/ 4918209 w 8810623"/>
                <a:gd name="connsiteY329" fmla="*/ 213930 h 787401"/>
                <a:gd name="connsiteX330" fmla="*/ 4959348 w 8810623"/>
                <a:gd name="connsiteY330" fmla="*/ 324242 h 787401"/>
                <a:gd name="connsiteX331" fmla="*/ 4959348 w 8810623"/>
                <a:gd name="connsiteY331" fmla="*/ 607393 h 787401"/>
                <a:gd name="connsiteX332" fmla="*/ 4950787 w 8810623"/>
                <a:gd name="connsiteY332" fmla="*/ 615951 h 787401"/>
                <a:gd name="connsiteX333" fmla="*/ 4885630 w 8810623"/>
                <a:gd name="connsiteY333" fmla="*/ 615951 h 787401"/>
                <a:gd name="connsiteX334" fmla="*/ 4877069 w 8810623"/>
                <a:gd name="connsiteY334" fmla="*/ 607393 h 787401"/>
                <a:gd name="connsiteX335" fmla="*/ 4877069 w 8810623"/>
                <a:gd name="connsiteY335" fmla="*/ 340408 h 787401"/>
                <a:gd name="connsiteX336" fmla="*/ 4852100 w 8810623"/>
                <a:gd name="connsiteY336" fmla="*/ 270988 h 787401"/>
                <a:gd name="connsiteX337" fmla="*/ 4785992 w 8810623"/>
                <a:gd name="connsiteY337" fmla="*/ 244361 h 787401"/>
                <a:gd name="connsiteX338" fmla="*/ 4719884 w 8810623"/>
                <a:gd name="connsiteY338" fmla="*/ 270988 h 787401"/>
                <a:gd name="connsiteX339" fmla="*/ 4694201 w 8810623"/>
                <a:gd name="connsiteY339" fmla="*/ 339695 h 787401"/>
                <a:gd name="connsiteX340" fmla="*/ 4694201 w 8810623"/>
                <a:gd name="connsiteY340" fmla="*/ 607393 h 787401"/>
                <a:gd name="connsiteX341" fmla="*/ 4685641 w 8810623"/>
                <a:gd name="connsiteY341" fmla="*/ 615951 h 787401"/>
                <a:gd name="connsiteX342" fmla="*/ 4620246 w 8810623"/>
                <a:gd name="connsiteY342" fmla="*/ 615951 h 787401"/>
                <a:gd name="connsiteX343" fmla="*/ 4611685 w 8810623"/>
                <a:gd name="connsiteY343" fmla="*/ 607393 h 787401"/>
                <a:gd name="connsiteX344" fmla="*/ 4611685 w 8810623"/>
                <a:gd name="connsiteY344" fmla="*/ 187778 h 787401"/>
                <a:gd name="connsiteX345" fmla="*/ 4620246 w 8810623"/>
                <a:gd name="connsiteY345" fmla="*/ 179220 h 787401"/>
                <a:gd name="connsiteX346" fmla="*/ 4685641 w 8810623"/>
                <a:gd name="connsiteY346" fmla="*/ 179220 h 787401"/>
                <a:gd name="connsiteX347" fmla="*/ 4694201 w 8810623"/>
                <a:gd name="connsiteY347" fmla="*/ 187778 h 787401"/>
                <a:gd name="connsiteX348" fmla="*/ 4694201 w 8810623"/>
                <a:gd name="connsiteY348" fmla="*/ 218685 h 787401"/>
                <a:gd name="connsiteX349" fmla="*/ 4695390 w 8810623"/>
                <a:gd name="connsiteY349" fmla="*/ 221062 h 787401"/>
                <a:gd name="connsiteX350" fmla="*/ 4697531 w 8810623"/>
                <a:gd name="connsiteY350" fmla="*/ 220349 h 787401"/>
                <a:gd name="connsiteX351" fmla="*/ 4806681 w 8810623"/>
                <a:gd name="connsiteY351" fmla="*/ 173038 h 787401"/>
                <a:gd name="connsiteX352" fmla="*/ 4320462 w 8810623"/>
                <a:gd name="connsiteY352" fmla="*/ 173038 h 787401"/>
                <a:gd name="connsiteX353" fmla="*/ 4449959 w 8810623"/>
                <a:gd name="connsiteY353" fmla="*/ 216270 h 787401"/>
                <a:gd name="connsiteX354" fmla="*/ 4502234 w 8810623"/>
                <a:gd name="connsiteY354" fmla="*/ 343592 h 787401"/>
                <a:gd name="connsiteX355" fmla="*/ 4504848 w 8810623"/>
                <a:gd name="connsiteY355" fmla="*/ 422455 h 787401"/>
                <a:gd name="connsiteX356" fmla="*/ 4496294 w 8810623"/>
                <a:gd name="connsiteY356" fmla="*/ 431006 h 787401"/>
                <a:gd name="connsiteX357" fmla="*/ 4222803 w 8810623"/>
                <a:gd name="connsiteY357" fmla="*/ 431006 h 787401"/>
                <a:gd name="connsiteX358" fmla="*/ 4219239 w 8810623"/>
                <a:gd name="connsiteY358" fmla="*/ 434569 h 787401"/>
                <a:gd name="connsiteX359" fmla="*/ 4224466 w 8810623"/>
                <a:gd name="connsiteY359" fmla="*/ 478989 h 787401"/>
                <a:gd name="connsiteX360" fmla="*/ 4262484 w 8810623"/>
                <a:gd name="connsiteY360" fmla="*/ 532673 h 787401"/>
                <a:gd name="connsiteX361" fmla="*/ 4334956 w 8810623"/>
                <a:gd name="connsiteY361" fmla="*/ 551914 h 787401"/>
                <a:gd name="connsiteX362" fmla="*/ 4432851 w 8810623"/>
                <a:gd name="connsiteY362" fmla="*/ 499655 h 787401"/>
                <a:gd name="connsiteX363" fmla="*/ 4444019 w 8810623"/>
                <a:gd name="connsiteY363" fmla="*/ 497042 h 787401"/>
                <a:gd name="connsiteX364" fmla="*/ 4492967 w 8810623"/>
                <a:gd name="connsiteY364" fmla="*/ 529585 h 787401"/>
                <a:gd name="connsiteX365" fmla="*/ 4495581 w 8810623"/>
                <a:gd name="connsiteY365" fmla="*/ 540749 h 787401"/>
                <a:gd name="connsiteX366" fmla="*/ 4427148 w 8810623"/>
                <a:gd name="connsiteY366" fmla="*/ 601560 h 787401"/>
                <a:gd name="connsiteX367" fmla="*/ 4327353 w 8810623"/>
                <a:gd name="connsiteY367" fmla="*/ 623888 h 787401"/>
                <a:gd name="connsiteX368" fmla="*/ 4221853 w 8810623"/>
                <a:gd name="connsiteY368" fmla="*/ 596571 h 787401"/>
                <a:gd name="connsiteX369" fmla="*/ 4157460 w 8810623"/>
                <a:gd name="connsiteY369" fmla="*/ 518421 h 787401"/>
                <a:gd name="connsiteX370" fmla="*/ 4137025 w 8810623"/>
                <a:gd name="connsiteY370" fmla="*/ 395850 h 787401"/>
                <a:gd name="connsiteX371" fmla="*/ 4146292 w 8810623"/>
                <a:gd name="connsiteY371" fmla="*/ 300835 h 787401"/>
                <a:gd name="connsiteX372" fmla="*/ 4208071 w 8810623"/>
                <a:gd name="connsiteY372" fmla="*/ 207244 h 787401"/>
                <a:gd name="connsiteX373" fmla="*/ 4320462 w 8810623"/>
                <a:gd name="connsiteY373" fmla="*/ 173038 h 787401"/>
                <a:gd name="connsiteX374" fmla="*/ 3635297 w 8810623"/>
                <a:gd name="connsiteY374" fmla="*/ 173038 h 787401"/>
                <a:gd name="connsiteX375" fmla="*/ 3710009 w 8810623"/>
                <a:gd name="connsiteY375" fmla="*/ 189918 h 787401"/>
                <a:gd name="connsiteX376" fmla="*/ 3758072 w 8810623"/>
                <a:gd name="connsiteY376" fmla="*/ 239130 h 787401"/>
                <a:gd name="connsiteX377" fmla="*/ 3763306 w 8810623"/>
                <a:gd name="connsiteY377" fmla="*/ 239130 h 787401"/>
                <a:gd name="connsiteX378" fmla="*/ 3817793 w 8810623"/>
                <a:gd name="connsiteY378" fmla="*/ 189442 h 787401"/>
                <a:gd name="connsiteX379" fmla="*/ 3892981 w 8810623"/>
                <a:gd name="connsiteY379" fmla="*/ 173038 h 787401"/>
                <a:gd name="connsiteX380" fmla="*/ 3996006 w 8810623"/>
                <a:gd name="connsiteY380" fmla="*/ 212266 h 787401"/>
                <a:gd name="connsiteX381" fmla="*/ 4033838 w 8810623"/>
                <a:gd name="connsiteY381" fmla="*/ 320676 h 787401"/>
                <a:gd name="connsiteX382" fmla="*/ 4033838 w 8810623"/>
                <a:gd name="connsiteY382" fmla="*/ 607393 h 787401"/>
                <a:gd name="connsiteX383" fmla="*/ 4025272 w 8810623"/>
                <a:gd name="connsiteY383" fmla="*/ 615951 h 787401"/>
                <a:gd name="connsiteX384" fmla="*/ 3960792 w 8810623"/>
                <a:gd name="connsiteY384" fmla="*/ 615951 h 787401"/>
                <a:gd name="connsiteX385" fmla="*/ 3952226 w 8810623"/>
                <a:gd name="connsiteY385" fmla="*/ 607393 h 787401"/>
                <a:gd name="connsiteX386" fmla="*/ 3952226 w 8810623"/>
                <a:gd name="connsiteY386" fmla="*/ 337793 h 787401"/>
                <a:gd name="connsiteX387" fmla="*/ 3928671 w 8810623"/>
                <a:gd name="connsiteY387" fmla="*/ 269561 h 787401"/>
                <a:gd name="connsiteX388" fmla="*/ 3865380 w 8810623"/>
                <a:gd name="connsiteY388" fmla="*/ 244361 h 787401"/>
                <a:gd name="connsiteX389" fmla="*/ 3801138 w 8810623"/>
                <a:gd name="connsiteY389" fmla="*/ 269324 h 787401"/>
                <a:gd name="connsiteX390" fmla="*/ 3776155 w 8810623"/>
                <a:gd name="connsiteY390" fmla="*/ 336129 h 787401"/>
                <a:gd name="connsiteX391" fmla="*/ 3776155 w 8810623"/>
                <a:gd name="connsiteY391" fmla="*/ 607393 h 787401"/>
                <a:gd name="connsiteX392" fmla="*/ 3767589 w 8810623"/>
                <a:gd name="connsiteY392" fmla="*/ 615951 h 787401"/>
                <a:gd name="connsiteX393" fmla="*/ 3703109 w 8810623"/>
                <a:gd name="connsiteY393" fmla="*/ 615951 h 787401"/>
                <a:gd name="connsiteX394" fmla="*/ 3694543 w 8810623"/>
                <a:gd name="connsiteY394" fmla="*/ 607393 h 787401"/>
                <a:gd name="connsiteX395" fmla="*/ 3694543 w 8810623"/>
                <a:gd name="connsiteY395" fmla="*/ 337793 h 787401"/>
                <a:gd name="connsiteX396" fmla="*/ 3670987 w 8810623"/>
                <a:gd name="connsiteY396" fmla="*/ 269561 h 787401"/>
                <a:gd name="connsiteX397" fmla="*/ 3607935 w 8810623"/>
                <a:gd name="connsiteY397" fmla="*/ 244361 h 787401"/>
                <a:gd name="connsiteX398" fmla="*/ 3544644 w 8810623"/>
                <a:gd name="connsiteY398" fmla="*/ 269324 h 787401"/>
                <a:gd name="connsiteX399" fmla="*/ 3521088 w 8810623"/>
                <a:gd name="connsiteY399" fmla="*/ 336129 h 787401"/>
                <a:gd name="connsiteX400" fmla="*/ 3521088 w 8810623"/>
                <a:gd name="connsiteY400" fmla="*/ 607393 h 787401"/>
                <a:gd name="connsiteX401" fmla="*/ 3512523 w 8810623"/>
                <a:gd name="connsiteY401" fmla="*/ 615951 h 787401"/>
                <a:gd name="connsiteX402" fmla="*/ 3447329 w 8810623"/>
                <a:gd name="connsiteY402" fmla="*/ 615951 h 787401"/>
                <a:gd name="connsiteX403" fmla="*/ 3438525 w 8810623"/>
                <a:gd name="connsiteY403" fmla="*/ 607393 h 787401"/>
                <a:gd name="connsiteX404" fmla="*/ 3438525 w 8810623"/>
                <a:gd name="connsiteY404" fmla="*/ 187778 h 787401"/>
                <a:gd name="connsiteX405" fmla="*/ 3447329 w 8810623"/>
                <a:gd name="connsiteY405" fmla="*/ 179220 h 787401"/>
                <a:gd name="connsiteX406" fmla="*/ 3512523 w 8810623"/>
                <a:gd name="connsiteY406" fmla="*/ 179220 h 787401"/>
                <a:gd name="connsiteX407" fmla="*/ 3521088 w 8810623"/>
                <a:gd name="connsiteY407" fmla="*/ 187778 h 787401"/>
                <a:gd name="connsiteX408" fmla="*/ 3521088 w 8810623"/>
                <a:gd name="connsiteY408" fmla="*/ 216783 h 787401"/>
                <a:gd name="connsiteX409" fmla="*/ 3522278 w 8810623"/>
                <a:gd name="connsiteY409" fmla="*/ 219398 h 787401"/>
                <a:gd name="connsiteX410" fmla="*/ 3525371 w 8810623"/>
                <a:gd name="connsiteY410" fmla="*/ 218685 h 787401"/>
                <a:gd name="connsiteX411" fmla="*/ 3635297 w 8810623"/>
                <a:gd name="connsiteY411" fmla="*/ 173038 h 787401"/>
                <a:gd name="connsiteX412" fmla="*/ 2676723 w 8810623"/>
                <a:gd name="connsiteY412" fmla="*/ 173038 h 787401"/>
                <a:gd name="connsiteX413" fmla="*/ 2806697 w 8810623"/>
                <a:gd name="connsiteY413" fmla="*/ 216270 h 787401"/>
                <a:gd name="connsiteX414" fmla="*/ 2859163 w 8810623"/>
                <a:gd name="connsiteY414" fmla="*/ 343592 h 787401"/>
                <a:gd name="connsiteX415" fmla="*/ 2861786 w 8810623"/>
                <a:gd name="connsiteY415" fmla="*/ 422455 h 787401"/>
                <a:gd name="connsiteX416" fmla="*/ 2853201 w 8810623"/>
                <a:gd name="connsiteY416" fmla="*/ 431006 h 787401"/>
                <a:gd name="connsiteX417" fmla="*/ 2578468 w 8810623"/>
                <a:gd name="connsiteY417" fmla="*/ 431006 h 787401"/>
                <a:gd name="connsiteX418" fmla="*/ 2575129 w 8810623"/>
                <a:gd name="connsiteY418" fmla="*/ 434569 h 787401"/>
                <a:gd name="connsiteX419" fmla="*/ 2580376 w 8810623"/>
                <a:gd name="connsiteY419" fmla="*/ 478989 h 787401"/>
                <a:gd name="connsiteX420" fmla="*/ 2618533 w 8810623"/>
                <a:gd name="connsiteY420" fmla="*/ 532673 h 787401"/>
                <a:gd name="connsiteX421" fmla="*/ 2691271 w 8810623"/>
                <a:gd name="connsiteY421" fmla="*/ 551914 h 787401"/>
                <a:gd name="connsiteX422" fmla="*/ 2789526 w 8810623"/>
                <a:gd name="connsiteY422" fmla="*/ 499655 h 787401"/>
                <a:gd name="connsiteX423" fmla="*/ 2800735 w 8810623"/>
                <a:gd name="connsiteY423" fmla="*/ 497042 h 787401"/>
                <a:gd name="connsiteX424" fmla="*/ 2849624 w 8810623"/>
                <a:gd name="connsiteY424" fmla="*/ 529585 h 787401"/>
                <a:gd name="connsiteX425" fmla="*/ 2852247 w 8810623"/>
                <a:gd name="connsiteY425" fmla="*/ 540749 h 787401"/>
                <a:gd name="connsiteX426" fmla="*/ 2783802 w 8810623"/>
                <a:gd name="connsiteY426" fmla="*/ 601560 h 787401"/>
                <a:gd name="connsiteX427" fmla="*/ 2683639 w 8810623"/>
                <a:gd name="connsiteY427" fmla="*/ 623888 h 787401"/>
                <a:gd name="connsiteX428" fmla="*/ 2577753 w 8810623"/>
                <a:gd name="connsiteY428" fmla="*/ 596571 h 787401"/>
                <a:gd name="connsiteX429" fmla="*/ 2513124 w 8810623"/>
                <a:gd name="connsiteY429" fmla="*/ 518421 h 787401"/>
                <a:gd name="connsiteX430" fmla="*/ 2492375 w 8810623"/>
                <a:gd name="connsiteY430" fmla="*/ 395850 h 787401"/>
                <a:gd name="connsiteX431" fmla="*/ 2501915 w 8810623"/>
                <a:gd name="connsiteY431" fmla="*/ 300835 h 787401"/>
                <a:gd name="connsiteX432" fmla="*/ 2563920 w 8810623"/>
                <a:gd name="connsiteY432" fmla="*/ 207244 h 787401"/>
                <a:gd name="connsiteX433" fmla="*/ 2676723 w 8810623"/>
                <a:gd name="connsiteY433" fmla="*/ 173038 h 787401"/>
                <a:gd name="connsiteX434" fmla="*/ 2234933 w 8810623"/>
                <a:gd name="connsiteY434" fmla="*/ 173038 h 787401"/>
                <a:gd name="connsiteX435" fmla="*/ 2346461 w 8810623"/>
                <a:gd name="connsiteY435" fmla="*/ 213930 h 787401"/>
                <a:gd name="connsiteX436" fmla="*/ 2387601 w 8810623"/>
                <a:gd name="connsiteY436" fmla="*/ 324242 h 787401"/>
                <a:gd name="connsiteX437" fmla="*/ 2387601 w 8810623"/>
                <a:gd name="connsiteY437" fmla="*/ 607393 h 787401"/>
                <a:gd name="connsiteX438" fmla="*/ 2379040 w 8810623"/>
                <a:gd name="connsiteY438" fmla="*/ 615951 h 787401"/>
                <a:gd name="connsiteX439" fmla="*/ 2313883 w 8810623"/>
                <a:gd name="connsiteY439" fmla="*/ 615951 h 787401"/>
                <a:gd name="connsiteX440" fmla="*/ 2305322 w 8810623"/>
                <a:gd name="connsiteY440" fmla="*/ 607393 h 787401"/>
                <a:gd name="connsiteX441" fmla="*/ 2305322 w 8810623"/>
                <a:gd name="connsiteY441" fmla="*/ 340408 h 787401"/>
                <a:gd name="connsiteX442" fmla="*/ 2280353 w 8810623"/>
                <a:gd name="connsiteY442" fmla="*/ 270988 h 787401"/>
                <a:gd name="connsiteX443" fmla="*/ 2214245 w 8810623"/>
                <a:gd name="connsiteY443" fmla="*/ 244361 h 787401"/>
                <a:gd name="connsiteX444" fmla="*/ 2148137 w 8810623"/>
                <a:gd name="connsiteY444" fmla="*/ 270988 h 787401"/>
                <a:gd name="connsiteX445" fmla="*/ 2122454 w 8810623"/>
                <a:gd name="connsiteY445" fmla="*/ 339695 h 787401"/>
                <a:gd name="connsiteX446" fmla="*/ 2122454 w 8810623"/>
                <a:gd name="connsiteY446" fmla="*/ 607393 h 787401"/>
                <a:gd name="connsiteX447" fmla="*/ 2113893 w 8810623"/>
                <a:gd name="connsiteY447" fmla="*/ 615951 h 787401"/>
                <a:gd name="connsiteX448" fmla="*/ 2048736 w 8810623"/>
                <a:gd name="connsiteY448" fmla="*/ 615951 h 787401"/>
                <a:gd name="connsiteX449" fmla="*/ 2039937 w 8810623"/>
                <a:gd name="connsiteY449" fmla="*/ 607393 h 787401"/>
                <a:gd name="connsiteX450" fmla="*/ 2039937 w 8810623"/>
                <a:gd name="connsiteY450" fmla="*/ 187778 h 787401"/>
                <a:gd name="connsiteX451" fmla="*/ 2048736 w 8810623"/>
                <a:gd name="connsiteY451" fmla="*/ 179220 h 787401"/>
                <a:gd name="connsiteX452" fmla="*/ 2113893 w 8810623"/>
                <a:gd name="connsiteY452" fmla="*/ 179220 h 787401"/>
                <a:gd name="connsiteX453" fmla="*/ 2122454 w 8810623"/>
                <a:gd name="connsiteY453" fmla="*/ 187778 h 787401"/>
                <a:gd name="connsiteX454" fmla="*/ 2122454 w 8810623"/>
                <a:gd name="connsiteY454" fmla="*/ 218685 h 787401"/>
                <a:gd name="connsiteX455" fmla="*/ 2123881 w 8810623"/>
                <a:gd name="connsiteY455" fmla="*/ 221062 h 787401"/>
                <a:gd name="connsiteX456" fmla="*/ 2125783 w 8810623"/>
                <a:gd name="connsiteY456" fmla="*/ 220349 h 787401"/>
                <a:gd name="connsiteX457" fmla="*/ 2234933 w 8810623"/>
                <a:gd name="connsiteY457" fmla="*/ 173038 h 787401"/>
                <a:gd name="connsiteX458" fmla="*/ 1424862 w 8810623"/>
                <a:gd name="connsiteY458" fmla="*/ 173038 h 787401"/>
                <a:gd name="connsiteX459" fmla="*/ 1554361 w 8810623"/>
                <a:gd name="connsiteY459" fmla="*/ 216270 h 787401"/>
                <a:gd name="connsiteX460" fmla="*/ 1606635 w 8810623"/>
                <a:gd name="connsiteY460" fmla="*/ 343592 h 787401"/>
                <a:gd name="connsiteX461" fmla="*/ 1609249 w 8810623"/>
                <a:gd name="connsiteY461" fmla="*/ 422455 h 787401"/>
                <a:gd name="connsiteX462" fmla="*/ 1600696 w 8810623"/>
                <a:gd name="connsiteY462" fmla="*/ 431006 h 787401"/>
                <a:gd name="connsiteX463" fmla="*/ 1326965 w 8810623"/>
                <a:gd name="connsiteY463" fmla="*/ 431006 h 787401"/>
                <a:gd name="connsiteX464" fmla="*/ 1323638 w 8810623"/>
                <a:gd name="connsiteY464" fmla="*/ 434569 h 787401"/>
                <a:gd name="connsiteX465" fmla="*/ 1328865 w 8810623"/>
                <a:gd name="connsiteY465" fmla="*/ 478989 h 787401"/>
                <a:gd name="connsiteX466" fmla="*/ 1366883 w 8810623"/>
                <a:gd name="connsiteY466" fmla="*/ 532673 h 787401"/>
                <a:gd name="connsiteX467" fmla="*/ 1439357 w 8810623"/>
                <a:gd name="connsiteY467" fmla="*/ 551914 h 787401"/>
                <a:gd name="connsiteX468" fmla="*/ 1537252 w 8810623"/>
                <a:gd name="connsiteY468" fmla="*/ 499655 h 787401"/>
                <a:gd name="connsiteX469" fmla="*/ 1548421 w 8810623"/>
                <a:gd name="connsiteY469" fmla="*/ 497042 h 787401"/>
                <a:gd name="connsiteX470" fmla="*/ 1597131 w 8810623"/>
                <a:gd name="connsiteY470" fmla="*/ 529585 h 787401"/>
                <a:gd name="connsiteX471" fmla="*/ 1599744 w 8810623"/>
                <a:gd name="connsiteY471" fmla="*/ 540749 h 787401"/>
                <a:gd name="connsiteX472" fmla="*/ 1531549 w 8810623"/>
                <a:gd name="connsiteY472" fmla="*/ 601560 h 787401"/>
                <a:gd name="connsiteX473" fmla="*/ 1431752 w 8810623"/>
                <a:gd name="connsiteY473" fmla="*/ 623888 h 787401"/>
                <a:gd name="connsiteX474" fmla="*/ 1326253 w 8810623"/>
                <a:gd name="connsiteY474" fmla="*/ 596571 h 787401"/>
                <a:gd name="connsiteX475" fmla="*/ 1261858 w 8810623"/>
                <a:gd name="connsiteY475" fmla="*/ 518421 h 787401"/>
                <a:gd name="connsiteX476" fmla="*/ 1241425 w 8810623"/>
                <a:gd name="connsiteY476" fmla="*/ 395850 h 787401"/>
                <a:gd name="connsiteX477" fmla="*/ 1250692 w 8810623"/>
                <a:gd name="connsiteY477" fmla="*/ 300835 h 787401"/>
                <a:gd name="connsiteX478" fmla="*/ 1312471 w 8810623"/>
                <a:gd name="connsiteY478" fmla="*/ 207244 h 787401"/>
                <a:gd name="connsiteX479" fmla="*/ 1424862 w 8810623"/>
                <a:gd name="connsiteY479" fmla="*/ 173038 h 787401"/>
                <a:gd name="connsiteX480" fmla="*/ 666483 w 8810623"/>
                <a:gd name="connsiteY480" fmla="*/ 173038 h 787401"/>
                <a:gd name="connsiteX481" fmla="*/ 778011 w 8810623"/>
                <a:gd name="connsiteY481" fmla="*/ 213930 h 787401"/>
                <a:gd name="connsiteX482" fmla="*/ 819150 w 8810623"/>
                <a:gd name="connsiteY482" fmla="*/ 324242 h 787401"/>
                <a:gd name="connsiteX483" fmla="*/ 819150 w 8810623"/>
                <a:gd name="connsiteY483" fmla="*/ 607393 h 787401"/>
                <a:gd name="connsiteX484" fmla="*/ 810589 w 8810623"/>
                <a:gd name="connsiteY484" fmla="*/ 615951 h 787401"/>
                <a:gd name="connsiteX485" fmla="*/ 745432 w 8810623"/>
                <a:gd name="connsiteY485" fmla="*/ 615951 h 787401"/>
                <a:gd name="connsiteX486" fmla="*/ 736870 w 8810623"/>
                <a:gd name="connsiteY486" fmla="*/ 607393 h 787401"/>
                <a:gd name="connsiteX487" fmla="*/ 736870 w 8810623"/>
                <a:gd name="connsiteY487" fmla="*/ 340408 h 787401"/>
                <a:gd name="connsiteX488" fmla="*/ 711902 w 8810623"/>
                <a:gd name="connsiteY488" fmla="*/ 270988 h 787401"/>
                <a:gd name="connsiteX489" fmla="*/ 645794 w 8810623"/>
                <a:gd name="connsiteY489" fmla="*/ 244361 h 787401"/>
                <a:gd name="connsiteX490" fmla="*/ 579685 w 8810623"/>
                <a:gd name="connsiteY490" fmla="*/ 270988 h 787401"/>
                <a:gd name="connsiteX491" fmla="*/ 554003 w 8810623"/>
                <a:gd name="connsiteY491" fmla="*/ 339695 h 787401"/>
                <a:gd name="connsiteX492" fmla="*/ 554003 w 8810623"/>
                <a:gd name="connsiteY492" fmla="*/ 607393 h 787401"/>
                <a:gd name="connsiteX493" fmla="*/ 545443 w 8810623"/>
                <a:gd name="connsiteY493" fmla="*/ 615951 h 787401"/>
                <a:gd name="connsiteX494" fmla="*/ 480047 w 8810623"/>
                <a:gd name="connsiteY494" fmla="*/ 615951 h 787401"/>
                <a:gd name="connsiteX495" fmla="*/ 471487 w 8810623"/>
                <a:gd name="connsiteY495" fmla="*/ 607393 h 787401"/>
                <a:gd name="connsiteX496" fmla="*/ 471487 w 8810623"/>
                <a:gd name="connsiteY496" fmla="*/ 187778 h 787401"/>
                <a:gd name="connsiteX497" fmla="*/ 480047 w 8810623"/>
                <a:gd name="connsiteY497" fmla="*/ 179220 h 787401"/>
                <a:gd name="connsiteX498" fmla="*/ 545443 w 8810623"/>
                <a:gd name="connsiteY498" fmla="*/ 179220 h 787401"/>
                <a:gd name="connsiteX499" fmla="*/ 554003 w 8810623"/>
                <a:gd name="connsiteY499" fmla="*/ 187778 h 787401"/>
                <a:gd name="connsiteX500" fmla="*/ 554003 w 8810623"/>
                <a:gd name="connsiteY500" fmla="*/ 218685 h 787401"/>
                <a:gd name="connsiteX501" fmla="*/ 555193 w 8810623"/>
                <a:gd name="connsiteY501" fmla="*/ 221062 h 787401"/>
                <a:gd name="connsiteX502" fmla="*/ 557333 w 8810623"/>
                <a:gd name="connsiteY502" fmla="*/ 220349 h 787401"/>
                <a:gd name="connsiteX503" fmla="*/ 666483 w 8810623"/>
                <a:gd name="connsiteY503" fmla="*/ 173038 h 787401"/>
                <a:gd name="connsiteX504" fmla="*/ 981340 w 8810623"/>
                <a:gd name="connsiteY504" fmla="*/ 65088 h 787401"/>
                <a:gd name="connsiteX505" fmla="*/ 1043412 w 8810623"/>
                <a:gd name="connsiteY505" fmla="*/ 65088 h 787401"/>
                <a:gd name="connsiteX506" fmla="*/ 1052005 w 8810623"/>
                <a:gd name="connsiteY506" fmla="*/ 73657 h 787401"/>
                <a:gd name="connsiteX507" fmla="*/ 1052005 w 8810623"/>
                <a:gd name="connsiteY507" fmla="*/ 175055 h 787401"/>
                <a:gd name="connsiteX508" fmla="*/ 1055588 w 8810623"/>
                <a:gd name="connsiteY508" fmla="*/ 178387 h 787401"/>
                <a:gd name="connsiteX509" fmla="*/ 1148693 w 8810623"/>
                <a:gd name="connsiteY509" fmla="*/ 178387 h 787401"/>
                <a:gd name="connsiteX510" fmla="*/ 1157288 w 8810623"/>
                <a:gd name="connsiteY510" fmla="*/ 187194 h 787401"/>
                <a:gd name="connsiteX511" fmla="*/ 1157288 w 8810623"/>
                <a:gd name="connsiteY511" fmla="*/ 237893 h 787401"/>
                <a:gd name="connsiteX512" fmla="*/ 1148693 w 8810623"/>
                <a:gd name="connsiteY512" fmla="*/ 246461 h 787401"/>
                <a:gd name="connsiteX513" fmla="*/ 1055588 w 8810623"/>
                <a:gd name="connsiteY513" fmla="*/ 246461 h 787401"/>
                <a:gd name="connsiteX514" fmla="*/ 1052005 w 8810623"/>
                <a:gd name="connsiteY514" fmla="*/ 249794 h 787401"/>
                <a:gd name="connsiteX515" fmla="*/ 1052005 w 8810623"/>
                <a:gd name="connsiteY515" fmla="*/ 477581 h 787401"/>
                <a:gd name="connsiteX516" fmla="*/ 1068478 w 8810623"/>
                <a:gd name="connsiteY516" fmla="*/ 529470 h 787401"/>
                <a:gd name="connsiteX517" fmla="*/ 1119328 w 8810623"/>
                <a:gd name="connsiteY517" fmla="*/ 545417 h 787401"/>
                <a:gd name="connsiteX518" fmla="*/ 1144396 w 8810623"/>
                <a:gd name="connsiteY518" fmla="*/ 545417 h 787401"/>
                <a:gd name="connsiteX519" fmla="*/ 1152990 w 8810623"/>
                <a:gd name="connsiteY519" fmla="*/ 553986 h 787401"/>
                <a:gd name="connsiteX520" fmla="*/ 1152990 w 8810623"/>
                <a:gd name="connsiteY520" fmla="*/ 607303 h 787401"/>
                <a:gd name="connsiteX521" fmla="*/ 1144396 w 8810623"/>
                <a:gd name="connsiteY521" fmla="*/ 615872 h 787401"/>
                <a:gd name="connsiteX522" fmla="*/ 1104765 w 8810623"/>
                <a:gd name="connsiteY522" fmla="*/ 617538 h 787401"/>
                <a:gd name="connsiteX523" fmla="*/ 1005931 w 8810623"/>
                <a:gd name="connsiteY523" fmla="*/ 593974 h 787401"/>
                <a:gd name="connsiteX524" fmla="*/ 972746 w 8810623"/>
                <a:gd name="connsiteY524" fmla="*/ 506620 h 787401"/>
                <a:gd name="connsiteX525" fmla="*/ 972746 w 8810623"/>
                <a:gd name="connsiteY525" fmla="*/ 249794 h 787401"/>
                <a:gd name="connsiteX526" fmla="*/ 969403 w 8810623"/>
                <a:gd name="connsiteY526" fmla="*/ 246461 h 787401"/>
                <a:gd name="connsiteX527" fmla="*/ 916883 w 8810623"/>
                <a:gd name="connsiteY527" fmla="*/ 246461 h 787401"/>
                <a:gd name="connsiteX528" fmla="*/ 908049 w 8810623"/>
                <a:gd name="connsiteY528" fmla="*/ 237893 h 787401"/>
                <a:gd name="connsiteX529" fmla="*/ 908049 w 8810623"/>
                <a:gd name="connsiteY529" fmla="*/ 187194 h 787401"/>
                <a:gd name="connsiteX530" fmla="*/ 916883 w 8810623"/>
                <a:gd name="connsiteY530" fmla="*/ 178387 h 787401"/>
                <a:gd name="connsiteX531" fmla="*/ 969403 w 8810623"/>
                <a:gd name="connsiteY531" fmla="*/ 178387 h 787401"/>
                <a:gd name="connsiteX532" fmla="*/ 972746 w 8810623"/>
                <a:gd name="connsiteY532" fmla="*/ 175055 h 787401"/>
                <a:gd name="connsiteX533" fmla="*/ 972746 w 8810623"/>
                <a:gd name="connsiteY533" fmla="*/ 73657 h 787401"/>
                <a:gd name="connsiteX534" fmla="*/ 981340 w 8810623"/>
                <a:gd name="connsiteY534" fmla="*/ 65088 h 787401"/>
                <a:gd name="connsiteX535" fmla="*/ 2978773 w 8810623"/>
                <a:gd name="connsiteY535" fmla="*/ 15875 h 787401"/>
                <a:gd name="connsiteX536" fmla="*/ 3043930 w 8810623"/>
                <a:gd name="connsiteY536" fmla="*/ 15875 h 787401"/>
                <a:gd name="connsiteX537" fmla="*/ 3052491 w 8810623"/>
                <a:gd name="connsiteY537" fmla="*/ 24424 h 787401"/>
                <a:gd name="connsiteX538" fmla="*/ 3052491 w 8810623"/>
                <a:gd name="connsiteY538" fmla="*/ 219146 h 787401"/>
                <a:gd name="connsiteX539" fmla="*/ 3053918 w 8810623"/>
                <a:gd name="connsiteY539" fmla="*/ 221520 h 787401"/>
                <a:gd name="connsiteX540" fmla="*/ 3056058 w 8810623"/>
                <a:gd name="connsiteY540" fmla="*/ 220808 h 787401"/>
                <a:gd name="connsiteX541" fmla="*/ 3164970 w 8810623"/>
                <a:gd name="connsiteY541" fmla="*/ 173552 h 787401"/>
                <a:gd name="connsiteX542" fmla="*/ 3276736 w 8810623"/>
                <a:gd name="connsiteY542" fmla="*/ 214396 h 787401"/>
                <a:gd name="connsiteX543" fmla="*/ 3317875 w 8810623"/>
                <a:gd name="connsiteY543" fmla="*/ 324580 h 787401"/>
                <a:gd name="connsiteX544" fmla="*/ 3317875 w 8810623"/>
                <a:gd name="connsiteY544" fmla="*/ 607401 h 787401"/>
                <a:gd name="connsiteX545" fmla="*/ 3309314 w 8810623"/>
                <a:gd name="connsiteY545" fmla="*/ 615950 h 787401"/>
                <a:gd name="connsiteX546" fmla="*/ 3243920 w 8810623"/>
                <a:gd name="connsiteY546" fmla="*/ 615950 h 787401"/>
                <a:gd name="connsiteX547" fmla="*/ 3235359 w 8810623"/>
                <a:gd name="connsiteY547" fmla="*/ 607401 h 787401"/>
                <a:gd name="connsiteX548" fmla="*/ 3235359 w 8810623"/>
                <a:gd name="connsiteY548" fmla="*/ 340728 h 787401"/>
                <a:gd name="connsiteX549" fmla="*/ 3210628 w 8810623"/>
                <a:gd name="connsiteY549" fmla="*/ 271388 h 787401"/>
                <a:gd name="connsiteX550" fmla="*/ 3144519 w 8810623"/>
                <a:gd name="connsiteY550" fmla="*/ 244792 h 787401"/>
                <a:gd name="connsiteX551" fmla="*/ 3078411 w 8810623"/>
                <a:gd name="connsiteY551" fmla="*/ 271388 h 787401"/>
                <a:gd name="connsiteX552" fmla="*/ 3052491 w 8810623"/>
                <a:gd name="connsiteY552" fmla="*/ 340015 h 787401"/>
                <a:gd name="connsiteX553" fmla="*/ 3052491 w 8810623"/>
                <a:gd name="connsiteY553" fmla="*/ 607401 h 787401"/>
                <a:gd name="connsiteX554" fmla="*/ 3043930 w 8810623"/>
                <a:gd name="connsiteY554" fmla="*/ 615950 h 787401"/>
                <a:gd name="connsiteX555" fmla="*/ 2978773 w 8810623"/>
                <a:gd name="connsiteY555" fmla="*/ 615950 h 787401"/>
                <a:gd name="connsiteX556" fmla="*/ 2970212 w 8810623"/>
                <a:gd name="connsiteY556" fmla="*/ 607401 h 787401"/>
                <a:gd name="connsiteX557" fmla="*/ 2970212 w 8810623"/>
                <a:gd name="connsiteY557" fmla="*/ 24424 h 787401"/>
                <a:gd name="connsiteX558" fmla="*/ 2978773 w 8810623"/>
                <a:gd name="connsiteY558" fmla="*/ 15875 h 787401"/>
                <a:gd name="connsiteX559" fmla="*/ 7824785 w 8810623"/>
                <a:gd name="connsiteY559" fmla="*/ 0 h 787401"/>
                <a:gd name="connsiteX560" fmla="*/ 7864954 w 8810623"/>
                <a:gd name="connsiteY560" fmla="*/ 15634 h 787401"/>
                <a:gd name="connsiteX561" fmla="*/ 7880348 w 8810623"/>
                <a:gd name="connsiteY561" fmla="*/ 55562 h 787401"/>
                <a:gd name="connsiteX562" fmla="*/ 7864954 w 8810623"/>
                <a:gd name="connsiteY562" fmla="*/ 95490 h 787401"/>
                <a:gd name="connsiteX563" fmla="*/ 7824785 w 8810623"/>
                <a:gd name="connsiteY563" fmla="*/ 111125 h 787401"/>
                <a:gd name="connsiteX564" fmla="*/ 7784857 w 8810623"/>
                <a:gd name="connsiteY564" fmla="*/ 95490 h 787401"/>
                <a:gd name="connsiteX565" fmla="*/ 7769223 w 8810623"/>
                <a:gd name="connsiteY565" fmla="*/ 55562 h 787401"/>
                <a:gd name="connsiteX566" fmla="*/ 7784857 w 8810623"/>
                <a:gd name="connsiteY566" fmla="*/ 15634 h 787401"/>
                <a:gd name="connsiteX567" fmla="*/ 7824785 w 8810623"/>
                <a:gd name="connsiteY567" fmla="*/ 0 h 787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</a:cxnLst>
              <a:rect l="l" t="t" r="r" b="b"/>
              <a:pathLst>
                <a:path w="8810623" h="787401">
                  <a:moveTo>
                    <a:pt x="8170503" y="242888"/>
                  </a:moveTo>
                  <a:cubicBezTo>
                    <a:pt x="8145787" y="242888"/>
                    <a:pt x="8125585" y="249137"/>
                    <a:pt x="8109425" y="261635"/>
                  </a:cubicBezTo>
                  <a:cubicBezTo>
                    <a:pt x="8093501" y="274132"/>
                    <a:pt x="8082569" y="290716"/>
                    <a:pt x="8076865" y="311385"/>
                  </a:cubicBezTo>
                  <a:cubicBezTo>
                    <a:pt x="8072825" y="324123"/>
                    <a:pt x="8070211" y="340466"/>
                    <a:pt x="8069260" y="360174"/>
                  </a:cubicBezTo>
                  <a:cubicBezTo>
                    <a:pt x="8069260" y="362337"/>
                    <a:pt x="8070211" y="363538"/>
                    <a:pt x="8072587" y="363538"/>
                  </a:cubicBezTo>
                  <a:cubicBezTo>
                    <a:pt x="8269133" y="363538"/>
                    <a:pt x="8269133" y="363538"/>
                    <a:pt x="8269133" y="363538"/>
                  </a:cubicBezTo>
                  <a:cubicBezTo>
                    <a:pt x="8271271" y="363538"/>
                    <a:pt x="8272460" y="362337"/>
                    <a:pt x="8272460" y="360174"/>
                  </a:cubicBezTo>
                  <a:cubicBezTo>
                    <a:pt x="8271271" y="340946"/>
                    <a:pt x="8269608" y="326766"/>
                    <a:pt x="8267469" y="317634"/>
                  </a:cubicBezTo>
                  <a:cubicBezTo>
                    <a:pt x="8261527" y="295042"/>
                    <a:pt x="8250357" y="277016"/>
                    <a:pt x="8233483" y="263317"/>
                  </a:cubicBezTo>
                  <a:cubicBezTo>
                    <a:pt x="8216610" y="249858"/>
                    <a:pt x="8195458" y="242888"/>
                    <a:pt x="8170503" y="242888"/>
                  </a:cubicBezTo>
                  <a:close/>
                  <a:moveTo>
                    <a:pt x="7476614" y="242888"/>
                  </a:moveTo>
                  <a:cubicBezTo>
                    <a:pt x="7452516" y="242888"/>
                    <a:pt x="7432235" y="249819"/>
                    <a:pt x="7416249" y="263203"/>
                  </a:cubicBezTo>
                  <a:cubicBezTo>
                    <a:pt x="7400264" y="276825"/>
                    <a:pt x="7388811" y="294272"/>
                    <a:pt x="7381892" y="315542"/>
                  </a:cubicBezTo>
                  <a:cubicBezTo>
                    <a:pt x="7375450" y="332749"/>
                    <a:pt x="7372348" y="359516"/>
                    <a:pt x="7372348" y="395604"/>
                  </a:cubicBezTo>
                  <a:cubicBezTo>
                    <a:pt x="7372348" y="435277"/>
                    <a:pt x="7375211" y="462283"/>
                    <a:pt x="7380937" y="476862"/>
                  </a:cubicBezTo>
                  <a:cubicBezTo>
                    <a:pt x="7386664" y="498132"/>
                    <a:pt x="7398116" y="515339"/>
                    <a:pt x="7415056" y="528962"/>
                  </a:cubicBezTo>
                  <a:cubicBezTo>
                    <a:pt x="7431997" y="542584"/>
                    <a:pt x="7452516" y="549276"/>
                    <a:pt x="7476614" y="549276"/>
                  </a:cubicBezTo>
                  <a:cubicBezTo>
                    <a:pt x="7501905" y="549276"/>
                    <a:pt x="7522424" y="542584"/>
                    <a:pt x="7538172" y="528962"/>
                  </a:cubicBezTo>
                  <a:cubicBezTo>
                    <a:pt x="7553919" y="515339"/>
                    <a:pt x="7564178" y="498132"/>
                    <a:pt x="7568712" y="476862"/>
                  </a:cubicBezTo>
                  <a:cubicBezTo>
                    <a:pt x="7570382" y="467541"/>
                    <a:pt x="7571814" y="457742"/>
                    <a:pt x="7572529" y="447466"/>
                  </a:cubicBezTo>
                  <a:cubicBezTo>
                    <a:pt x="7573484" y="436950"/>
                    <a:pt x="7573961" y="419742"/>
                    <a:pt x="7573961" y="395604"/>
                  </a:cubicBezTo>
                  <a:cubicBezTo>
                    <a:pt x="7573961" y="371466"/>
                    <a:pt x="7573484" y="354498"/>
                    <a:pt x="7572529" y="344221"/>
                  </a:cubicBezTo>
                  <a:cubicBezTo>
                    <a:pt x="7571814" y="334183"/>
                    <a:pt x="7570143" y="324624"/>
                    <a:pt x="7567757" y="315542"/>
                  </a:cubicBezTo>
                  <a:cubicBezTo>
                    <a:pt x="7563224" y="294272"/>
                    <a:pt x="7552964" y="276825"/>
                    <a:pt x="7536740" y="263203"/>
                  </a:cubicBezTo>
                  <a:cubicBezTo>
                    <a:pt x="7520754" y="249819"/>
                    <a:pt x="7500712" y="242888"/>
                    <a:pt x="7476614" y="242888"/>
                  </a:cubicBezTo>
                  <a:close/>
                  <a:moveTo>
                    <a:pt x="6701829" y="242888"/>
                  </a:moveTo>
                  <a:cubicBezTo>
                    <a:pt x="6677350" y="242888"/>
                    <a:pt x="6657148" y="249137"/>
                    <a:pt x="6640988" y="261635"/>
                  </a:cubicBezTo>
                  <a:cubicBezTo>
                    <a:pt x="6625064" y="274132"/>
                    <a:pt x="6614132" y="290716"/>
                    <a:pt x="6608428" y="311385"/>
                  </a:cubicBezTo>
                  <a:cubicBezTo>
                    <a:pt x="6604388" y="324123"/>
                    <a:pt x="6601774" y="340466"/>
                    <a:pt x="6600823" y="360174"/>
                  </a:cubicBezTo>
                  <a:cubicBezTo>
                    <a:pt x="6600823" y="362337"/>
                    <a:pt x="6601774" y="363538"/>
                    <a:pt x="6604150" y="363538"/>
                  </a:cubicBezTo>
                  <a:cubicBezTo>
                    <a:pt x="6800696" y="363538"/>
                    <a:pt x="6800696" y="363538"/>
                    <a:pt x="6800696" y="363538"/>
                  </a:cubicBezTo>
                  <a:cubicBezTo>
                    <a:pt x="6802835" y="363538"/>
                    <a:pt x="6804023" y="362337"/>
                    <a:pt x="6804023" y="360174"/>
                  </a:cubicBezTo>
                  <a:cubicBezTo>
                    <a:pt x="6802835" y="340946"/>
                    <a:pt x="6801171" y="326766"/>
                    <a:pt x="6798794" y="317634"/>
                  </a:cubicBezTo>
                  <a:cubicBezTo>
                    <a:pt x="6793090" y="295042"/>
                    <a:pt x="6781920" y="277016"/>
                    <a:pt x="6765046" y="263317"/>
                  </a:cubicBezTo>
                  <a:cubicBezTo>
                    <a:pt x="6748173" y="249858"/>
                    <a:pt x="6727021" y="242888"/>
                    <a:pt x="6701829" y="242888"/>
                  </a:cubicBezTo>
                  <a:close/>
                  <a:moveTo>
                    <a:pt x="4320700" y="242888"/>
                  </a:moveTo>
                  <a:cubicBezTo>
                    <a:pt x="4296250" y="242888"/>
                    <a:pt x="4275835" y="249137"/>
                    <a:pt x="4259930" y="261635"/>
                  </a:cubicBezTo>
                  <a:cubicBezTo>
                    <a:pt x="4243788" y="274132"/>
                    <a:pt x="4233106" y="290716"/>
                    <a:pt x="4227409" y="311385"/>
                  </a:cubicBezTo>
                  <a:cubicBezTo>
                    <a:pt x="4223373" y="324123"/>
                    <a:pt x="4220762" y="340466"/>
                    <a:pt x="4219575" y="360174"/>
                  </a:cubicBezTo>
                  <a:cubicBezTo>
                    <a:pt x="4219575" y="362337"/>
                    <a:pt x="4220762" y="363538"/>
                    <a:pt x="4223136" y="363538"/>
                  </a:cubicBezTo>
                  <a:cubicBezTo>
                    <a:pt x="4419212" y="363538"/>
                    <a:pt x="4419212" y="363538"/>
                    <a:pt x="4419212" y="363538"/>
                  </a:cubicBezTo>
                  <a:cubicBezTo>
                    <a:pt x="4421586" y="363538"/>
                    <a:pt x="4422773" y="362337"/>
                    <a:pt x="4422773" y="360174"/>
                  </a:cubicBezTo>
                  <a:cubicBezTo>
                    <a:pt x="4421586" y="340946"/>
                    <a:pt x="4419924" y="326766"/>
                    <a:pt x="4417551" y="317634"/>
                  </a:cubicBezTo>
                  <a:cubicBezTo>
                    <a:pt x="4411853" y="295042"/>
                    <a:pt x="4400461" y="277016"/>
                    <a:pt x="4383607" y="263317"/>
                  </a:cubicBezTo>
                  <a:cubicBezTo>
                    <a:pt x="4366753" y="249858"/>
                    <a:pt x="4345863" y="242888"/>
                    <a:pt x="4320700" y="242888"/>
                  </a:cubicBezTo>
                  <a:close/>
                  <a:moveTo>
                    <a:pt x="2676960" y="242888"/>
                  </a:moveTo>
                  <a:cubicBezTo>
                    <a:pt x="2652050" y="242888"/>
                    <a:pt x="2631691" y="249137"/>
                    <a:pt x="2615643" y="261635"/>
                  </a:cubicBezTo>
                  <a:cubicBezTo>
                    <a:pt x="2599356" y="274132"/>
                    <a:pt x="2588578" y="290716"/>
                    <a:pt x="2582590" y="311385"/>
                  </a:cubicBezTo>
                  <a:cubicBezTo>
                    <a:pt x="2578758" y="324123"/>
                    <a:pt x="2576123" y="340466"/>
                    <a:pt x="2574925" y="360174"/>
                  </a:cubicBezTo>
                  <a:cubicBezTo>
                    <a:pt x="2574925" y="362337"/>
                    <a:pt x="2576123" y="363538"/>
                    <a:pt x="2578279" y="363538"/>
                  </a:cubicBezTo>
                  <a:cubicBezTo>
                    <a:pt x="2776360" y="363538"/>
                    <a:pt x="2776360" y="363538"/>
                    <a:pt x="2776360" y="363538"/>
                  </a:cubicBezTo>
                  <a:cubicBezTo>
                    <a:pt x="2778755" y="363538"/>
                    <a:pt x="2779713" y="362337"/>
                    <a:pt x="2779713" y="360174"/>
                  </a:cubicBezTo>
                  <a:cubicBezTo>
                    <a:pt x="2778755" y="340946"/>
                    <a:pt x="2776839" y="326766"/>
                    <a:pt x="2774683" y="317634"/>
                  </a:cubicBezTo>
                  <a:cubicBezTo>
                    <a:pt x="2768935" y="295042"/>
                    <a:pt x="2757438" y="277016"/>
                    <a:pt x="2740432" y="263317"/>
                  </a:cubicBezTo>
                  <a:cubicBezTo>
                    <a:pt x="2723427" y="249858"/>
                    <a:pt x="2702349" y="242888"/>
                    <a:pt x="2676960" y="242888"/>
                  </a:cubicBezTo>
                  <a:close/>
                  <a:moveTo>
                    <a:pt x="1425100" y="242888"/>
                  </a:moveTo>
                  <a:cubicBezTo>
                    <a:pt x="1400650" y="242888"/>
                    <a:pt x="1380234" y="249137"/>
                    <a:pt x="1364331" y="261635"/>
                  </a:cubicBezTo>
                  <a:cubicBezTo>
                    <a:pt x="1348187" y="274132"/>
                    <a:pt x="1337506" y="290716"/>
                    <a:pt x="1331571" y="311385"/>
                  </a:cubicBezTo>
                  <a:cubicBezTo>
                    <a:pt x="1327772" y="324123"/>
                    <a:pt x="1325162" y="340466"/>
                    <a:pt x="1323974" y="360174"/>
                  </a:cubicBezTo>
                  <a:cubicBezTo>
                    <a:pt x="1323974" y="362337"/>
                    <a:pt x="1325162" y="363538"/>
                    <a:pt x="1327297" y="363538"/>
                  </a:cubicBezTo>
                  <a:cubicBezTo>
                    <a:pt x="1523613" y="363538"/>
                    <a:pt x="1523613" y="363538"/>
                    <a:pt x="1523613" y="363538"/>
                  </a:cubicBezTo>
                  <a:cubicBezTo>
                    <a:pt x="1525988" y="363538"/>
                    <a:pt x="1527175" y="362337"/>
                    <a:pt x="1527175" y="360174"/>
                  </a:cubicBezTo>
                  <a:cubicBezTo>
                    <a:pt x="1525988" y="340946"/>
                    <a:pt x="1524088" y="326766"/>
                    <a:pt x="1521951" y="317634"/>
                  </a:cubicBezTo>
                  <a:cubicBezTo>
                    <a:pt x="1516254" y="295042"/>
                    <a:pt x="1504860" y="277016"/>
                    <a:pt x="1488007" y="263317"/>
                  </a:cubicBezTo>
                  <a:cubicBezTo>
                    <a:pt x="1471151" y="249858"/>
                    <a:pt x="1450263" y="242888"/>
                    <a:pt x="1425100" y="242888"/>
                  </a:cubicBezTo>
                  <a:close/>
                  <a:moveTo>
                    <a:pt x="7790487" y="179388"/>
                  </a:moveTo>
                  <a:cubicBezTo>
                    <a:pt x="7855671" y="179388"/>
                    <a:pt x="7855671" y="179388"/>
                    <a:pt x="7855671" y="179388"/>
                  </a:cubicBezTo>
                  <a:cubicBezTo>
                    <a:pt x="7861380" y="179388"/>
                    <a:pt x="7864473" y="182246"/>
                    <a:pt x="7864473" y="187962"/>
                  </a:cubicBezTo>
                  <a:cubicBezTo>
                    <a:pt x="7864473" y="607377"/>
                    <a:pt x="7864473" y="607377"/>
                    <a:pt x="7864473" y="607377"/>
                  </a:cubicBezTo>
                  <a:cubicBezTo>
                    <a:pt x="7864473" y="613093"/>
                    <a:pt x="7861380" y="615951"/>
                    <a:pt x="7855671" y="615951"/>
                  </a:cubicBezTo>
                  <a:cubicBezTo>
                    <a:pt x="7790487" y="615951"/>
                    <a:pt x="7790487" y="615951"/>
                    <a:pt x="7790487" y="615951"/>
                  </a:cubicBezTo>
                  <a:cubicBezTo>
                    <a:pt x="7784778" y="615951"/>
                    <a:pt x="7781923" y="613093"/>
                    <a:pt x="7781923" y="607377"/>
                  </a:cubicBezTo>
                  <a:cubicBezTo>
                    <a:pt x="7781923" y="187962"/>
                    <a:pt x="7781923" y="187962"/>
                    <a:pt x="7781923" y="187962"/>
                  </a:cubicBezTo>
                  <a:cubicBezTo>
                    <a:pt x="7781923" y="182246"/>
                    <a:pt x="7784778" y="179388"/>
                    <a:pt x="7790487" y="179388"/>
                  </a:cubicBezTo>
                  <a:close/>
                  <a:moveTo>
                    <a:pt x="5619666" y="179388"/>
                  </a:moveTo>
                  <a:cubicBezTo>
                    <a:pt x="5689184" y="179388"/>
                    <a:pt x="5689184" y="179388"/>
                    <a:pt x="5689184" y="179388"/>
                  </a:cubicBezTo>
                  <a:cubicBezTo>
                    <a:pt x="5694422" y="179388"/>
                    <a:pt x="5697755" y="181530"/>
                    <a:pt x="5699421" y="186051"/>
                  </a:cubicBezTo>
                  <a:cubicBezTo>
                    <a:pt x="5796556" y="509928"/>
                    <a:pt x="5796556" y="509928"/>
                    <a:pt x="5796556" y="509928"/>
                  </a:cubicBezTo>
                  <a:cubicBezTo>
                    <a:pt x="5797032" y="511118"/>
                    <a:pt x="5797984" y="511832"/>
                    <a:pt x="5799175" y="511832"/>
                  </a:cubicBezTo>
                  <a:cubicBezTo>
                    <a:pt x="5800365" y="511832"/>
                    <a:pt x="5801079" y="511118"/>
                    <a:pt x="5801794" y="509928"/>
                  </a:cubicBezTo>
                  <a:cubicBezTo>
                    <a:pt x="5897976" y="186051"/>
                    <a:pt x="5897976" y="186051"/>
                    <a:pt x="5897976" y="186051"/>
                  </a:cubicBezTo>
                  <a:cubicBezTo>
                    <a:pt x="5899642" y="181530"/>
                    <a:pt x="5903213" y="179388"/>
                    <a:pt x="5908213" y="179388"/>
                  </a:cubicBezTo>
                  <a:cubicBezTo>
                    <a:pt x="5976302" y="179388"/>
                    <a:pt x="5976302" y="179388"/>
                    <a:pt x="5976302" y="179388"/>
                  </a:cubicBezTo>
                  <a:cubicBezTo>
                    <a:pt x="5982492" y="179388"/>
                    <a:pt x="5984873" y="182482"/>
                    <a:pt x="5983206" y="188669"/>
                  </a:cubicBezTo>
                  <a:cubicBezTo>
                    <a:pt x="5826553" y="646523"/>
                    <a:pt x="5826553" y="646523"/>
                    <a:pt x="5826553" y="646523"/>
                  </a:cubicBezTo>
                  <a:cubicBezTo>
                    <a:pt x="5813459" y="686026"/>
                    <a:pt x="5800365" y="715534"/>
                    <a:pt x="5787033" y="734572"/>
                  </a:cubicBezTo>
                  <a:cubicBezTo>
                    <a:pt x="5773939" y="753847"/>
                    <a:pt x="5756797" y="767412"/>
                    <a:pt x="5735609" y="775503"/>
                  </a:cubicBezTo>
                  <a:cubicBezTo>
                    <a:pt x="5714420" y="783356"/>
                    <a:pt x="5684661" y="787401"/>
                    <a:pt x="5646093" y="787401"/>
                  </a:cubicBezTo>
                  <a:cubicBezTo>
                    <a:pt x="5640141" y="787401"/>
                    <a:pt x="5640141" y="787401"/>
                    <a:pt x="5640141" y="787401"/>
                  </a:cubicBezTo>
                  <a:lnTo>
                    <a:pt x="5634189" y="787401"/>
                  </a:lnTo>
                  <a:cubicBezTo>
                    <a:pt x="5634189" y="778834"/>
                    <a:pt x="5634189" y="778834"/>
                    <a:pt x="5634189" y="778834"/>
                  </a:cubicBezTo>
                  <a:cubicBezTo>
                    <a:pt x="5634189" y="728147"/>
                    <a:pt x="5634189" y="728147"/>
                    <a:pt x="5634189" y="728147"/>
                  </a:cubicBezTo>
                  <a:cubicBezTo>
                    <a:pt x="5634189" y="722435"/>
                    <a:pt x="5637046" y="719580"/>
                    <a:pt x="5642760" y="719580"/>
                  </a:cubicBezTo>
                  <a:cubicBezTo>
                    <a:pt x="5644426" y="719580"/>
                    <a:pt x="5644426" y="719580"/>
                    <a:pt x="5644426" y="719580"/>
                  </a:cubicBezTo>
                  <a:cubicBezTo>
                    <a:pt x="5667281" y="719104"/>
                    <a:pt x="5685375" y="716248"/>
                    <a:pt x="5698707" y="711013"/>
                  </a:cubicBezTo>
                  <a:cubicBezTo>
                    <a:pt x="5711801" y="705778"/>
                    <a:pt x="5722753" y="696259"/>
                    <a:pt x="5731323" y="682219"/>
                  </a:cubicBezTo>
                  <a:cubicBezTo>
                    <a:pt x="5739894" y="668178"/>
                    <a:pt x="5748227" y="647237"/>
                    <a:pt x="5756083" y="619157"/>
                  </a:cubicBezTo>
                  <a:cubicBezTo>
                    <a:pt x="5756797" y="618443"/>
                    <a:pt x="5756797" y="616777"/>
                    <a:pt x="5756083" y="613921"/>
                  </a:cubicBezTo>
                  <a:cubicBezTo>
                    <a:pt x="5612762" y="188669"/>
                    <a:pt x="5612762" y="188669"/>
                    <a:pt x="5612762" y="188669"/>
                  </a:cubicBezTo>
                  <a:cubicBezTo>
                    <a:pt x="5611810" y="185337"/>
                    <a:pt x="5611810" y="185337"/>
                    <a:pt x="5611810" y="185337"/>
                  </a:cubicBezTo>
                  <a:cubicBezTo>
                    <a:pt x="5611810" y="181292"/>
                    <a:pt x="5614429" y="179388"/>
                    <a:pt x="5619666" y="179388"/>
                  </a:cubicBezTo>
                  <a:close/>
                  <a:moveTo>
                    <a:pt x="8799" y="179388"/>
                  </a:moveTo>
                  <a:cubicBezTo>
                    <a:pt x="73005" y="179388"/>
                    <a:pt x="73005" y="179388"/>
                    <a:pt x="73005" y="179388"/>
                  </a:cubicBezTo>
                  <a:cubicBezTo>
                    <a:pt x="78713" y="179388"/>
                    <a:pt x="81565" y="182243"/>
                    <a:pt x="81565" y="187952"/>
                  </a:cubicBezTo>
                  <a:cubicBezTo>
                    <a:pt x="81565" y="454841"/>
                    <a:pt x="81565" y="454841"/>
                    <a:pt x="81565" y="454841"/>
                  </a:cubicBezTo>
                  <a:cubicBezTo>
                    <a:pt x="81565" y="484575"/>
                    <a:pt x="89413" y="508124"/>
                    <a:pt x="105345" y="525250"/>
                  </a:cubicBezTo>
                  <a:cubicBezTo>
                    <a:pt x="121040" y="542377"/>
                    <a:pt x="143157" y="551178"/>
                    <a:pt x="171691" y="551178"/>
                  </a:cubicBezTo>
                  <a:cubicBezTo>
                    <a:pt x="200465" y="551178"/>
                    <a:pt x="223293" y="542377"/>
                    <a:pt x="240415" y="524775"/>
                  </a:cubicBezTo>
                  <a:cubicBezTo>
                    <a:pt x="257537" y="507410"/>
                    <a:pt x="266097" y="484099"/>
                    <a:pt x="266097" y="454841"/>
                  </a:cubicBezTo>
                  <a:cubicBezTo>
                    <a:pt x="266097" y="187952"/>
                    <a:pt x="266097" y="187952"/>
                    <a:pt x="266097" y="187952"/>
                  </a:cubicBezTo>
                  <a:cubicBezTo>
                    <a:pt x="266097" y="182243"/>
                    <a:pt x="268952" y="179388"/>
                    <a:pt x="274896" y="179388"/>
                  </a:cubicBezTo>
                  <a:cubicBezTo>
                    <a:pt x="339103" y="179388"/>
                    <a:pt x="339103" y="179388"/>
                    <a:pt x="339103" y="179388"/>
                  </a:cubicBezTo>
                  <a:cubicBezTo>
                    <a:pt x="344810" y="179388"/>
                    <a:pt x="347662" y="182243"/>
                    <a:pt x="347662" y="187952"/>
                  </a:cubicBezTo>
                  <a:cubicBezTo>
                    <a:pt x="347662" y="607791"/>
                    <a:pt x="347662" y="607791"/>
                    <a:pt x="347662" y="607791"/>
                  </a:cubicBezTo>
                  <a:cubicBezTo>
                    <a:pt x="347662" y="613500"/>
                    <a:pt x="344810" y="616354"/>
                    <a:pt x="339103" y="616354"/>
                  </a:cubicBezTo>
                  <a:cubicBezTo>
                    <a:pt x="274896" y="616354"/>
                    <a:pt x="274896" y="616354"/>
                    <a:pt x="274896" y="616354"/>
                  </a:cubicBezTo>
                  <a:cubicBezTo>
                    <a:pt x="268952" y="616354"/>
                    <a:pt x="266097" y="613500"/>
                    <a:pt x="266097" y="607791"/>
                  </a:cubicBezTo>
                  <a:cubicBezTo>
                    <a:pt x="266097" y="575917"/>
                    <a:pt x="266097" y="575917"/>
                    <a:pt x="266097" y="575917"/>
                  </a:cubicBezTo>
                  <a:cubicBezTo>
                    <a:pt x="266097" y="574727"/>
                    <a:pt x="265859" y="574014"/>
                    <a:pt x="264909" y="573776"/>
                  </a:cubicBezTo>
                  <a:cubicBezTo>
                    <a:pt x="263957" y="573538"/>
                    <a:pt x="263007" y="574014"/>
                    <a:pt x="261817" y="575203"/>
                  </a:cubicBezTo>
                  <a:cubicBezTo>
                    <a:pt x="238988" y="606602"/>
                    <a:pt x="203795" y="622301"/>
                    <a:pt x="156234" y="622301"/>
                  </a:cubicBezTo>
                  <a:cubicBezTo>
                    <a:pt x="128174" y="622301"/>
                    <a:pt x="102492" y="616830"/>
                    <a:pt x="78713" y="606126"/>
                  </a:cubicBezTo>
                  <a:cubicBezTo>
                    <a:pt x="54933" y="595184"/>
                    <a:pt x="35909" y="579247"/>
                    <a:pt x="21642" y="557839"/>
                  </a:cubicBezTo>
                  <a:cubicBezTo>
                    <a:pt x="7134" y="536668"/>
                    <a:pt x="0" y="510978"/>
                    <a:pt x="0" y="480769"/>
                  </a:cubicBezTo>
                  <a:cubicBezTo>
                    <a:pt x="0" y="187952"/>
                    <a:pt x="0" y="187952"/>
                    <a:pt x="0" y="187952"/>
                  </a:cubicBezTo>
                  <a:cubicBezTo>
                    <a:pt x="0" y="182243"/>
                    <a:pt x="2854" y="179388"/>
                    <a:pt x="8799" y="179388"/>
                  </a:cubicBezTo>
                  <a:close/>
                  <a:moveTo>
                    <a:pt x="7185536" y="174625"/>
                  </a:moveTo>
                  <a:cubicBezTo>
                    <a:pt x="7203807" y="174625"/>
                    <a:pt x="7220417" y="178430"/>
                    <a:pt x="7235128" y="185801"/>
                  </a:cubicBezTo>
                  <a:cubicBezTo>
                    <a:pt x="7239162" y="187703"/>
                    <a:pt x="7240586" y="191032"/>
                    <a:pt x="7239399" y="196263"/>
                  </a:cubicBezTo>
                  <a:cubicBezTo>
                    <a:pt x="7225637" y="260703"/>
                    <a:pt x="7225637" y="260703"/>
                    <a:pt x="7225637" y="260703"/>
                  </a:cubicBezTo>
                  <a:cubicBezTo>
                    <a:pt x="7225162" y="265696"/>
                    <a:pt x="7221840" y="267361"/>
                    <a:pt x="7215434" y="265696"/>
                  </a:cubicBezTo>
                  <a:cubicBezTo>
                    <a:pt x="7205705" y="261654"/>
                    <a:pt x="7194316" y="259752"/>
                    <a:pt x="7181265" y="259752"/>
                  </a:cubicBezTo>
                  <a:cubicBezTo>
                    <a:pt x="7169164" y="260703"/>
                    <a:pt x="7169164" y="260703"/>
                    <a:pt x="7169164" y="260703"/>
                  </a:cubicBezTo>
                  <a:cubicBezTo>
                    <a:pt x="7142350" y="261654"/>
                    <a:pt x="7120283" y="270927"/>
                    <a:pt x="7102724" y="288523"/>
                  </a:cubicBezTo>
                  <a:cubicBezTo>
                    <a:pt x="7085402" y="305881"/>
                    <a:pt x="7076623" y="328709"/>
                    <a:pt x="7076623" y="356767"/>
                  </a:cubicBezTo>
                  <a:cubicBezTo>
                    <a:pt x="7076623" y="607390"/>
                    <a:pt x="7076623" y="607390"/>
                    <a:pt x="7076623" y="607390"/>
                  </a:cubicBezTo>
                  <a:cubicBezTo>
                    <a:pt x="7076623" y="613097"/>
                    <a:pt x="7073776" y="615950"/>
                    <a:pt x="7068081" y="615950"/>
                  </a:cubicBezTo>
                  <a:cubicBezTo>
                    <a:pt x="7003065" y="615950"/>
                    <a:pt x="7003065" y="615950"/>
                    <a:pt x="7003065" y="615950"/>
                  </a:cubicBezTo>
                  <a:cubicBezTo>
                    <a:pt x="6997370" y="615950"/>
                    <a:pt x="6994523" y="613097"/>
                    <a:pt x="6994523" y="607390"/>
                  </a:cubicBezTo>
                  <a:cubicBezTo>
                    <a:pt x="6994523" y="187703"/>
                    <a:pt x="6994523" y="187703"/>
                    <a:pt x="6994523" y="187703"/>
                  </a:cubicBezTo>
                  <a:cubicBezTo>
                    <a:pt x="6994523" y="181997"/>
                    <a:pt x="6997370" y="179143"/>
                    <a:pt x="7003065" y="179143"/>
                  </a:cubicBezTo>
                  <a:cubicBezTo>
                    <a:pt x="7068081" y="179143"/>
                    <a:pt x="7068081" y="179143"/>
                    <a:pt x="7068081" y="179143"/>
                  </a:cubicBezTo>
                  <a:cubicBezTo>
                    <a:pt x="7073776" y="179143"/>
                    <a:pt x="7076623" y="181997"/>
                    <a:pt x="7076623" y="187703"/>
                  </a:cubicBezTo>
                  <a:cubicBezTo>
                    <a:pt x="7076623" y="233120"/>
                    <a:pt x="7076623" y="233120"/>
                    <a:pt x="7076623" y="233120"/>
                  </a:cubicBezTo>
                  <a:cubicBezTo>
                    <a:pt x="7076623" y="234784"/>
                    <a:pt x="7077098" y="235735"/>
                    <a:pt x="7078047" y="236211"/>
                  </a:cubicBezTo>
                  <a:cubicBezTo>
                    <a:pt x="7078759" y="236449"/>
                    <a:pt x="7079470" y="235973"/>
                    <a:pt x="7080182" y="234784"/>
                  </a:cubicBezTo>
                  <a:cubicBezTo>
                    <a:pt x="7105809" y="194837"/>
                    <a:pt x="7140927" y="174625"/>
                    <a:pt x="7185536" y="174625"/>
                  </a:cubicBezTo>
                  <a:close/>
                  <a:moveTo>
                    <a:pt x="5407142" y="174625"/>
                  </a:moveTo>
                  <a:cubicBezTo>
                    <a:pt x="5440487" y="174625"/>
                    <a:pt x="5469783" y="180108"/>
                    <a:pt x="5495269" y="190597"/>
                  </a:cubicBezTo>
                  <a:cubicBezTo>
                    <a:pt x="5520754" y="201324"/>
                    <a:pt x="5540523" y="216103"/>
                    <a:pt x="5554337" y="234935"/>
                  </a:cubicBezTo>
                  <a:cubicBezTo>
                    <a:pt x="5567914" y="253767"/>
                    <a:pt x="5574821" y="275221"/>
                    <a:pt x="5574821" y="298582"/>
                  </a:cubicBezTo>
                  <a:cubicBezTo>
                    <a:pt x="5574821" y="301204"/>
                    <a:pt x="5574821" y="301204"/>
                    <a:pt x="5574821" y="301204"/>
                  </a:cubicBezTo>
                  <a:cubicBezTo>
                    <a:pt x="5574821" y="306925"/>
                    <a:pt x="5571963" y="309786"/>
                    <a:pt x="5566246" y="309786"/>
                  </a:cubicBezTo>
                  <a:cubicBezTo>
                    <a:pt x="5505987" y="309786"/>
                    <a:pt x="5505987" y="309786"/>
                    <a:pt x="5505987" y="309786"/>
                  </a:cubicBezTo>
                  <a:cubicBezTo>
                    <a:pt x="5500270" y="309786"/>
                    <a:pt x="5497412" y="306925"/>
                    <a:pt x="5497412" y="301204"/>
                  </a:cubicBezTo>
                  <a:cubicBezTo>
                    <a:pt x="5497412" y="298582"/>
                    <a:pt x="5497412" y="298582"/>
                    <a:pt x="5497412" y="298582"/>
                  </a:cubicBezTo>
                  <a:cubicBezTo>
                    <a:pt x="5497412" y="281896"/>
                    <a:pt x="5489314" y="268070"/>
                    <a:pt x="5472880" y="256866"/>
                  </a:cubicBezTo>
                  <a:cubicBezTo>
                    <a:pt x="5456683" y="245662"/>
                    <a:pt x="5434532" y="240179"/>
                    <a:pt x="5406427" y="240179"/>
                  </a:cubicBezTo>
                  <a:cubicBezTo>
                    <a:pt x="5381180" y="240179"/>
                    <a:pt x="5360696" y="244947"/>
                    <a:pt x="5344738" y="254720"/>
                  </a:cubicBezTo>
                  <a:cubicBezTo>
                    <a:pt x="5329018" y="264494"/>
                    <a:pt x="5321158" y="277605"/>
                    <a:pt x="5321158" y="294291"/>
                  </a:cubicBezTo>
                  <a:cubicBezTo>
                    <a:pt x="5321158" y="310978"/>
                    <a:pt x="5328780" y="323612"/>
                    <a:pt x="5344024" y="332193"/>
                  </a:cubicBezTo>
                  <a:cubicBezTo>
                    <a:pt x="5359267" y="340775"/>
                    <a:pt x="5383800" y="350072"/>
                    <a:pt x="5417622" y="359845"/>
                  </a:cubicBezTo>
                  <a:cubicBezTo>
                    <a:pt x="5450729" y="368904"/>
                    <a:pt x="5478358" y="377962"/>
                    <a:pt x="5500509" y="386782"/>
                  </a:cubicBezTo>
                  <a:cubicBezTo>
                    <a:pt x="5522659" y="395841"/>
                    <a:pt x="5541237" y="408951"/>
                    <a:pt x="5556719" y="426353"/>
                  </a:cubicBezTo>
                  <a:cubicBezTo>
                    <a:pt x="5572201" y="443993"/>
                    <a:pt x="5580061" y="466639"/>
                    <a:pt x="5580061" y="494768"/>
                  </a:cubicBezTo>
                  <a:cubicBezTo>
                    <a:pt x="5580061" y="533862"/>
                    <a:pt x="5564579" y="564851"/>
                    <a:pt x="5534092" y="587735"/>
                  </a:cubicBezTo>
                  <a:cubicBezTo>
                    <a:pt x="5503367" y="610620"/>
                    <a:pt x="5462638" y="622300"/>
                    <a:pt x="5411429" y="622300"/>
                  </a:cubicBezTo>
                  <a:cubicBezTo>
                    <a:pt x="5377131" y="622300"/>
                    <a:pt x="5346882" y="617056"/>
                    <a:pt x="5320682" y="606806"/>
                  </a:cubicBezTo>
                  <a:cubicBezTo>
                    <a:pt x="5294720" y="596317"/>
                    <a:pt x="5274475" y="582253"/>
                    <a:pt x="5260184" y="564136"/>
                  </a:cubicBezTo>
                  <a:cubicBezTo>
                    <a:pt x="5245893" y="546019"/>
                    <a:pt x="5238748" y="525995"/>
                    <a:pt x="5238748" y="504303"/>
                  </a:cubicBezTo>
                  <a:cubicBezTo>
                    <a:pt x="5238748" y="494768"/>
                    <a:pt x="5238748" y="494768"/>
                    <a:pt x="5238748" y="494768"/>
                  </a:cubicBezTo>
                  <a:cubicBezTo>
                    <a:pt x="5238748" y="489047"/>
                    <a:pt x="5241606" y="486186"/>
                    <a:pt x="5247322" y="486186"/>
                  </a:cubicBezTo>
                  <a:cubicBezTo>
                    <a:pt x="5309249" y="486186"/>
                    <a:pt x="5309249" y="486186"/>
                    <a:pt x="5309249" y="486186"/>
                  </a:cubicBezTo>
                  <a:cubicBezTo>
                    <a:pt x="5314966" y="486186"/>
                    <a:pt x="5317824" y="489047"/>
                    <a:pt x="5317824" y="494768"/>
                  </a:cubicBezTo>
                  <a:cubicBezTo>
                    <a:pt x="5317824" y="499059"/>
                    <a:pt x="5317824" y="499059"/>
                    <a:pt x="5317824" y="499059"/>
                  </a:cubicBezTo>
                  <a:cubicBezTo>
                    <a:pt x="5317824" y="515268"/>
                    <a:pt x="5326637" y="529333"/>
                    <a:pt x="5344024" y="541252"/>
                  </a:cubicBezTo>
                  <a:cubicBezTo>
                    <a:pt x="5361411" y="553409"/>
                    <a:pt x="5383800" y="559368"/>
                    <a:pt x="5410714" y="559368"/>
                  </a:cubicBezTo>
                  <a:cubicBezTo>
                    <a:pt x="5436438" y="559368"/>
                    <a:pt x="5457398" y="553886"/>
                    <a:pt x="5473356" y="542682"/>
                  </a:cubicBezTo>
                  <a:cubicBezTo>
                    <a:pt x="5489552" y="531478"/>
                    <a:pt x="5497412" y="517175"/>
                    <a:pt x="5497412" y="500012"/>
                  </a:cubicBezTo>
                  <a:cubicBezTo>
                    <a:pt x="5497412" y="483326"/>
                    <a:pt x="5490029" y="470930"/>
                    <a:pt x="5475261" y="462587"/>
                  </a:cubicBezTo>
                  <a:cubicBezTo>
                    <a:pt x="5460256" y="454243"/>
                    <a:pt x="5436200" y="445423"/>
                    <a:pt x="5402854" y="436365"/>
                  </a:cubicBezTo>
                  <a:cubicBezTo>
                    <a:pt x="5370224" y="427068"/>
                    <a:pt x="5342833" y="417771"/>
                    <a:pt x="5320682" y="408475"/>
                  </a:cubicBezTo>
                  <a:cubicBezTo>
                    <a:pt x="5298769" y="398939"/>
                    <a:pt x="5280192" y="385352"/>
                    <a:pt x="5264948" y="367950"/>
                  </a:cubicBezTo>
                  <a:cubicBezTo>
                    <a:pt x="5249704" y="350310"/>
                    <a:pt x="5242082" y="327903"/>
                    <a:pt x="5242082" y="300489"/>
                  </a:cubicBezTo>
                  <a:cubicBezTo>
                    <a:pt x="5242082" y="261872"/>
                    <a:pt x="5257088" y="231359"/>
                    <a:pt x="5287337" y="208713"/>
                  </a:cubicBezTo>
                  <a:cubicBezTo>
                    <a:pt x="5317348" y="186067"/>
                    <a:pt x="5357362" y="174625"/>
                    <a:pt x="5407142" y="174625"/>
                  </a:cubicBezTo>
                  <a:close/>
                  <a:moveTo>
                    <a:pt x="1908331" y="174625"/>
                  </a:moveTo>
                  <a:cubicBezTo>
                    <a:pt x="1926719" y="174625"/>
                    <a:pt x="1943438" y="178430"/>
                    <a:pt x="1958484" y="185801"/>
                  </a:cubicBezTo>
                  <a:cubicBezTo>
                    <a:pt x="1962305" y="187703"/>
                    <a:pt x="1963738" y="191032"/>
                    <a:pt x="1962782" y="196263"/>
                  </a:cubicBezTo>
                  <a:cubicBezTo>
                    <a:pt x="1948931" y="260703"/>
                    <a:pt x="1948931" y="260703"/>
                    <a:pt x="1948931" y="260703"/>
                  </a:cubicBezTo>
                  <a:cubicBezTo>
                    <a:pt x="1948454" y="265696"/>
                    <a:pt x="1944871" y="267361"/>
                    <a:pt x="1938661" y="265696"/>
                  </a:cubicBezTo>
                  <a:cubicBezTo>
                    <a:pt x="1928870" y="261654"/>
                    <a:pt x="1917406" y="259752"/>
                    <a:pt x="1904033" y="259752"/>
                  </a:cubicBezTo>
                  <a:cubicBezTo>
                    <a:pt x="1892091" y="260703"/>
                    <a:pt x="1892091" y="260703"/>
                    <a:pt x="1892091" y="260703"/>
                  </a:cubicBezTo>
                  <a:cubicBezTo>
                    <a:pt x="1865105" y="261654"/>
                    <a:pt x="1842658" y="270927"/>
                    <a:pt x="1825224" y="288523"/>
                  </a:cubicBezTo>
                  <a:cubicBezTo>
                    <a:pt x="1807553" y="305881"/>
                    <a:pt x="1798954" y="328709"/>
                    <a:pt x="1798954" y="356767"/>
                  </a:cubicBezTo>
                  <a:cubicBezTo>
                    <a:pt x="1798954" y="607390"/>
                    <a:pt x="1798954" y="607390"/>
                    <a:pt x="1798954" y="607390"/>
                  </a:cubicBezTo>
                  <a:cubicBezTo>
                    <a:pt x="1798954" y="613097"/>
                    <a:pt x="1796088" y="615950"/>
                    <a:pt x="1790358" y="615950"/>
                  </a:cubicBezTo>
                  <a:cubicBezTo>
                    <a:pt x="1724683" y="615950"/>
                    <a:pt x="1724683" y="615950"/>
                    <a:pt x="1724683" y="615950"/>
                  </a:cubicBezTo>
                  <a:cubicBezTo>
                    <a:pt x="1718951" y="615950"/>
                    <a:pt x="1716086" y="613097"/>
                    <a:pt x="1716086" y="607390"/>
                  </a:cubicBezTo>
                  <a:cubicBezTo>
                    <a:pt x="1716086" y="187703"/>
                    <a:pt x="1716086" y="187703"/>
                    <a:pt x="1716086" y="187703"/>
                  </a:cubicBezTo>
                  <a:cubicBezTo>
                    <a:pt x="1716086" y="181997"/>
                    <a:pt x="1718951" y="179143"/>
                    <a:pt x="1724683" y="179143"/>
                  </a:cubicBezTo>
                  <a:cubicBezTo>
                    <a:pt x="1790358" y="179143"/>
                    <a:pt x="1790358" y="179143"/>
                    <a:pt x="1790358" y="179143"/>
                  </a:cubicBezTo>
                  <a:cubicBezTo>
                    <a:pt x="1796088" y="179143"/>
                    <a:pt x="1798954" y="181997"/>
                    <a:pt x="1798954" y="187703"/>
                  </a:cubicBezTo>
                  <a:cubicBezTo>
                    <a:pt x="1798954" y="233120"/>
                    <a:pt x="1798954" y="233120"/>
                    <a:pt x="1798954" y="233120"/>
                  </a:cubicBezTo>
                  <a:cubicBezTo>
                    <a:pt x="1798954" y="234784"/>
                    <a:pt x="1799432" y="235735"/>
                    <a:pt x="1800149" y="236211"/>
                  </a:cubicBezTo>
                  <a:cubicBezTo>
                    <a:pt x="1801104" y="236449"/>
                    <a:pt x="1801820" y="235973"/>
                    <a:pt x="1802297" y="234784"/>
                  </a:cubicBezTo>
                  <a:cubicBezTo>
                    <a:pt x="1828329" y="194837"/>
                    <a:pt x="1863673" y="174625"/>
                    <a:pt x="1908331" y="174625"/>
                  </a:cubicBezTo>
                  <a:close/>
                  <a:moveTo>
                    <a:pt x="8657956" y="173038"/>
                  </a:moveTo>
                  <a:cubicBezTo>
                    <a:pt x="8704802" y="173038"/>
                    <a:pt x="8742137" y="186590"/>
                    <a:pt x="8769484" y="213930"/>
                  </a:cubicBezTo>
                  <a:cubicBezTo>
                    <a:pt x="8797069" y="241032"/>
                    <a:pt x="8810623" y="277882"/>
                    <a:pt x="8810623" y="324242"/>
                  </a:cubicBezTo>
                  <a:cubicBezTo>
                    <a:pt x="8810623" y="607393"/>
                    <a:pt x="8810623" y="607393"/>
                    <a:pt x="8810623" y="607393"/>
                  </a:cubicBezTo>
                  <a:cubicBezTo>
                    <a:pt x="8810623" y="613098"/>
                    <a:pt x="8807770" y="615951"/>
                    <a:pt x="8802062" y="615951"/>
                  </a:cubicBezTo>
                  <a:cubicBezTo>
                    <a:pt x="8736905" y="615951"/>
                    <a:pt x="8736905" y="615951"/>
                    <a:pt x="8736905" y="615951"/>
                  </a:cubicBezTo>
                  <a:cubicBezTo>
                    <a:pt x="8731198" y="615951"/>
                    <a:pt x="8728345" y="613098"/>
                    <a:pt x="8728345" y="607393"/>
                  </a:cubicBezTo>
                  <a:cubicBezTo>
                    <a:pt x="8728345" y="340408"/>
                    <a:pt x="8728345" y="340408"/>
                    <a:pt x="8728345" y="340408"/>
                  </a:cubicBezTo>
                  <a:cubicBezTo>
                    <a:pt x="8728345" y="311879"/>
                    <a:pt x="8720022" y="288581"/>
                    <a:pt x="8703376" y="270988"/>
                  </a:cubicBezTo>
                  <a:cubicBezTo>
                    <a:pt x="8686730" y="253157"/>
                    <a:pt x="8664852" y="244361"/>
                    <a:pt x="8637267" y="244361"/>
                  </a:cubicBezTo>
                  <a:cubicBezTo>
                    <a:pt x="8610396" y="244361"/>
                    <a:pt x="8588518" y="253157"/>
                    <a:pt x="8571159" y="270988"/>
                  </a:cubicBezTo>
                  <a:cubicBezTo>
                    <a:pt x="8554037" y="288581"/>
                    <a:pt x="8545477" y="311642"/>
                    <a:pt x="8545477" y="339695"/>
                  </a:cubicBezTo>
                  <a:cubicBezTo>
                    <a:pt x="8545477" y="607393"/>
                    <a:pt x="8545477" y="607393"/>
                    <a:pt x="8545477" y="607393"/>
                  </a:cubicBezTo>
                  <a:cubicBezTo>
                    <a:pt x="8545477" y="613098"/>
                    <a:pt x="8542623" y="615951"/>
                    <a:pt x="8536916" y="615951"/>
                  </a:cubicBezTo>
                  <a:cubicBezTo>
                    <a:pt x="8471759" y="615951"/>
                    <a:pt x="8471759" y="615951"/>
                    <a:pt x="8471759" y="615951"/>
                  </a:cubicBezTo>
                  <a:cubicBezTo>
                    <a:pt x="8466052" y="615951"/>
                    <a:pt x="8462960" y="613098"/>
                    <a:pt x="8462960" y="607393"/>
                  </a:cubicBezTo>
                  <a:cubicBezTo>
                    <a:pt x="8462960" y="187778"/>
                    <a:pt x="8462960" y="187778"/>
                    <a:pt x="8462960" y="187778"/>
                  </a:cubicBezTo>
                  <a:cubicBezTo>
                    <a:pt x="8462960" y="182072"/>
                    <a:pt x="8466052" y="179220"/>
                    <a:pt x="8471759" y="179220"/>
                  </a:cubicBezTo>
                  <a:cubicBezTo>
                    <a:pt x="8536916" y="179220"/>
                    <a:pt x="8536916" y="179220"/>
                    <a:pt x="8536916" y="179220"/>
                  </a:cubicBezTo>
                  <a:cubicBezTo>
                    <a:pt x="8542623" y="179220"/>
                    <a:pt x="8545477" y="182072"/>
                    <a:pt x="8545477" y="187778"/>
                  </a:cubicBezTo>
                  <a:cubicBezTo>
                    <a:pt x="8545477" y="218685"/>
                    <a:pt x="8545477" y="218685"/>
                    <a:pt x="8545477" y="218685"/>
                  </a:cubicBezTo>
                  <a:cubicBezTo>
                    <a:pt x="8545477" y="219636"/>
                    <a:pt x="8545952" y="220587"/>
                    <a:pt x="8546666" y="221062"/>
                  </a:cubicBezTo>
                  <a:cubicBezTo>
                    <a:pt x="8547617" y="221775"/>
                    <a:pt x="8548330" y="221538"/>
                    <a:pt x="8548806" y="220349"/>
                  </a:cubicBezTo>
                  <a:cubicBezTo>
                    <a:pt x="8573537" y="188729"/>
                    <a:pt x="8609920" y="173038"/>
                    <a:pt x="8657956" y="173038"/>
                  </a:cubicBezTo>
                  <a:close/>
                  <a:moveTo>
                    <a:pt x="8170266" y="173038"/>
                  </a:moveTo>
                  <a:cubicBezTo>
                    <a:pt x="8227969" y="173038"/>
                    <a:pt x="8270949" y="187291"/>
                    <a:pt x="8299682" y="216270"/>
                  </a:cubicBezTo>
                  <a:cubicBezTo>
                    <a:pt x="8328177" y="245250"/>
                    <a:pt x="8345511" y="287532"/>
                    <a:pt x="8351923" y="343592"/>
                  </a:cubicBezTo>
                  <a:cubicBezTo>
                    <a:pt x="8354297" y="367108"/>
                    <a:pt x="8355010" y="393237"/>
                    <a:pt x="8354535" y="422455"/>
                  </a:cubicBezTo>
                  <a:cubicBezTo>
                    <a:pt x="8354535" y="428156"/>
                    <a:pt x="8351685" y="431006"/>
                    <a:pt x="8345986" y="431006"/>
                  </a:cubicBezTo>
                  <a:cubicBezTo>
                    <a:pt x="8072433" y="431006"/>
                    <a:pt x="8072433" y="431006"/>
                    <a:pt x="8072433" y="431006"/>
                  </a:cubicBezTo>
                  <a:cubicBezTo>
                    <a:pt x="8070058" y="431006"/>
                    <a:pt x="8069108" y="432194"/>
                    <a:pt x="8069108" y="434569"/>
                  </a:cubicBezTo>
                  <a:cubicBezTo>
                    <a:pt x="8069108" y="453810"/>
                    <a:pt x="8070771" y="468775"/>
                    <a:pt x="8074095" y="478989"/>
                  </a:cubicBezTo>
                  <a:cubicBezTo>
                    <a:pt x="8080506" y="502030"/>
                    <a:pt x="8093092" y="519846"/>
                    <a:pt x="8112326" y="532673"/>
                  </a:cubicBezTo>
                  <a:cubicBezTo>
                    <a:pt x="8131560" y="545500"/>
                    <a:pt x="8155544" y="551914"/>
                    <a:pt x="8184751" y="551914"/>
                  </a:cubicBezTo>
                  <a:cubicBezTo>
                    <a:pt x="8227019" y="551914"/>
                    <a:pt x="8259551" y="534573"/>
                    <a:pt x="8282347" y="499655"/>
                  </a:cubicBezTo>
                  <a:cubicBezTo>
                    <a:pt x="8285197" y="493954"/>
                    <a:pt x="8288996" y="493004"/>
                    <a:pt x="8293508" y="497042"/>
                  </a:cubicBezTo>
                  <a:cubicBezTo>
                    <a:pt x="8342424" y="529585"/>
                    <a:pt x="8342424" y="529585"/>
                    <a:pt x="8342424" y="529585"/>
                  </a:cubicBezTo>
                  <a:cubicBezTo>
                    <a:pt x="8346461" y="533148"/>
                    <a:pt x="8347411" y="536711"/>
                    <a:pt x="8345036" y="540749"/>
                  </a:cubicBezTo>
                  <a:cubicBezTo>
                    <a:pt x="8329127" y="566641"/>
                    <a:pt x="8306331" y="586832"/>
                    <a:pt x="8276886" y="601560"/>
                  </a:cubicBezTo>
                  <a:cubicBezTo>
                    <a:pt x="8247441" y="616525"/>
                    <a:pt x="8214196" y="623888"/>
                    <a:pt x="8176915" y="623888"/>
                  </a:cubicBezTo>
                  <a:cubicBezTo>
                    <a:pt x="8135360" y="623888"/>
                    <a:pt x="8100216" y="614862"/>
                    <a:pt x="8071483" y="596571"/>
                  </a:cubicBezTo>
                  <a:cubicBezTo>
                    <a:pt x="8042988" y="578281"/>
                    <a:pt x="8021616" y="552151"/>
                    <a:pt x="8007369" y="518421"/>
                  </a:cubicBezTo>
                  <a:cubicBezTo>
                    <a:pt x="7993596" y="484690"/>
                    <a:pt x="7986710" y="443833"/>
                    <a:pt x="7986710" y="395850"/>
                  </a:cubicBezTo>
                  <a:cubicBezTo>
                    <a:pt x="7986710" y="354281"/>
                    <a:pt x="7989797" y="322451"/>
                    <a:pt x="7996208" y="300835"/>
                  </a:cubicBezTo>
                  <a:cubicBezTo>
                    <a:pt x="8006419" y="261165"/>
                    <a:pt x="8027078" y="230048"/>
                    <a:pt x="8057948" y="207244"/>
                  </a:cubicBezTo>
                  <a:cubicBezTo>
                    <a:pt x="8088818" y="184440"/>
                    <a:pt x="8126099" y="173038"/>
                    <a:pt x="8170266" y="173038"/>
                  </a:cubicBezTo>
                  <a:close/>
                  <a:moveTo>
                    <a:pt x="7457407" y="173038"/>
                  </a:moveTo>
                  <a:cubicBezTo>
                    <a:pt x="7504287" y="173038"/>
                    <a:pt x="7541411" y="187304"/>
                    <a:pt x="7568301" y="215834"/>
                  </a:cubicBezTo>
                  <a:cubicBezTo>
                    <a:pt x="7569491" y="217023"/>
                    <a:pt x="7570443" y="217499"/>
                    <a:pt x="7571157" y="217261"/>
                  </a:cubicBezTo>
                  <a:cubicBezTo>
                    <a:pt x="7572109" y="216785"/>
                    <a:pt x="7572585" y="216072"/>
                    <a:pt x="7572585" y="215121"/>
                  </a:cubicBezTo>
                  <a:cubicBezTo>
                    <a:pt x="7572585" y="188492"/>
                    <a:pt x="7572585" y="188492"/>
                    <a:pt x="7572585" y="188492"/>
                  </a:cubicBezTo>
                  <a:cubicBezTo>
                    <a:pt x="7572585" y="182786"/>
                    <a:pt x="7575441" y="179933"/>
                    <a:pt x="7581152" y="179933"/>
                  </a:cubicBezTo>
                  <a:cubicBezTo>
                    <a:pt x="7646356" y="179933"/>
                    <a:pt x="7646356" y="179933"/>
                    <a:pt x="7646356" y="179933"/>
                  </a:cubicBezTo>
                  <a:cubicBezTo>
                    <a:pt x="7652067" y="179933"/>
                    <a:pt x="7654923" y="182786"/>
                    <a:pt x="7654923" y="188492"/>
                  </a:cubicBezTo>
                  <a:cubicBezTo>
                    <a:pt x="7654923" y="594343"/>
                    <a:pt x="7654923" y="594343"/>
                    <a:pt x="7654923" y="594343"/>
                  </a:cubicBezTo>
                  <a:cubicBezTo>
                    <a:pt x="7654923" y="663530"/>
                    <a:pt x="7635409" y="712983"/>
                    <a:pt x="7596144" y="742941"/>
                  </a:cubicBezTo>
                  <a:cubicBezTo>
                    <a:pt x="7556879" y="772660"/>
                    <a:pt x="7504287" y="787401"/>
                    <a:pt x="7438607" y="787401"/>
                  </a:cubicBezTo>
                  <a:cubicBezTo>
                    <a:pt x="7429327" y="787401"/>
                    <a:pt x="7415048" y="786926"/>
                    <a:pt x="7395535" y="785737"/>
                  </a:cubicBezTo>
                  <a:cubicBezTo>
                    <a:pt x="7389823" y="785261"/>
                    <a:pt x="7386968" y="781933"/>
                    <a:pt x="7386968" y="776227"/>
                  </a:cubicBezTo>
                  <a:cubicBezTo>
                    <a:pt x="7389585" y="717025"/>
                    <a:pt x="7389585" y="717025"/>
                    <a:pt x="7389585" y="717025"/>
                  </a:cubicBezTo>
                  <a:cubicBezTo>
                    <a:pt x="7389585" y="714885"/>
                    <a:pt x="7390537" y="712746"/>
                    <a:pt x="7392203" y="711081"/>
                  </a:cubicBezTo>
                  <a:cubicBezTo>
                    <a:pt x="7393869" y="709417"/>
                    <a:pt x="7396011" y="708704"/>
                    <a:pt x="7399104" y="709417"/>
                  </a:cubicBezTo>
                  <a:cubicBezTo>
                    <a:pt x="7406957" y="709893"/>
                    <a:pt x="7418856" y="710130"/>
                    <a:pt x="7434324" y="710130"/>
                  </a:cubicBezTo>
                  <a:cubicBezTo>
                    <a:pt x="7482870" y="710130"/>
                    <a:pt x="7518090" y="701333"/>
                    <a:pt x="7539983" y="683264"/>
                  </a:cubicBezTo>
                  <a:cubicBezTo>
                    <a:pt x="7561638" y="665194"/>
                    <a:pt x="7572585" y="634762"/>
                    <a:pt x="7572585" y="591728"/>
                  </a:cubicBezTo>
                  <a:cubicBezTo>
                    <a:pt x="7572585" y="576273"/>
                    <a:pt x="7572585" y="576273"/>
                    <a:pt x="7572585" y="576273"/>
                  </a:cubicBezTo>
                  <a:cubicBezTo>
                    <a:pt x="7572585" y="575085"/>
                    <a:pt x="7572109" y="574371"/>
                    <a:pt x="7571157" y="573658"/>
                  </a:cubicBezTo>
                  <a:cubicBezTo>
                    <a:pt x="7570443" y="573183"/>
                    <a:pt x="7569491" y="573420"/>
                    <a:pt x="7568301" y="574609"/>
                  </a:cubicBezTo>
                  <a:cubicBezTo>
                    <a:pt x="7544266" y="602664"/>
                    <a:pt x="7509047" y="616692"/>
                    <a:pt x="7462642" y="616692"/>
                  </a:cubicBezTo>
                  <a:cubicBezTo>
                    <a:pt x="7425281" y="616692"/>
                    <a:pt x="7391727" y="606944"/>
                    <a:pt x="7361505" y="587448"/>
                  </a:cubicBezTo>
                  <a:cubicBezTo>
                    <a:pt x="7331521" y="567952"/>
                    <a:pt x="7310817" y="539421"/>
                    <a:pt x="7299395" y="501618"/>
                  </a:cubicBezTo>
                  <a:cubicBezTo>
                    <a:pt x="7292017" y="476416"/>
                    <a:pt x="7288210" y="441703"/>
                    <a:pt x="7288210" y="397005"/>
                  </a:cubicBezTo>
                  <a:cubicBezTo>
                    <a:pt x="7288210" y="349454"/>
                    <a:pt x="7292493" y="312839"/>
                    <a:pt x="7301060" y="287161"/>
                  </a:cubicBezTo>
                  <a:cubicBezTo>
                    <a:pt x="7312007" y="252687"/>
                    <a:pt x="7331283" y="225107"/>
                    <a:pt x="7359125" y="204184"/>
                  </a:cubicBezTo>
                  <a:cubicBezTo>
                    <a:pt x="7386730" y="183500"/>
                    <a:pt x="7419570" y="173038"/>
                    <a:pt x="7457407" y="173038"/>
                  </a:cubicBezTo>
                  <a:close/>
                  <a:moveTo>
                    <a:pt x="6702382" y="173038"/>
                  </a:moveTo>
                  <a:cubicBezTo>
                    <a:pt x="6760572" y="173038"/>
                    <a:pt x="6803738" y="187291"/>
                    <a:pt x="6832594" y="216270"/>
                  </a:cubicBezTo>
                  <a:cubicBezTo>
                    <a:pt x="6861212" y="245250"/>
                    <a:pt x="6878622" y="287532"/>
                    <a:pt x="6885061" y="343592"/>
                  </a:cubicBezTo>
                  <a:cubicBezTo>
                    <a:pt x="6887207" y="367108"/>
                    <a:pt x="6888161" y="393237"/>
                    <a:pt x="6887684" y="422455"/>
                  </a:cubicBezTo>
                  <a:cubicBezTo>
                    <a:pt x="6887684" y="428156"/>
                    <a:pt x="6884584" y="431006"/>
                    <a:pt x="6878860" y="431006"/>
                  </a:cubicBezTo>
                  <a:cubicBezTo>
                    <a:pt x="6604365" y="431006"/>
                    <a:pt x="6604365" y="431006"/>
                    <a:pt x="6604365" y="431006"/>
                  </a:cubicBezTo>
                  <a:cubicBezTo>
                    <a:pt x="6601981" y="431006"/>
                    <a:pt x="6601027" y="432194"/>
                    <a:pt x="6601027" y="434569"/>
                  </a:cubicBezTo>
                  <a:cubicBezTo>
                    <a:pt x="6601027" y="453810"/>
                    <a:pt x="6602696" y="468775"/>
                    <a:pt x="6606035" y="478989"/>
                  </a:cubicBezTo>
                  <a:cubicBezTo>
                    <a:pt x="6612474" y="502030"/>
                    <a:pt x="6625114" y="519846"/>
                    <a:pt x="6644431" y="532673"/>
                  </a:cubicBezTo>
                  <a:cubicBezTo>
                    <a:pt x="6663509" y="545500"/>
                    <a:pt x="6687835" y="551914"/>
                    <a:pt x="6717168" y="551914"/>
                  </a:cubicBezTo>
                  <a:cubicBezTo>
                    <a:pt x="6759618" y="551914"/>
                    <a:pt x="6792290" y="534573"/>
                    <a:pt x="6815185" y="499655"/>
                  </a:cubicBezTo>
                  <a:cubicBezTo>
                    <a:pt x="6818047" y="493954"/>
                    <a:pt x="6821862" y="493004"/>
                    <a:pt x="6826394" y="497042"/>
                  </a:cubicBezTo>
                  <a:cubicBezTo>
                    <a:pt x="6875521" y="529585"/>
                    <a:pt x="6875521" y="529585"/>
                    <a:pt x="6875521" y="529585"/>
                  </a:cubicBezTo>
                  <a:cubicBezTo>
                    <a:pt x="6879575" y="533148"/>
                    <a:pt x="6880291" y="536711"/>
                    <a:pt x="6878145" y="540749"/>
                  </a:cubicBezTo>
                  <a:cubicBezTo>
                    <a:pt x="6862166" y="566641"/>
                    <a:pt x="6839272" y="586832"/>
                    <a:pt x="6809700" y="601560"/>
                  </a:cubicBezTo>
                  <a:cubicBezTo>
                    <a:pt x="6780128" y="616525"/>
                    <a:pt x="6746740" y="623888"/>
                    <a:pt x="6709298" y="623888"/>
                  </a:cubicBezTo>
                  <a:cubicBezTo>
                    <a:pt x="6667564" y="623888"/>
                    <a:pt x="6632268" y="614862"/>
                    <a:pt x="6603412" y="596571"/>
                  </a:cubicBezTo>
                  <a:cubicBezTo>
                    <a:pt x="6574793" y="578281"/>
                    <a:pt x="6553330" y="552151"/>
                    <a:pt x="6539021" y="518421"/>
                  </a:cubicBezTo>
                  <a:cubicBezTo>
                    <a:pt x="6525189" y="484690"/>
                    <a:pt x="6518273" y="443833"/>
                    <a:pt x="6518273" y="395850"/>
                  </a:cubicBezTo>
                  <a:cubicBezTo>
                    <a:pt x="6518273" y="354281"/>
                    <a:pt x="6521373" y="322451"/>
                    <a:pt x="6527812" y="300835"/>
                  </a:cubicBezTo>
                  <a:cubicBezTo>
                    <a:pt x="6538067" y="261165"/>
                    <a:pt x="6558815" y="230048"/>
                    <a:pt x="6589818" y="207244"/>
                  </a:cubicBezTo>
                  <a:cubicBezTo>
                    <a:pt x="6620821" y="184440"/>
                    <a:pt x="6658263" y="173038"/>
                    <a:pt x="6702382" y="173038"/>
                  </a:cubicBezTo>
                  <a:close/>
                  <a:moveTo>
                    <a:pt x="6260593" y="173038"/>
                  </a:moveTo>
                  <a:cubicBezTo>
                    <a:pt x="6307439" y="173038"/>
                    <a:pt x="6344774" y="186590"/>
                    <a:pt x="6372121" y="213930"/>
                  </a:cubicBezTo>
                  <a:cubicBezTo>
                    <a:pt x="6399705" y="241032"/>
                    <a:pt x="6413498" y="277882"/>
                    <a:pt x="6413498" y="324242"/>
                  </a:cubicBezTo>
                  <a:cubicBezTo>
                    <a:pt x="6413498" y="607393"/>
                    <a:pt x="6413498" y="607393"/>
                    <a:pt x="6413498" y="607393"/>
                  </a:cubicBezTo>
                  <a:cubicBezTo>
                    <a:pt x="6413498" y="613098"/>
                    <a:pt x="6410644" y="615951"/>
                    <a:pt x="6404699" y="615951"/>
                  </a:cubicBezTo>
                  <a:cubicBezTo>
                    <a:pt x="6339542" y="615951"/>
                    <a:pt x="6339542" y="615951"/>
                    <a:pt x="6339542" y="615951"/>
                  </a:cubicBezTo>
                  <a:cubicBezTo>
                    <a:pt x="6333835" y="615951"/>
                    <a:pt x="6330981" y="613098"/>
                    <a:pt x="6330981" y="607393"/>
                  </a:cubicBezTo>
                  <a:cubicBezTo>
                    <a:pt x="6330981" y="340408"/>
                    <a:pt x="6330981" y="340408"/>
                    <a:pt x="6330981" y="340408"/>
                  </a:cubicBezTo>
                  <a:cubicBezTo>
                    <a:pt x="6330981" y="311879"/>
                    <a:pt x="6322658" y="288581"/>
                    <a:pt x="6306012" y="270988"/>
                  </a:cubicBezTo>
                  <a:cubicBezTo>
                    <a:pt x="6289366" y="253157"/>
                    <a:pt x="6267489" y="244361"/>
                    <a:pt x="6239904" y="244361"/>
                  </a:cubicBezTo>
                  <a:cubicBezTo>
                    <a:pt x="6213033" y="244361"/>
                    <a:pt x="6191155" y="253157"/>
                    <a:pt x="6173796" y="270988"/>
                  </a:cubicBezTo>
                  <a:cubicBezTo>
                    <a:pt x="6156674" y="288581"/>
                    <a:pt x="6148114" y="311642"/>
                    <a:pt x="6148114" y="339695"/>
                  </a:cubicBezTo>
                  <a:cubicBezTo>
                    <a:pt x="6148114" y="607393"/>
                    <a:pt x="6148114" y="607393"/>
                    <a:pt x="6148114" y="607393"/>
                  </a:cubicBezTo>
                  <a:cubicBezTo>
                    <a:pt x="6148114" y="613098"/>
                    <a:pt x="6145260" y="615951"/>
                    <a:pt x="6139553" y="615951"/>
                  </a:cubicBezTo>
                  <a:cubicBezTo>
                    <a:pt x="6074396" y="615951"/>
                    <a:pt x="6074396" y="615951"/>
                    <a:pt x="6074396" y="615951"/>
                  </a:cubicBezTo>
                  <a:cubicBezTo>
                    <a:pt x="6068689" y="615951"/>
                    <a:pt x="6065835" y="613098"/>
                    <a:pt x="6065835" y="607393"/>
                  </a:cubicBezTo>
                  <a:cubicBezTo>
                    <a:pt x="6065835" y="187778"/>
                    <a:pt x="6065835" y="187778"/>
                    <a:pt x="6065835" y="187778"/>
                  </a:cubicBezTo>
                  <a:cubicBezTo>
                    <a:pt x="6065835" y="182072"/>
                    <a:pt x="6068689" y="179220"/>
                    <a:pt x="6074396" y="179220"/>
                  </a:cubicBezTo>
                  <a:cubicBezTo>
                    <a:pt x="6139553" y="179220"/>
                    <a:pt x="6139553" y="179220"/>
                    <a:pt x="6139553" y="179220"/>
                  </a:cubicBezTo>
                  <a:cubicBezTo>
                    <a:pt x="6145260" y="179220"/>
                    <a:pt x="6148114" y="182072"/>
                    <a:pt x="6148114" y="187778"/>
                  </a:cubicBezTo>
                  <a:cubicBezTo>
                    <a:pt x="6148114" y="218685"/>
                    <a:pt x="6148114" y="218685"/>
                    <a:pt x="6148114" y="218685"/>
                  </a:cubicBezTo>
                  <a:cubicBezTo>
                    <a:pt x="6148114" y="219636"/>
                    <a:pt x="6148589" y="220587"/>
                    <a:pt x="6149540" y="221062"/>
                  </a:cubicBezTo>
                  <a:cubicBezTo>
                    <a:pt x="6150254" y="221775"/>
                    <a:pt x="6150967" y="221538"/>
                    <a:pt x="6151681" y="220349"/>
                  </a:cubicBezTo>
                  <a:cubicBezTo>
                    <a:pt x="6176174" y="188729"/>
                    <a:pt x="6212557" y="173038"/>
                    <a:pt x="6260593" y="173038"/>
                  </a:cubicBezTo>
                  <a:close/>
                  <a:moveTo>
                    <a:pt x="4806681" y="173038"/>
                  </a:moveTo>
                  <a:cubicBezTo>
                    <a:pt x="4853527" y="173038"/>
                    <a:pt x="4890624" y="186590"/>
                    <a:pt x="4918209" y="213930"/>
                  </a:cubicBezTo>
                  <a:cubicBezTo>
                    <a:pt x="4945793" y="241032"/>
                    <a:pt x="4959348" y="277882"/>
                    <a:pt x="4959348" y="324242"/>
                  </a:cubicBezTo>
                  <a:cubicBezTo>
                    <a:pt x="4959348" y="607393"/>
                    <a:pt x="4959348" y="607393"/>
                    <a:pt x="4959348" y="607393"/>
                  </a:cubicBezTo>
                  <a:cubicBezTo>
                    <a:pt x="4959348" y="613098"/>
                    <a:pt x="4956494" y="615951"/>
                    <a:pt x="4950787" y="615951"/>
                  </a:cubicBezTo>
                  <a:cubicBezTo>
                    <a:pt x="4885630" y="615951"/>
                    <a:pt x="4885630" y="615951"/>
                    <a:pt x="4885630" y="615951"/>
                  </a:cubicBezTo>
                  <a:cubicBezTo>
                    <a:pt x="4879923" y="615951"/>
                    <a:pt x="4877069" y="613098"/>
                    <a:pt x="4877069" y="607393"/>
                  </a:cubicBezTo>
                  <a:cubicBezTo>
                    <a:pt x="4877069" y="340408"/>
                    <a:pt x="4877069" y="340408"/>
                    <a:pt x="4877069" y="340408"/>
                  </a:cubicBezTo>
                  <a:cubicBezTo>
                    <a:pt x="4877069" y="311879"/>
                    <a:pt x="4868746" y="288581"/>
                    <a:pt x="4852100" y="270988"/>
                  </a:cubicBezTo>
                  <a:cubicBezTo>
                    <a:pt x="4835454" y="253157"/>
                    <a:pt x="4813577" y="244361"/>
                    <a:pt x="4785992" y="244361"/>
                  </a:cubicBezTo>
                  <a:cubicBezTo>
                    <a:pt x="4759121" y="244361"/>
                    <a:pt x="4737005" y="253157"/>
                    <a:pt x="4719884" y="270988"/>
                  </a:cubicBezTo>
                  <a:cubicBezTo>
                    <a:pt x="4702762" y="288581"/>
                    <a:pt x="4694201" y="311642"/>
                    <a:pt x="4694201" y="339695"/>
                  </a:cubicBezTo>
                  <a:cubicBezTo>
                    <a:pt x="4694201" y="607393"/>
                    <a:pt x="4694201" y="607393"/>
                    <a:pt x="4694201" y="607393"/>
                  </a:cubicBezTo>
                  <a:cubicBezTo>
                    <a:pt x="4694201" y="613098"/>
                    <a:pt x="4691348" y="615951"/>
                    <a:pt x="4685641" y="615951"/>
                  </a:cubicBezTo>
                  <a:cubicBezTo>
                    <a:pt x="4620246" y="615951"/>
                    <a:pt x="4620246" y="615951"/>
                    <a:pt x="4620246" y="615951"/>
                  </a:cubicBezTo>
                  <a:cubicBezTo>
                    <a:pt x="4614539" y="615951"/>
                    <a:pt x="4611685" y="613098"/>
                    <a:pt x="4611685" y="607393"/>
                  </a:cubicBezTo>
                  <a:cubicBezTo>
                    <a:pt x="4611685" y="187778"/>
                    <a:pt x="4611685" y="187778"/>
                    <a:pt x="4611685" y="187778"/>
                  </a:cubicBezTo>
                  <a:cubicBezTo>
                    <a:pt x="4611685" y="182072"/>
                    <a:pt x="4614539" y="179220"/>
                    <a:pt x="4620246" y="179220"/>
                  </a:cubicBezTo>
                  <a:cubicBezTo>
                    <a:pt x="4685641" y="179220"/>
                    <a:pt x="4685641" y="179220"/>
                    <a:pt x="4685641" y="179220"/>
                  </a:cubicBezTo>
                  <a:cubicBezTo>
                    <a:pt x="4691348" y="179220"/>
                    <a:pt x="4694201" y="182072"/>
                    <a:pt x="4694201" y="187778"/>
                  </a:cubicBezTo>
                  <a:cubicBezTo>
                    <a:pt x="4694201" y="218685"/>
                    <a:pt x="4694201" y="218685"/>
                    <a:pt x="4694201" y="218685"/>
                  </a:cubicBezTo>
                  <a:cubicBezTo>
                    <a:pt x="4694201" y="219636"/>
                    <a:pt x="4694677" y="220587"/>
                    <a:pt x="4695390" y="221062"/>
                  </a:cubicBezTo>
                  <a:cubicBezTo>
                    <a:pt x="4696342" y="221775"/>
                    <a:pt x="4697055" y="221538"/>
                    <a:pt x="4697531" y="220349"/>
                  </a:cubicBezTo>
                  <a:cubicBezTo>
                    <a:pt x="4722262" y="188729"/>
                    <a:pt x="4758645" y="173038"/>
                    <a:pt x="4806681" y="173038"/>
                  </a:cubicBezTo>
                  <a:close/>
                  <a:moveTo>
                    <a:pt x="4320462" y="173038"/>
                  </a:moveTo>
                  <a:cubicBezTo>
                    <a:pt x="4378202" y="173038"/>
                    <a:pt x="4421446" y="187291"/>
                    <a:pt x="4449959" y="216270"/>
                  </a:cubicBezTo>
                  <a:cubicBezTo>
                    <a:pt x="4478473" y="245250"/>
                    <a:pt x="4496056" y="287532"/>
                    <a:pt x="4502234" y="343592"/>
                  </a:cubicBezTo>
                  <a:cubicBezTo>
                    <a:pt x="4504610" y="367108"/>
                    <a:pt x="4505323" y="393237"/>
                    <a:pt x="4504848" y="422455"/>
                  </a:cubicBezTo>
                  <a:cubicBezTo>
                    <a:pt x="4504848" y="428156"/>
                    <a:pt x="4501996" y="431006"/>
                    <a:pt x="4496294" y="431006"/>
                  </a:cubicBezTo>
                  <a:cubicBezTo>
                    <a:pt x="4222803" y="431006"/>
                    <a:pt x="4222803" y="431006"/>
                    <a:pt x="4222803" y="431006"/>
                  </a:cubicBezTo>
                  <a:cubicBezTo>
                    <a:pt x="4220427" y="431006"/>
                    <a:pt x="4219239" y="432194"/>
                    <a:pt x="4219239" y="434569"/>
                  </a:cubicBezTo>
                  <a:cubicBezTo>
                    <a:pt x="4219239" y="453810"/>
                    <a:pt x="4220902" y="468775"/>
                    <a:pt x="4224466" y="478989"/>
                  </a:cubicBezTo>
                  <a:cubicBezTo>
                    <a:pt x="4230644" y="502030"/>
                    <a:pt x="4243475" y="519846"/>
                    <a:pt x="4262484" y="532673"/>
                  </a:cubicBezTo>
                  <a:cubicBezTo>
                    <a:pt x="4281731" y="545500"/>
                    <a:pt x="4305968" y="551914"/>
                    <a:pt x="4334956" y="551914"/>
                  </a:cubicBezTo>
                  <a:cubicBezTo>
                    <a:pt x="4377251" y="551914"/>
                    <a:pt x="4410040" y="534573"/>
                    <a:pt x="4432851" y="499655"/>
                  </a:cubicBezTo>
                  <a:cubicBezTo>
                    <a:pt x="4435702" y="493954"/>
                    <a:pt x="4439267" y="493004"/>
                    <a:pt x="4444019" y="497042"/>
                  </a:cubicBezTo>
                  <a:cubicBezTo>
                    <a:pt x="4492967" y="529585"/>
                    <a:pt x="4492967" y="529585"/>
                    <a:pt x="4492967" y="529585"/>
                  </a:cubicBezTo>
                  <a:cubicBezTo>
                    <a:pt x="4496769" y="533148"/>
                    <a:pt x="4497719" y="536711"/>
                    <a:pt x="4495581" y="540749"/>
                  </a:cubicBezTo>
                  <a:cubicBezTo>
                    <a:pt x="4479423" y="566641"/>
                    <a:pt x="4456612" y="586832"/>
                    <a:pt x="4427148" y="601560"/>
                  </a:cubicBezTo>
                  <a:cubicBezTo>
                    <a:pt x="4397686" y="616525"/>
                    <a:pt x="4364420" y="623888"/>
                    <a:pt x="4327353" y="623888"/>
                  </a:cubicBezTo>
                  <a:cubicBezTo>
                    <a:pt x="4285533" y="623888"/>
                    <a:pt x="4250366" y="614862"/>
                    <a:pt x="4221853" y="596571"/>
                  </a:cubicBezTo>
                  <a:cubicBezTo>
                    <a:pt x="4193339" y="578281"/>
                    <a:pt x="4171716" y="552151"/>
                    <a:pt x="4157460" y="518421"/>
                  </a:cubicBezTo>
                  <a:cubicBezTo>
                    <a:pt x="4143678" y="484690"/>
                    <a:pt x="4137025" y="443833"/>
                    <a:pt x="4137025" y="395850"/>
                  </a:cubicBezTo>
                  <a:cubicBezTo>
                    <a:pt x="4137025" y="354281"/>
                    <a:pt x="4140114" y="322451"/>
                    <a:pt x="4146292" y="300835"/>
                  </a:cubicBezTo>
                  <a:cubicBezTo>
                    <a:pt x="4156747" y="261165"/>
                    <a:pt x="4177181" y="230048"/>
                    <a:pt x="4208071" y="207244"/>
                  </a:cubicBezTo>
                  <a:cubicBezTo>
                    <a:pt x="4238961" y="184440"/>
                    <a:pt x="4276504" y="173038"/>
                    <a:pt x="4320462" y="173038"/>
                  </a:cubicBezTo>
                  <a:close/>
                  <a:moveTo>
                    <a:pt x="3635297" y="173038"/>
                  </a:moveTo>
                  <a:cubicBezTo>
                    <a:pt x="3664563" y="173038"/>
                    <a:pt x="3689308" y="178744"/>
                    <a:pt x="3710009" y="189918"/>
                  </a:cubicBezTo>
                  <a:cubicBezTo>
                    <a:pt x="3730709" y="201092"/>
                    <a:pt x="3746651" y="217496"/>
                    <a:pt x="3758072" y="239130"/>
                  </a:cubicBezTo>
                  <a:cubicBezTo>
                    <a:pt x="3759737" y="241508"/>
                    <a:pt x="3761641" y="241508"/>
                    <a:pt x="3763306" y="239130"/>
                  </a:cubicBezTo>
                  <a:cubicBezTo>
                    <a:pt x="3777106" y="216783"/>
                    <a:pt x="3795189" y="200141"/>
                    <a:pt x="3817793" y="189442"/>
                  </a:cubicBezTo>
                  <a:cubicBezTo>
                    <a:pt x="3840397" y="178506"/>
                    <a:pt x="3865380" y="173038"/>
                    <a:pt x="3892981" y="173038"/>
                  </a:cubicBezTo>
                  <a:cubicBezTo>
                    <a:pt x="3936523" y="173038"/>
                    <a:pt x="3970785" y="186114"/>
                    <a:pt x="3996006" y="212266"/>
                  </a:cubicBezTo>
                  <a:cubicBezTo>
                    <a:pt x="4021227" y="238180"/>
                    <a:pt x="4033838" y="274316"/>
                    <a:pt x="4033838" y="320676"/>
                  </a:cubicBezTo>
                  <a:cubicBezTo>
                    <a:pt x="4033838" y="607393"/>
                    <a:pt x="4033838" y="607393"/>
                    <a:pt x="4033838" y="607393"/>
                  </a:cubicBezTo>
                  <a:cubicBezTo>
                    <a:pt x="4033838" y="613098"/>
                    <a:pt x="4030983" y="615951"/>
                    <a:pt x="4025272" y="615951"/>
                  </a:cubicBezTo>
                  <a:cubicBezTo>
                    <a:pt x="3960792" y="615951"/>
                    <a:pt x="3960792" y="615951"/>
                    <a:pt x="3960792" y="615951"/>
                  </a:cubicBezTo>
                  <a:cubicBezTo>
                    <a:pt x="3955082" y="615951"/>
                    <a:pt x="3952226" y="613098"/>
                    <a:pt x="3952226" y="607393"/>
                  </a:cubicBezTo>
                  <a:cubicBezTo>
                    <a:pt x="3952226" y="337793"/>
                    <a:pt x="3952226" y="337793"/>
                    <a:pt x="3952226" y="337793"/>
                  </a:cubicBezTo>
                  <a:cubicBezTo>
                    <a:pt x="3952226" y="309264"/>
                    <a:pt x="3944375" y="286441"/>
                    <a:pt x="3928671" y="269561"/>
                  </a:cubicBezTo>
                  <a:cubicBezTo>
                    <a:pt x="3912967" y="252682"/>
                    <a:pt x="3891791" y="244361"/>
                    <a:pt x="3865380" y="244361"/>
                  </a:cubicBezTo>
                  <a:cubicBezTo>
                    <a:pt x="3839207" y="244361"/>
                    <a:pt x="3817793" y="252682"/>
                    <a:pt x="3801138" y="269324"/>
                  </a:cubicBezTo>
                  <a:cubicBezTo>
                    <a:pt x="3784482" y="285728"/>
                    <a:pt x="3776155" y="308076"/>
                    <a:pt x="3776155" y="336129"/>
                  </a:cubicBezTo>
                  <a:cubicBezTo>
                    <a:pt x="3776155" y="607393"/>
                    <a:pt x="3776155" y="607393"/>
                    <a:pt x="3776155" y="607393"/>
                  </a:cubicBezTo>
                  <a:cubicBezTo>
                    <a:pt x="3776155" y="613098"/>
                    <a:pt x="3773299" y="615951"/>
                    <a:pt x="3767589" y="615951"/>
                  </a:cubicBezTo>
                  <a:cubicBezTo>
                    <a:pt x="3703109" y="615951"/>
                    <a:pt x="3703109" y="615951"/>
                    <a:pt x="3703109" y="615951"/>
                  </a:cubicBezTo>
                  <a:cubicBezTo>
                    <a:pt x="3697398" y="615951"/>
                    <a:pt x="3694543" y="613098"/>
                    <a:pt x="3694543" y="607393"/>
                  </a:cubicBezTo>
                  <a:cubicBezTo>
                    <a:pt x="3694543" y="337793"/>
                    <a:pt x="3694543" y="337793"/>
                    <a:pt x="3694543" y="337793"/>
                  </a:cubicBezTo>
                  <a:cubicBezTo>
                    <a:pt x="3694543" y="309264"/>
                    <a:pt x="3686691" y="286441"/>
                    <a:pt x="3670987" y="269561"/>
                  </a:cubicBezTo>
                  <a:cubicBezTo>
                    <a:pt x="3655284" y="252682"/>
                    <a:pt x="3634108" y="244361"/>
                    <a:pt x="3607935" y="244361"/>
                  </a:cubicBezTo>
                  <a:cubicBezTo>
                    <a:pt x="3581524" y="244361"/>
                    <a:pt x="3560348" y="252682"/>
                    <a:pt x="3544644" y="269324"/>
                  </a:cubicBezTo>
                  <a:cubicBezTo>
                    <a:pt x="3528940" y="285728"/>
                    <a:pt x="3521088" y="308076"/>
                    <a:pt x="3521088" y="336129"/>
                  </a:cubicBezTo>
                  <a:cubicBezTo>
                    <a:pt x="3521088" y="607393"/>
                    <a:pt x="3521088" y="607393"/>
                    <a:pt x="3521088" y="607393"/>
                  </a:cubicBezTo>
                  <a:cubicBezTo>
                    <a:pt x="3521088" y="613098"/>
                    <a:pt x="3518233" y="615951"/>
                    <a:pt x="3512523" y="615951"/>
                  </a:cubicBezTo>
                  <a:cubicBezTo>
                    <a:pt x="3447329" y="615951"/>
                    <a:pt x="3447329" y="615951"/>
                    <a:pt x="3447329" y="615951"/>
                  </a:cubicBezTo>
                  <a:cubicBezTo>
                    <a:pt x="3441380" y="615951"/>
                    <a:pt x="3438525" y="613098"/>
                    <a:pt x="3438525" y="607393"/>
                  </a:cubicBezTo>
                  <a:cubicBezTo>
                    <a:pt x="3438525" y="187778"/>
                    <a:pt x="3438525" y="187778"/>
                    <a:pt x="3438525" y="187778"/>
                  </a:cubicBezTo>
                  <a:cubicBezTo>
                    <a:pt x="3438525" y="182072"/>
                    <a:pt x="3441380" y="179220"/>
                    <a:pt x="3447329" y="179220"/>
                  </a:cubicBezTo>
                  <a:cubicBezTo>
                    <a:pt x="3512523" y="179220"/>
                    <a:pt x="3512523" y="179220"/>
                    <a:pt x="3512523" y="179220"/>
                  </a:cubicBezTo>
                  <a:cubicBezTo>
                    <a:pt x="3518233" y="179220"/>
                    <a:pt x="3521088" y="182072"/>
                    <a:pt x="3521088" y="187778"/>
                  </a:cubicBezTo>
                  <a:cubicBezTo>
                    <a:pt x="3521088" y="216783"/>
                    <a:pt x="3521088" y="216783"/>
                    <a:pt x="3521088" y="216783"/>
                  </a:cubicBezTo>
                  <a:cubicBezTo>
                    <a:pt x="3521088" y="217971"/>
                    <a:pt x="3521564" y="218922"/>
                    <a:pt x="3522278" y="219398"/>
                  </a:cubicBezTo>
                  <a:cubicBezTo>
                    <a:pt x="3523230" y="220111"/>
                    <a:pt x="3524182" y="219636"/>
                    <a:pt x="3525371" y="218685"/>
                  </a:cubicBezTo>
                  <a:cubicBezTo>
                    <a:pt x="3550592" y="188254"/>
                    <a:pt x="3587234" y="173038"/>
                    <a:pt x="3635297" y="173038"/>
                  </a:cubicBezTo>
                  <a:close/>
                  <a:moveTo>
                    <a:pt x="2676723" y="173038"/>
                  </a:moveTo>
                  <a:cubicBezTo>
                    <a:pt x="2734674" y="173038"/>
                    <a:pt x="2778078" y="187291"/>
                    <a:pt x="2806697" y="216270"/>
                  </a:cubicBezTo>
                  <a:cubicBezTo>
                    <a:pt x="2835315" y="245250"/>
                    <a:pt x="2852963" y="287532"/>
                    <a:pt x="2859163" y="343592"/>
                  </a:cubicBezTo>
                  <a:cubicBezTo>
                    <a:pt x="2861548" y="367108"/>
                    <a:pt x="2862263" y="393237"/>
                    <a:pt x="2861786" y="422455"/>
                  </a:cubicBezTo>
                  <a:cubicBezTo>
                    <a:pt x="2861786" y="428156"/>
                    <a:pt x="2858924" y="431006"/>
                    <a:pt x="2853201" y="431006"/>
                  </a:cubicBezTo>
                  <a:cubicBezTo>
                    <a:pt x="2578468" y="431006"/>
                    <a:pt x="2578468" y="431006"/>
                    <a:pt x="2578468" y="431006"/>
                  </a:cubicBezTo>
                  <a:cubicBezTo>
                    <a:pt x="2576322" y="431006"/>
                    <a:pt x="2575129" y="432194"/>
                    <a:pt x="2575129" y="434569"/>
                  </a:cubicBezTo>
                  <a:cubicBezTo>
                    <a:pt x="2575129" y="453810"/>
                    <a:pt x="2576798" y="468775"/>
                    <a:pt x="2580376" y="478989"/>
                  </a:cubicBezTo>
                  <a:cubicBezTo>
                    <a:pt x="2586576" y="502030"/>
                    <a:pt x="2599454" y="519846"/>
                    <a:pt x="2618533" y="532673"/>
                  </a:cubicBezTo>
                  <a:cubicBezTo>
                    <a:pt x="2637850" y="545500"/>
                    <a:pt x="2662176" y="551914"/>
                    <a:pt x="2691271" y="551914"/>
                  </a:cubicBezTo>
                  <a:cubicBezTo>
                    <a:pt x="2733721" y="551914"/>
                    <a:pt x="2766631" y="534573"/>
                    <a:pt x="2789526" y="499655"/>
                  </a:cubicBezTo>
                  <a:cubicBezTo>
                    <a:pt x="2792387" y="493954"/>
                    <a:pt x="2795965" y="493004"/>
                    <a:pt x="2800735" y="497042"/>
                  </a:cubicBezTo>
                  <a:cubicBezTo>
                    <a:pt x="2849624" y="529585"/>
                    <a:pt x="2849624" y="529585"/>
                    <a:pt x="2849624" y="529585"/>
                  </a:cubicBezTo>
                  <a:cubicBezTo>
                    <a:pt x="2853678" y="533148"/>
                    <a:pt x="2854632" y="536711"/>
                    <a:pt x="2852247" y="540749"/>
                  </a:cubicBezTo>
                  <a:cubicBezTo>
                    <a:pt x="2836269" y="566641"/>
                    <a:pt x="2813374" y="586832"/>
                    <a:pt x="2783802" y="601560"/>
                  </a:cubicBezTo>
                  <a:cubicBezTo>
                    <a:pt x="2754230" y="616525"/>
                    <a:pt x="2720843" y="623888"/>
                    <a:pt x="2683639" y="623888"/>
                  </a:cubicBezTo>
                  <a:cubicBezTo>
                    <a:pt x="2641666" y="623888"/>
                    <a:pt x="2606370" y="614862"/>
                    <a:pt x="2577753" y="596571"/>
                  </a:cubicBezTo>
                  <a:cubicBezTo>
                    <a:pt x="2548896" y="578281"/>
                    <a:pt x="2527433" y="552151"/>
                    <a:pt x="2513124" y="518421"/>
                  </a:cubicBezTo>
                  <a:cubicBezTo>
                    <a:pt x="2499291" y="484690"/>
                    <a:pt x="2492375" y="443833"/>
                    <a:pt x="2492375" y="395850"/>
                  </a:cubicBezTo>
                  <a:cubicBezTo>
                    <a:pt x="2492375" y="354281"/>
                    <a:pt x="2495714" y="322451"/>
                    <a:pt x="2501915" y="300835"/>
                  </a:cubicBezTo>
                  <a:cubicBezTo>
                    <a:pt x="2512169" y="261165"/>
                    <a:pt x="2532918" y="230048"/>
                    <a:pt x="2563920" y="207244"/>
                  </a:cubicBezTo>
                  <a:cubicBezTo>
                    <a:pt x="2594923" y="184440"/>
                    <a:pt x="2632604" y="173038"/>
                    <a:pt x="2676723" y="173038"/>
                  </a:cubicBezTo>
                  <a:close/>
                  <a:moveTo>
                    <a:pt x="2234933" y="173038"/>
                  </a:moveTo>
                  <a:cubicBezTo>
                    <a:pt x="2281780" y="173038"/>
                    <a:pt x="2319114" y="186590"/>
                    <a:pt x="2346461" y="213930"/>
                  </a:cubicBezTo>
                  <a:cubicBezTo>
                    <a:pt x="2374046" y="241032"/>
                    <a:pt x="2387601" y="277882"/>
                    <a:pt x="2387601" y="324242"/>
                  </a:cubicBezTo>
                  <a:cubicBezTo>
                    <a:pt x="2387601" y="607393"/>
                    <a:pt x="2387601" y="607393"/>
                    <a:pt x="2387601" y="607393"/>
                  </a:cubicBezTo>
                  <a:cubicBezTo>
                    <a:pt x="2387601" y="613098"/>
                    <a:pt x="2384747" y="615951"/>
                    <a:pt x="2379040" y="615951"/>
                  </a:cubicBezTo>
                  <a:cubicBezTo>
                    <a:pt x="2313883" y="615951"/>
                    <a:pt x="2313883" y="615951"/>
                    <a:pt x="2313883" y="615951"/>
                  </a:cubicBezTo>
                  <a:cubicBezTo>
                    <a:pt x="2308176" y="615951"/>
                    <a:pt x="2305322" y="613098"/>
                    <a:pt x="2305322" y="607393"/>
                  </a:cubicBezTo>
                  <a:cubicBezTo>
                    <a:pt x="2305322" y="340408"/>
                    <a:pt x="2305322" y="340408"/>
                    <a:pt x="2305322" y="340408"/>
                  </a:cubicBezTo>
                  <a:cubicBezTo>
                    <a:pt x="2305322" y="311879"/>
                    <a:pt x="2296999" y="288581"/>
                    <a:pt x="2280353" y="270988"/>
                  </a:cubicBezTo>
                  <a:cubicBezTo>
                    <a:pt x="2263707" y="253157"/>
                    <a:pt x="2241829" y="244361"/>
                    <a:pt x="2214245" y="244361"/>
                  </a:cubicBezTo>
                  <a:cubicBezTo>
                    <a:pt x="2187373" y="244361"/>
                    <a:pt x="2165496" y="253157"/>
                    <a:pt x="2148137" y="270988"/>
                  </a:cubicBezTo>
                  <a:cubicBezTo>
                    <a:pt x="2131015" y="288581"/>
                    <a:pt x="2122454" y="311642"/>
                    <a:pt x="2122454" y="339695"/>
                  </a:cubicBezTo>
                  <a:cubicBezTo>
                    <a:pt x="2122454" y="607393"/>
                    <a:pt x="2122454" y="607393"/>
                    <a:pt x="2122454" y="607393"/>
                  </a:cubicBezTo>
                  <a:cubicBezTo>
                    <a:pt x="2122454" y="613098"/>
                    <a:pt x="2119601" y="615951"/>
                    <a:pt x="2113893" y="615951"/>
                  </a:cubicBezTo>
                  <a:cubicBezTo>
                    <a:pt x="2048736" y="615951"/>
                    <a:pt x="2048736" y="615951"/>
                    <a:pt x="2048736" y="615951"/>
                  </a:cubicBezTo>
                  <a:cubicBezTo>
                    <a:pt x="2043029" y="615951"/>
                    <a:pt x="2039937" y="613098"/>
                    <a:pt x="2039937" y="607393"/>
                  </a:cubicBezTo>
                  <a:cubicBezTo>
                    <a:pt x="2039937" y="187778"/>
                    <a:pt x="2039937" y="187778"/>
                    <a:pt x="2039937" y="187778"/>
                  </a:cubicBezTo>
                  <a:cubicBezTo>
                    <a:pt x="2039937" y="182072"/>
                    <a:pt x="2043029" y="179220"/>
                    <a:pt x="2048736" y="179220"/>
                  </a:cubicBezTo>
                  <a:cubicBezTo>
                    <a:pt x="2113893" y="179220"/>
                    <a:pt x="2113893" y="179220"/>
                    <a:pt x="2113893" y="179220"/>
                  </a:cubicBezTo>
                  <a:cubicBezTo>
                    <a:pt x="2119601" y="179220"/>
                    <a:pt x="2122454" y="182072"/>
                    <a:pt x="2122454" y="187778"/>
                  </a:cubicBezTo>
                  <a:cubicBezTo>
                    <a:pt x="2122454" y="218685"/>
                    <a:pt x="2122454" y="218685"/>
                    <a:pt x="2122454" y="218685"/>
                  </a:cubicBezTo>
                  <a:cubicBezTo>
                    <a:pt x="2122454" y="219636"/>
                    <a:pt x="2122930" y="220587"/>
                    <a:pt x="2123881" y="221062"/>
                  </a:cubicBezTo>
                  <a:cubicBezTo>
                    <a:pt x="2124594" y="221775"/>
                    <a:pt x="2125308" y="221538"/>
                    <a:pt x="2125783" y="220349"/>
                  </a:cubicBezTo>
                  <a:cubicBezTo>
                    <a:pt x="2150514" y="188729"/>
                    <a:pt x="2186898" y="173038"/>
                    <a:pt x="2234933" y="173038"/>
                  </a:cubicBezTo>
                  <a:close/>
                  <a:moveTo>
                    <a:pt x="1424862" y="173038"/>
                  </a:moveTo>
                  <a:cubicBezTo>
                    <a:pt x="1482602" y="173038"/>
                    <a:pt x="1525847" y="187291"/>
                    <a:pt x="1554361" y="216270"/>
                  </a:cubicBezTo>
                  <a:cubicBezTo>
                    <a:pt x="1582874" y="245250"/>
                    <a:pt x="1600458" y="287532"/>
                    <a:pt x="1606635" y="343592"/>
                  </a:cubicBezTo>
                  <a:cubicBezTo>
                    <a:pt x="1609011" y="367108"/>
                    <a:pt x="1609725" y="393237"/>
                    <a:pt x="1609249" y="422455"/>
                  </a:cubicBezTo>
                  <a:cubicBezTo>
                    <a:pt x="1609249" y="428156"/>
                    <a:pt x="1606398" y="431006"/>
                    <a:pt x="1600696" y="431006"/>
                  </a:cubicBezTo>
                  <a:cubicBezTo>
                    <a:pt x="1326965" y="431006"/>
                    <a:pt x="1326965" y="431006"/>
                    <a:pt x="1326965" y="431006"/>
                  </a:cubicBezTo>
                  <a:cubicBezTo>
                    <a:pt x="1324826" y="431006"/>
                    <a:pt x="1323638" y="432194"/>
                    <a:pt x="1323638" y="434569"/>
                  </a:cubicBezTo>
                  <a:cubicBezTo>
                    <a:pt x="1323638" y="453810"/>
                    <a:pt x="1325303" y="468775"/>
                    <a:pt x="1328865" y="478989"/>
                  </a:cubicBezTo>
                  <a:cubicBezTo>
                    <a:pt x="1335045" y="502030"/>
                    <a:pt x="1347874" y="519846"/>
                    <a:pt x="1366883" y="532673"/>
                  </a:cubicBezTo>
                  <a:cubicBezTo>
                    <a:pt x="1386130" y="545500"/>
                    <a:pt x="1410368" y="551914"/>
                    <a:pt x="1439357" y="551914"/>
                  </a:cubicBezTo>
                  <a:cubicBezTo>
                    <a:pt x="1481652" y="551914"/>
                    <a:pt x="1514441" y="534573"/>
                    <a:pt x="1537252" y="499655"/>
                  </a:cubicBezTo>
                  <a:cubicBezTo>
                    <a:pt x="1540104" y="493954"/>
                    <a:pt x="1543669" y="493004"/>
                    <a:pt x="1548421" y="497042"/>
                  </a:cubicBezTo>
                  <a:cubicBezTo>
                    <a:pt x="1597131" y="529585"/>
                    <a:pt x="1597131" y="529585"/>
                    <a:pt x="1597131" y="529585"/>
                  </a:cubicBezTo>
                  <a:cubicBezTo>
                    <a:pt x="1601171" y="533148"/>
                    <a:pt x="1602121" y="536711"/>
                    <a:pt x="1599744" y="540749"/>
                  </a:cubicBezTo>
                  <a:cubicBezTo>
                    <a:pt x="1583824" y="566641"/>
                    <a:pt x="1561013" y="586832"/>
                    <a:pt x="1531549" y="601560"/>
                  </a:cubicBezTo>
                  <a:cubicBezTo>
                    <a:pt x="1502086" y="616525"/>
                    <a:pt x="1468820" y="623888"/>
                    <a:pt x="1431752" y="623888"/>
                  </a:cubicBezTo>
                  <a:cubicBezTo>
                    <a:pt x="1389932" y="623888"/>
                    <a:pt x="1354766" y="614862"/>
                    <a:pt x="1326253" y="596571"/>
                  </a:cubicBezTo>
                  <a:cubicBezTo>
                    <a:pt x="1297502" y="578281"/>
                    <a:pt x="1276115" y="552151"/>
                    <a:pt x="1261858" y="518421"/>
                  </a:cubicBezTo>
                  <a:cubicBezTo>
                    <a:pt x="1248077" y="484690"/>
                    <a:pt x="1241425" y="443833"/>
                    <a:pt x="1241425" y="395850"/>
                  </a:cubicBezTo>
                  <a:cubicBezTo>
                    <a:pt x="1241425" y="354281"/>
                    <a:pt x="1244513" y="322451"/>
                    <a:pt x="1250692" y="300835"/>
                  </a:cubicBezTo>
                  <a:cubicBezTo>
                    <a:pt x="1261146" y="261165"/>
                    <a:pt x="1281580" y="230048"/>
                    <a:pt x="1312471" y="207244"/>
                  </a:cubicBezTo>
                  <a:cubicBezTo>
                    <a:pt x="1343360" y="184440"/>
                    <a:pt x="1380903" y="173038"/>
                    <a:pt x="1424862" y="173038"/>
                  </a:cubicBezTo>
                  <a:close/>
                  <a:moveTo>
                    <a:pt x="666483" y="173038"/>
                  </a:moveTo>
                  <a:cubicBezTo>
                    <a:pt x="713330" y="173038"/>
                    <a:pt x="750425" y="186590"/>
                    <a:pt x="778011" y="213930"/>
                  </a:cubicBezTo>
                  <a:cubicBezTo>
                    <a:pt x="805358" y="241032"/>
                    <a:pt x="819150" y="277882"/>
                    <a:pt x="819150" y="324242"/>
                  </a:cubicBezTo>
                  <a:cubicBezTo>
                    <a:pt x="819150" y="607393"/>
                    <a:pt x="819150" y="607393"/>
                    <a:pt x="819150" y="607393"/>
                  </a:cubicBezTo>
                  <a:cubicBezTo>
                    <a:pt x="819150" y="613098"/>
                    <a:pt x="816295" y="615951"/>
                    <a:pt x="810589" y="615951"/>
                  </a:cubicBezTo>
                  <a:cubicBezTo>
                    <a:pt x="745432" y="615951"/>
                    <a:pt x="745432" y="615951"/>
                    <a:pt x="745432" y="615951"/>
                  </a:cubicBezTo>
                  <a:cubicBezTo>
                    <a:pt x="739724" y="615951"/>
                    <a:pt x="736870" y="613098"/>
                    <a:pt x="736870" y="607393"/>
                  </a:cubicBezTo>
                  <a:cubicBezTo>
                    <a:pt x="736870" y="340408"/>
                    <a:pt x="736870" y="340408"/>
                    <a:pt x="736870" y="340408"/>
                  </a:cubicBezTo>
                  <a:cubicBezTo>
                    <a:pt x="736870" y="311879"/>
                    <a:pt x="728548" y="288581"/>
                    <a:pt x="711902" y="270988"/>
                  </a:cubicBezTo>
                  <a:cubicBezTo>
                    <a:pt x="695256" y="253157"/>
                    <a:pt x="673378" y="244361"/>
                    <a:pt x="645794" y="244361"/>
                  </a:cubicBezTo>
                  <a:cubicBezTo>
                    <a:pt x="618922" y="244361"/>
                    <a:pt x="596807" y="253157"/>
                    <a:pt x="579685" y="270988"/>
                  </a:cubicBezTo>
                  <a:cubicBezTo>
                    <a:pt x="562564" y="288581"/>
                    <a:pt x="554003" y="311642"/>
                    <a:pt x="554003" y="339695"/>
                  </a:cubicBezTo>
                  <a:cubicBezTo>
                    <a:pt x="554003" y="607393"/>
                    <a:pt x="554003" y="607393"/>
                    <a:pt x="554003" y="607393"/>
                  </a:cubicBezTo>
                  <a:cubicBezTo>
                    <a:pt x="554003" y="613098"/>
                    <a:pt x="551151" y="615951"/>
                    <a:pt x="545443" y="615951"/>
                  </a:cubicBezTo>
                  <a:cubicBezTo>
                    <a:pt x="480047" y="615951"/>
                    <a:pt x="480047" y="615951"/>
                    <a:pt x="480047" y="615951"/>
                  </a:cubicBezTo>
                  <a:cubicBezTo>
                    <a:pt x="474340" y="615951"/>
                    <a:pt x="471487" y="613098"/>
                    <a:pt x="471487" y="607393"/>
                  </a:cubicBezTo>
                  <a:cubicBezTo>
                    <a:pt x="471487" y="187778"/>
                    <a:pt x="471487" y="187778"/>
                    <a:pt x="471487" y="187778"/>
                  </a:cubicBezTo>
                  <a:cubicBezTo>
                    <a:pt x="471487" y="182072"/>
                    <a:pt x="474340" y="179220"/>
                    <a:pt x="480047" y="179220"/>
                  </a:cubicBezTo>
                  <a:cubicBezTo>
                    <a:pt x="545443" y="179220"/>
                    <a:pt x="545443" y="179220"/>
                    <a:pt x="545443" y="179220"/>
                  </a:cubicBezTo>
                  <a:cubicBezTo>
                    <a:pt x="551151" y="179220"/>
                    <a:pt x="554003" y="182072"/>
                    <a:pt x="554003" y="187778"/>
                  </a:cubicBezTo>
                  <a:cubicBezTo>
                    <a:pt x="554003" y="218685"/>
                    <a:pt x="554003" y="218685"/>
                    <a:pt x="554003" y="218685"/>
                  </a:cubicBezTo>
                  <a:cubicBezTo>
                    <a:pt x="554003" y="219636"/>
                    <a:pt x="554241" y="220587"/>
                    <a:pt x="555193" y="221062"/>
                  </a:cubicBezTo>
                  <a:cubicBezTo>
                    <a:pt x="556143" y="221775"/>
                    <a:pt x="556856" y="221538"/>
                    <a:pt x="557333" y="220349"/>
                  </a:cubicBezTo>
                  <a:cubicBezTo>
                    <a:pt x="582063" y="188729"/>
                    <a:pt x="618447" y="173038"/>
                    <a:pt x="666483" y="173038"/>
                  </a:cubicBezTo>
                  <a:close/>
                  <a:moveTo>
                    <a:pt x="981340" y="65088"/>
                  </a:moveTo>
                  <a:cubicBezTo>
                    <a:pt x="1043412" y="65088"/>
                    <a:pt x="1043412" y="65088"/>
                    <a:pt x="1043412" y="65088"/>
                  </a:cubicBezTo>
                  <a:cubicBezTo>
                    <a:pt x="1049141" y="65088"/>
                    <a:pt x="1052005" y="67944"/>
                    <a:pt x="1052005" y="73657"/>
                  </a:cubicBezTo>
                  <a:cubicBezTo>
                    <a:pt x="1052005" y="175055"/>
                    <a:pt x="1052005" y="175055"/>
                    <a:pt x="1052005" y="175055"/>
                  </a:cubicBezTo>
                  <a:cubicBezTo>
                    <a:pt x="1052005" y="177435"/>
                    <a:pt x="1053201" y="178387"/>
                    <a:pt x="1055588" y="178387"/>
                  </a:cubicBezTo>
                  <a:cubicBezTo>
                    <a:pt x="1148693" y="178387"/>
                    <a:pt x="1148693" y="178387"/>
                    <a:pt x="1148693" y="178387"/>
                  </a:cubicBezTo>
                  <a:cubicBezTo>
                    <a:pt x="1154423" y="178387"/>
                    <a:pt x="1157288" y="181481"/>
                    <a:pt x="1157288" y="187194"/>
                  </a:cubicBezTo>
                  <a:cubicBezTo>
                    <a:pt x="1157288" y="237893"/>
                    <a:pt x="1157288" y="237893"/>
                    <a:pt x="1157288" y="237893"/>
                  </a:cubicBezTo>
                  <a:cubicBezTo>
                    <a:pt x="1157288" y="243605"/>
                    <a:pt x="1154423" y="246461"/>
                    <a:pt x="1148693" y="246461"/>
                  </a:cubicBezTo>
                  <a:cubicBezTo>
                    <a:pt x="1055588" y="246461"/>
                    <a:pt x="1055588" y="246461"/>
                    <a:pt x="1055588" y="246461"/>
                  </a:cubicBezTo>
                  <a:cubicBezTo>
                    <a:pt x="1053201" y="246461"/>
                    <a:pt x="1052005" y="247651"/>
                    <a:pt x="1052005" y="249794"/>
                  </a:cubicBezTo>
                  <a:cubicBezTo>
                    <a:pt x="1052005" y="477581"/>
                    <a:pt x="1052005" y="477581"/>
                    <a:pt x="1052005" y="477581"/>
                  </a:cubicBezTo>
                  <a:cubicBezTo>
                    <a:pt x="1052005" y="501621"/>
                    <a:pt x="1057496" y="518997"/>
                    <a:pt x="1068478" y="529470"/>
                  </a:cubicBezTo>
                  <a:cubicBezTo>
                    <a:pt x="1079460" y="540181"/>
                    <a:pt x="1096410" y="545417"/>
                    <a:pt x="1119328" y="545417"/>
                  </a:cubicBezTo>
                  <a:cubicBezTo>
                    <a:pt x="1144396" y="545417"/>
                    <a:pt x="1144396" y="545417"/>
                    <a:pt x="1144396" y="545417"/>
                  </a:cubicBezTo>
                  <a:cubicBezTo>
                    <a:pt x="1150125" y="545417"/>
                    <a:pt x="1152990" y="548274"/>
                    <a:pt x="1152990" y="553986"/>
                  </a:cubicBezTo>
                  <a:cubicBezTo>
                    <a:pt x="1152990" y="607303"/>
                    <a:pt x="1152990" y="607303"/>
                    <a:pt x="1152990" y="607303"/>
                  </a:cubicBezTo>
                  <a:cubicBezTo>
                    <a:pt x="1152990" y="613016"/>
                    <a:pt x="1150125" y="615872"/>
                    <a:pt x="1144396" y="615872"/>
                  </a:cubicBezTo>
                  <a:cubicBezTo>
                    <a:pt x="1126014" y="617062"/>
                    <a:pt x="1112644" y="617538"/>
                    <a:pt x="1104765" y="617538"/>
                  </a:cubicBezTo>
                  <a:cubicBezTo>
                    <a:pt x="1061078" y="617538"/>
                    <a:pt x="1028132" y="609683"/>
                    <a:pt x="1005931" y="593974"/>
                  </a:cubicBezTo>
                  <a:cubicBezTo>
                    <a:pt x="983966" y="578265"/>
                    <a:pt x="972746" y="549226"/>
                    <a:pt x="972746" y="506620"/>
                  </a:cubicBezTo>
                  <a:cubicBezTo>
                    <a:pt x="972746" y="249794"/>
                    <a:pt x="972746" y="249794"/>
                    <a:pt x="972746" y="249794"/>
                  </a:cubicBezTo>
                  <a:cubicBezTo>
                    <a:pt x="972746" y="247651"/>
                    <a:pt x="971554" y="246461"/>
                    <a:pt x="969403" y="246461"/>
                  </a:cubicBezTo>
                  <a:cubicBezTo>
                    <a:pt x="916883" y="246461"/>
                    <a:pt x="916883" y="246461"/>
                    <a:pt x="916883" y="246461"/>
                  </a:cubicBezTo>
                  <a:cubicBezTo>
                    <a:pt x="911153" y="246461"/>
                    <a:pt x="908049" y="243605"/>
                    <a:pt x="908049" y="237893"/>
                  </a:cubicBezTo>
                  <a:cubicBezTo>
                    <a:pt x="908049" y="187194"/>
                    <a:pt x="908049" y="187194"/>
                    <a:pt x="908049" y="187194"/>
                  </a:cubicBezTo>
                  <a:cubicBezTo>
                    <a:pt x="908049" y="181481"/>
                    <a:pt x="911153" y="178387"/>
                    <a:pt x="916883" y="178387"/>
                  </a:cubicBezTo>
                  <a:cubicBezTo>
                    <a:pt x="969403" y="178387"/>
                    <a:pt x="969403" y="178387"/>
                    <a:pt x="969403" y="178387"/>
                  </a:cubicBezTo>
                  <a:cubicBezTo>
                    <a:pt x="971554" y="178387"/>
                    <a:pt x="972746" y="177435"/>
                    <a:pt x="972746" y="175055"/>
                  </a:cubicBezTo>
                  <a:cubicBezTo>
                    <a:pt x="972746" y="73657"/>
                    <a:pt x="972746" y="73657"/>
                    <a:pt x="972746" y="73657"/>
                  </a:cubicBezTo>
                  <a:cubicBezTo>
                    <a:pt x="972746" y="67944"/>
                    <a:pt x="975612" y="65088"/>
                    <a:pt x="981340" y="65088"/>
                  </a:cubicBezTo>
                  <a:close/>
                  <a:moveTo>
                    <a:pt x="2978773" y="15875"/>
                  </a:moveTo>
                  <a:cubicBezTo>
                    <a:pt x="3043930" y="15875"/>
                    <a:pt x="3043930" y="15875"/>
                    <a:pt x="3043930" y="15875"/>
                  </a:cubicBezTo>
                  <a:cubicBezTo>
                    <a:pt x="3049637" y="15875"/>
                    <a:pt x="3052491" y="18724"/>
                    <a:pt x="3052491" y="24424"/>
                  </a:cubicBezTo>
                  <a:cubicBezTo>
                    <a:pt x="3052491" y="219146"/>
                    <a:pt x="3052491" y="219146"/>
                    <a:pt x="3052491" y="219146"/>
                  </a:cubicBezTo>
                  <a:cubicBezTo>
                    <a:pt x="3052491" y="220095"/>
                    <a:pt x="3052966" y="221045"/>
                    <a:pt x="3053918" y="221520"/>
                  </a:cubicBezTo>
                  <a:cubicBezTo>
                    <a:pt x="3054631" y="222233"/>
                    <a:pt x="3055344" y="221995"/>
                    <a:pt x="3056058" y="220808"/>
                  </a:cubicBezTo>
                  <a:cubicBezTo>
                    <a:pt x="3080551" y="189225"/>
                    <a:pt x="3116935" y="173552"/>
                    <a:pt x="3164970" y="173552"/>
                  </a:cubicBezTo>
                  <a:cubicBezTo>
                    <a:pt x="3212054" y="173552"/>
                    <a:pt x="3249151" y="187088"/>
                    <a:pt x="3276736" y="214396"/>
                  </a:cubicBezTo>
                  <a:cubicBezTo>
                    <a:pt x="3304083" y="241467"/>
                    <a:pt x="3317875" y="278274"/>
                    <a:pt x="3317875" y="324580"/>
                  </a:cubicBezTo>
                  <a:cubicBezTo>
                    <a:pt x="3317875" y="607401"/>
                    <a:pt x="3317875" y="607401"/>
                    <a:pt x="3317875" y="607401"/>
                  </a:cubicBezTo>
                  <a:cubicBezTo>
                    <a:pt x="3317875" y="613101"/>
                    <a:pt x="3315022" y="615950"/>
                    <a:pt x="3309314" y="615950"/>
                  </a:cubicBezTo>
                  <a:cubicBezTo>
                    <a:pt x="3243920" y="615950"/>
                    <a:pt x="3243920" y="615950"/>
                    <a:pt x="3243920" y="615950"/>
                  </a:cubicBezTo>
                  <a:cubicBezTo>
                    <a:pt x="3238212" y="615950"/>
                    <a:pt x="3235359" y="613101"/>
                    <a:pt x="3235359" y="607401"/>
                  </a:cubicBezTo>
                  <a:cubicBezTo>
                    <a:pt x="3235359" y="340728"/>
                    <a:pt x="3235359" y="340728"/>
                    <a:pt x="3235359" y="340728"/>
                  </a:cubicBezTo>
                  <a:cubicBezTo>
                    <a:pt x="3235359" y="312232"/>
                    <a:pt x="3227036" y="288960"/>
                    <a:pt x="3210628" y="271388"/>
                  </a:cubicBezTo>
                  <a:cubicBezTo>
                    <a:pt x="3193982" y="253578"/>
                    <a:pt x="3171866" y="244792"/>
                    <a:pt x="3144519" y="244792"/>
                  </a:cubicBezTo>
                  <a:cubicBezTo>
                    <a:pt x="3117648" y="244792"/>
                    <a:pt x="3095533" y="253578"/>
                    <a:pt x="3078411" y="271388"/>
                  </a:cubicBezTo>
                  <a:cubicBezTo>
                    <a:pt x="3061289" y="288960"/>
                    <a:pt x="3052491" y="311995"/>
                    <a:pt x="3052491" y="340015"/>
                  </a:cubicBezTo>
                  <a:cubicBezTo>
                    <a:pt x="3052491" y="607401"/>
                    <a:pt x="3052491" y="607401"/>
                    <a:pt x="3052491" y="607401"/>
                  </a:cubicBezTo>
                  <a:cubicBezTo>
                    <a:pt x="3052491" y="613101"/>
                    <a:pt x="3049637" y="615950"/>
                    <a:pt x="3043930" y="615950"/>
                  </a:cubicBezTo>
                  <a:cubicBezTo>
                    <a:pt x="2978773" y="615950"/>
                    <a:pt x="2978773" y="615950"/>
                    <a:pt x="2978773" y="615950"/>
                  </a:cubicBezTo>
                  <a:cubicBezTo>
                    <a:pt x="2973066" y="615950"/>
                    <a:pt x="2970212" y="613101"/>
                    <a:pt x="2970212" y="607401"/>
                  </a:cubicBezTo>
                  <a:cubicBezTo>
                    <a:pt x="2970212" y="24424"/>
                    <a:pt x="2970212" y="24424"/>
                    <a:pt x="2970212" y="24424"/>
                  </a:cubicBezTo>
                  <a:cubicBezTo>
                    <a:pt x="2970212" y="18724"/>
                    <a:pt x="2973066" y="15875"/>
                    <a:pt x="2978773" y="15875"/>
                  </a:cubicBezTo>
                  <a:close/>
                  <a:moveTo>
                    <a:pt x="7824785" y="0"/>
                  </a:moveTo>
                  <a:cubicBezTo>
                    <a:pt x="7841141" y="0"/>
                    <a:pt x="7854371" y="5051"/>
                    <a:pt x="7864954" y="15634"/>
                  </a:cubicBezTo>
                  <a:cubicBezTo>
                    <a:pt x="7875297" y="25977"/>
                    <a:pt x="7880348" y="39206"/>
                    <a:pt x="7880348" y="55562"/>
                  </a:cubicBezTo>
                  <a:cubicBezTo>
                    <a:pt x="7880348" y="71678"/>
                    <a:pt x="7875297" y="84907"/>
                    <a:pt x="7864954" y="95490"/>
                  </a:cubicBezTo>
                  <a:cubicBezTo>
                    <a:pt x="7854371" y="105833"/>
                    <a:pt x="7841141" y="111125"/>
                    <a:pt x="7824785" y="111125"/>
                  </a:cubicBezTo>
                  <a:cubicBezTo>
                    <a:pt x="7808670" y="111125"/>
                    <a:pt x="7795441" y="105833"/>
                    <a:pt x="7784857" y="95490"/>
                  </a:cubicBezTo>
                  <a:cubicBezTo>
                    <a:pt x="7774515" y="84907"/>
                    <a:pt x="7769223" y="71678"/>
                    <a:pt x="7769223" y="55562"/>
                  </a:cubicBezTo>
                  <a:cubicBezTo>
                    <a:pt x="7769223" y="39206"/>
                    <a:pt x="7774515" y="25977"/>
                    <a:pt x="7784857" y="15634"/>
                  </a:cubicBezTo>
                  <a:cubicBezTo>
                    <a:pt x="7795441" y="5051"/>
                    <a:pt x="7808670" y="0"/>
                    <a:pt x="7824785" y="0"/>
                  </a:cubicBezTo>
                  <a:close/>
                </a:path>
              </a:pathLst>
            </a:custGeom>
            <a:solidFill>
              <a:srgbClr val="A2C5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1580880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  <p:sldLayoutId id="2147483702" r:id="rId24"/>
    <p:sldLayoutId id="2147483703" r:id="rId25"/>
    <p:sldLayoutId id="2147483704" r:id="rId26"/>
    <p:sldLayoutId id="2147483705" r:id="rId27"/>
    <p:sldLayoutId id="2147483706" r:id="rId28"/>
    <p:sldLayoutId id="2147483707" r:id="rId29"/>
    <p:sldLayoutId id="2147483708" r:id="rId30"/>
    <p:sldLayoutId id="2147483709" r:id="rId31"/>
    <p:sldLayoutId id="2147483710" r:id="rId32"/>
    <p:sldLayoutId id="2147483711" r:id="rId33"/>
    <p:sldLayoutId id="2147483712" r:id="rId34"/>
    <p:sldLayoutId id="2147483713" r:id="rId35"/>
    <p:sldLayoutId id="2147483714" r:id="rId36"/>
    <p:sldLayoutId id="2147483715" r:id="rId37"/>
    <p:sldLayoutId id="2147483716" r:id="rId38"/>
    <p:sldLayoutId id="2147483717" r:id="rId39"/>
    <p:sldLayoutId id="2147483718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3">
          <p15:clr>
            <a:srgbClr val="F26B43"/>
          </p15:clr>
        </p15:guide>
        <p15:guide id="2" pos="342">
          <p15:clr>
            <a:srgbClr val="F26B43"/>
          </p15:clr>
        </p15:guide>
        <p15:guide id="3" pos="7337">
          <p15:clr>
            <a:srgbClr val="F26B43"/>
          </p15:clr>
        </p15:guide>
        <p15:guide id="4" orient="horz" pos="952">
          <p15:clr>
            <a:srgbClr val="F26B43"/>
          </p15:clr>
        </p15:guide>
        <p15:guide id="5" orient="horz" pos="3660">
          <p15:clr>
            <a:srgbClr val="F26B43"/>
          </p15:clr>
        </p15:guide>
        <p15:guide id="6" orient="horz" pos="3797">
          <p15:clr>
            <a:srgbClr val="F26B43"/>
          </p15:clr>
        </p15:guide>
        <p15:guide id="7" orient="horz" pos="4173">
          <p15:clr>
            <a:srgbClr val="F26B43"/>
          </p15:clr>
        </p15:guide>
        <p15:guide id="8" pos="11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8D225AC-82DA-40DD-AD5B-00FA6B124F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38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8D225AC-82DA-40DD-AD5B-00FA6B124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D53927C-1C5C-7E4D-984C-12AA3BE50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CC21A8C-45FF-5E4C-89D4-71163BD11D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Deliver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RAIN </a:t>
            </a:r>
            <a:r>
              <a:rPr lang="de-DE" dirty="0" err="1"/>
              <a:t>project</a:t>
            </a:r>
            <a:endParaRPr lang="en-US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20ACDDBD-4F35-BF48-B343-E3058CE5DB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28.02.2024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r>
              <a:rPr lang="en-US" dirty="0"/>
              <a:t>Michael Zigldru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5FD7035-59D8-4FE4-9B46-01D6643A0870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00"/>
              <a:t>288055952</a:t>
            </a:r>
          </a:p>
        </p:txBody>
      </p:sp>
    </p:spTree>
    <p:extLst>
      <p:ext uri="{BB962C8B-B14F-4D97-AF65-F5344CB8AC3E}">
        <p14:creationId xmlns:p14="http://schemas.microsoft.com/office/powerpoint/2010/main" val="21088101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1869A-86EE-A10F-F439-7491CFF9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9458FD-13A7-47F2-A45A-DBAC23081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6F8D4A-534B-99B7-9247-574AC4137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EAB5C2DC-3A37-9D29-82CF-B512BC933C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8338768"/>
              </p:ext>
            </p:extLst>
          </p:nvPr>
        </p:nvGraphicFramePr>
        <p:xfrm>
          <a:off x="9264352" y="765000"/>
          <a:ext cx="2016224" cy="1885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C8361C0-3E1A-4253-69DC-714F85368D4A}"/>
              </a:ext>
            </a:extLst>
          </p:cNvPr>
          <p:cNvSpPr txBox="1"/>
          <p:nvPr/>
        </p:nvSpPr>
        <p:spPr>
          <a:xfrm>
            <a:off x="911424" y="2132856"/>
            <a:ext cx="9145016" cy="33843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Inclus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hird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produc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roblematic</a:t>
            </a:r>
            <a:r>
              <a:rPr lang="de-DE" dirty="0"/>
              <a:t> </a:t>
            </a:r>
            <a:r>
              <a:rPr lang="de-DE" dirty="0" err="1"/>
              <a:t>Licenses</a:t>
            </a:r>
            <a:r>
              <a:rPr lang="de-DE" dirty="0"/>
              <a:t> (</a:t>
            </a:r>
            <a:r>
              <a:rPr lang="de-DE" dirty="0" err="1"/>
              <a:t>Knot</a:t>
            </a:r>
            <a:r>
              <a:rPr lang="de-DE" dirty="0"/>
              <a:t> DNS)</a:t>
            </a:r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Reques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is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ird</a:t>
            </a:r>
            <a:r>
              <a:rPr lang="de-DE" dirty="0"/>
              <a:t>-party </a:t>
            </a:r>
            <a:r>
              <a:rPr lang="de-DE" dirty="0" err="1"/>
              <a:t>libraries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start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automatic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 </a:t>
            </a:r>
            <a:r>
              <a:rPr lang="de-DE" dirty="0" err="1"/>
              <a:t>reporting</a:t>
            </a:r>
            <a:r>
              <a:rPr lang="de-DE" dirty="0"/>
              <a:t> on </a:t>
            </a:r>
            <a:r>
              <a:rPr lang="de-DE" dirty="0" err="1"/>
              <a:t>repos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Request a </a:t>
            </a:r>
            <a:r>
              <a:rPr lang="de-DE" dirty="0" err="1"/>
              <a:t>list</a:t>
            </a:r>
            <a:r>
              <a:rPr lang="de-DE" dirty="0"/>
              <a:t> </a:t>
            </a:r>
            <a:r>
              <a:rPr lang="de-DE" dirty="0" err="1"/>
              <a:t>towar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d/at </a:t>
            </a:r>
            <a:r>
              <a:rPr lang="de-DE" dirty="0" err="1"/>
              <a:t>the</a:t>
            </a:r>
            <a:r>
              <a:rPr lang="de-DE" dirty="0"/>
              <a:t> end,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utomatic</a:t>
            </a:r>
            <a:r>
              <a:rPr lang="de-DE" dirty="0"/>
              <a:t> </a:t>
            </a:r>
            <a:r>
              <a:rPr lang="de-DE" dirty="0" err="1"/>
              <a:t>reports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Requireme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ase</a:t>
            </a:r>
            <a:r>
              <a:rPr lang="de-DE" dirty="0"/>
              <a:t> </a:t>
            </a:r>
            <a:r>
              <a:rPr lang="de-DE" dirty="0" err="1"/>
              <a:t>implementation</a:t>
            </a:r>
            <a:r>
              <a:rPr lang="de-DE" dirty="0"/>
              <a:t> on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projects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i.e.: </a:t>
            </a:r>
            <a:r>
              <a:rPr lang="de-DE" dirty="0" err="1"/>
              <a:t>LightTest</a:t>
            </a:r>
            <a:r>
              <a:rPr lang="de-DE" dirty="0"/>
              <a:t> </a:t>
            </a:r>
            <a:r>
              <a:rPr lang="de-DE" dirty="0" err="1"/>
              <a:t>Zonemanager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Difficul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move</a:t>
            </a:r>
            <a:r>
              <a:rPr lang="de-DE" dirty="0"/>
              <a:t> </a:t>
            </a:r>
            <a:r>
              <a:rPr lang="de-DE" dirty="0" err="1"/>
              <a:t>sqlite</a:t>
            </a:r>
            <a:r>
              <a:rPr lang="de-DE" dirty="0"/>
              <a:t>, and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need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TRAIN</a:t>
            </a:r>
          </a:p>
        </p:txBody>
      </p:sp>
    </p:spTree>
    <p:extLst>
      <p:ext uri="{BB962C8B-B14F-4D97-AF65-F5344CB8AC3E}">
        <p14:creationId xmlns:p14="http://schemas.microsoft.com/office/powerpoint/2010/main" val="38978562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71E83-0158-B6E8-1B4D-01E26E625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s &amp;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Change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A57302-1F2D-8B5E-FA36-92DCA4A787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B8DE17-CD4C-86A5-C0FF-74AF301E8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24CFEAF-D59C-CC66-4503-2C06636996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8427707"/>
              </p:ext>
            </p:extLst>
          </p:nvPr>
        </p:nvGraphicFramePr>
        <p:xfrm>
          <a:off x="857728" y="1464551"/>
          <a:ext cx="10476544" cy="45815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9738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71E83-0158-B6E8-1B4D-01E26E625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s &amp;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Change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A57302-1F2D-8B5E-FA36-92DCA4A787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B8DE17-CD4C-86A5-C0FF-74AF301E8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9C76635E-FC53-AEA0-1462-CC080F365A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143495"/>
              </p:ext>
            </p:extLst>
          </p:nvPr>
        </p:nvGraphicFramePr>
        <p:xfrm>
          <a:off x="7591976" y="719666"/>
          <a:ext cx="449604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5846D38-F286-9B52-4B3F-EF5143815F75}"/>
              </a:ext>
            </a:extLst>
          </p:cNvPr>
          <p:cNvSpPr txBox="1"/>
          <p:nvPr/>
        </p:nvSpPr>
        <p:spPr>
          <a:xfrm>
            <a:off x="624000" y="2420808"/>
            <a:ext cx="6967976" cy="3024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Removed</a:t>
            </a:r>
            <a:r>
              <a:rPr lang="de-DE" dirty="0"/>
              <a:t> KNOT DNS </a:t>
            </a: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compatible</a:t>
            </a:r>
            <a:r>
              <a:rPr lang="de-DE" dirty="0"/>
              <a:t> </a:t>
            </a:r>
            <a:r>
              <a:rPr lang="de-DE" dirty="0" err="1"/>
              <a:t>Licenses</a:t>
            </a: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CoreDN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Deployment</a:t>
            </a:r>
            <a:r>
              <a:rPr lang="de-DE" dirty="0"/>
              <a:t> so not relevant </a:t>
            </a:r>
            <a:r>
              <a:rPr lang="de-DE" dirty="0" err="1"/>
              <a:t>to</a:t>
            </a:r>
            <a:r>
              <a:rPr lang="de-DE" dirty="0"/>
              <a:t> TRAIN</a:t>
            </a:r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functionality</a:t>
            </a:r>
            <a:r>
              <a:rPr lang="de-DE" dirty="0"/>
              <a:t> </a:t>
            </a:r>
            <a:r>
              <a:rPr lang="de-DE" dirty="0" err="1"/>
              <a:t>incompatibl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oader</a:t>
            </a:r>
            <a:r>
              <a:rPr lang="de-DE" dirty="0"/>
              <a:t> TRAIN </a:t>
            </a:r>
            <a:r>
              <a:rPr lang="de-DE" dirty="0" err="1"/>
              <a:t>Spec</a:t>
            </a: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Istio</a:t>
            </a:r>
            <a:r>
              <a:rPr lang="de-DE" dirty="0"/>
              <a:t> </a:t>
            </a:r>
            <a:r>
              <a:rPr lang="de-DE" dirty="0" err="1"/>
              <a:t>deployment</a:t>
            </a:r>
            <a:r>
              <a:rPr lang="de-DE" dirty="0"/>
              <a:t> was not </a:t>
            </a:r>
            <a:r>
              <a:rPr lang="de-DE" dirty="0" err="1"/>
              <a:t>ready</a:t>
            </a:r>
            <a:r>
              <a:rPr lang="de-DE" dirty="0"/>
              <a:t> at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, s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focused</a:t>
            </a:r>
            <a:r>
              <a:rPr lang="de-DE" dirty="0"/>
              <a:t> on </a:t>
            </a:r>
            <a:r>
              <a:rPr lang="de-DE" dirty="0" err="1"/>
              <a:t>Nginx</a:t>
            </a:r>
            <a:r>
              <a:rPr lang="de-DE" dirty="0"/>
              <a:t> in </a:t>
            </a:r>
            <a:r>
              <a:rPr lang="de-DE" dirty="0" err="1"/>
              <a:t>accordanc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teffen </a:t>
            </a:r>
            <a:r>
              <a:rPr lang="de-DE" dirty="0" err="1"/>
              <a:t>as</a:t>
            </a:r>
            <a:r>
              <a:rPr lang="de-DE" dirty="0"/>
              <a:t> PO</a:t>
            </a:r>
          </a:p>
        </p:txBody>
      </p:sp>
    </p:spTree>
    <p:extLst>
      <p:ext uri="{BB962C8B-B14F-4D97-AF65-F5344CB8AC3E}">
        <p14:creationId xmlns:p14="http://schemas.microsoft.com/office/powerpoint/2010/main" val="361758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7000158-F98A-1830-794D-3CE5C4F342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DAE820-0A06-20B9-E0C7-A65242EE47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2ECB8F-161C-E765-740A-AA7C98417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ve Demo &amp; </a:t>
            </a:r>
            <a:r>
              <a:rPr lang="de-DE" dirty="0" err="1"/>
              <a:t>Artefa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83719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7CE54-20A2-48A6-D70E-AC94FFF9A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code </a:t>
            </a:r>
            <a:r>
              <a:rPr lang="de-DE" dirty="0" err="1"/>
              <a:t>Artefact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177A03-C926-D381-5577-04B1892A2D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1DEC89-2536-D369-A758-957B7D78A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0A1FDE-C2CA-7807-84AD-0198D62F656C}"/>
              </a:ext>
            </a:extLst>
          </p:cNvPr>
          <p:cNvSpPr txBox="1"/>
          <p:nvPr/>
        </p:nvSpPr>
        <p:spPr>
          <a:xfrm>
            <a:off x="2531604" y="1700808"/>
            <a:ext cx="7128792" cy="374441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Documentation</a:t>
            </a:r>
            <a:endParaRPr lang="de-DE" dirty="0"/>
          </a:p>
          <a:p>
            <a:pPr marL="742950" lvl="1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nstall</a:t>
            </a:r>
            <a:r>
              <a:rPr lang="de-DE" dirty="0"/>
              <a:t>, Admin &amp; </a:t>
            </a:r>
            <a:r>
              <a:rPr lang="de-DE" dirty="0" err="1"/>
              <a:t>Usage</a:t>
            </a:r>
            <a:r>
              <a:rPr lang="de-DE" dirty="0"/>
              <a:t> Docs</a:t>
            </a:r>
          </a:p>
          <a:p>
            <a:pPr marL="742950" lvl="1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Architecture Docs</a:t>
            </a:r>
          </a:p>
          <a:p>
            <a:pPr marL="742950" lvl="1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Demonstration </a:t>
            </a:r>
            <a:r>
              <a:rPr lang="de-DE" dirty="0" err="1"/>
              <a:t>Runbook</a:t>
            </a:r>
            <a:endParaRPr lang="de-DE" dirty="0"/>
          </a:p>
          <a:p>
            <a:pPr marL="742950" lvl="1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FAQ Page (Basic </a:t>
            </a:r>
            <a:r>
              <a:rPr lang="de-DE" dirty="0" err="1"/>
              <a:t>version</a:t>
            </a:r>
            <a:r>
              <a:rPr lang="de-DE" dirty="0"/>
              <a:t>)</a:t>
            </a:r>
          </a:p>
          <a:p>
            <a:pPr marL="742950" lvl="1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GDPR </a:t>
            </a:r>
            <a:r>
              <a:rPr lang="de-DE" dirty="0" err="1"/>
              <a:t>Documentation</a:t>
            </a:r>
            <a:endParaRPr lang="de-DE" dirty="0"/>
          </a:p>
          <a:p>
            <a:pPr marL="742950" lvl="1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ecurity </a:t>
            </a:r>
            <a:r>
              <a:rPr lang="de-DE" dirty="0" err="1"/>
              <a:t>Documentation</a:t>
            </a:r>
            <a:endParaRPr lang="de-DE" dirty="0"/>
          </a:p>
          <a:p>
            <a:pPr>
              <a:buClr>
                <a:schemeClr val="tx2"/>
              </a:buClr>
              <a:buSzPct val="100000"/>
            </a:pPr>
            <a:endParaRPr lang="de-DE" dirty="0"/>
          </a:p>
          <a:p>
            <a: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BDD Test Reports</a:t>
            </a:r>
          </a:p>
          <a:p>
            <a: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License Reports</a:t>
            </a:r>
          </a:p>
          <a:p>
            <a: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Acceptance </a:t>
            </a:r>
            <a:r>
              <a:rPr lang="de-DE" dirty="0" err="1"/>
              <a:t>Criteria</a:t>
            </a:r>
            <a:r>
              <a:rPr lang="de-DE" dirty="0"/>
              <a:t> Lis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8DD0EE-5FF3-FD67-06E5-3B2CF2219E2C}"/>
              </a:ext>
            </a:extLst>
          </p:cNvPr>
          <p:cNvCxnSpPr>
            <a:cxnSpLocks/>
          </p:cNvCxnSpPr>
          <p:nvPr/>
        </p:nvCxnSpPr>
        <p:spPr>
          <a:xfrm>
            <a:off x="3324108" y="2204864"/>
            <a:ext cx="6912352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0126CAB-9044-1693-C0CC-A6DECBB449A4}"/>
              </a:ext>
            </a:extLst>
          </p:cNvPr>
          <p:cNvCxnSpPr>
            <a:cxnSpLocks/>
          </p:cNvCxnSpPr>
          <p:nvPr/>
        </p:nvCxnSpPr>
        <p:spPr>
          <a:xfrm>
            <a:off x="3324108" y="2492896"/>
            <a:ext cx="6912352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8EF118-DC5A-9DC4-457F-6C2D48552626}"/>
              </a:ext>
            </a:extLst>
          </p:cNvPr>
          <p:cNvCxnSpPr>
            <a:cxnSpLocks/>
          </p:cNvCxnSpPr>
          <p:nvPr/>
        </p:nvCxnSpPr>
        <p:spPr>
          <a:xfrm>
            <a:off x="3323692" y="2780928"/>
            <a:ext cx="6912352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F30207-CEBB-FFDD-CB8F-AD4AAC88786C}"/>
              </a:ext>
            </a:extLst>
          </p:cNvPr>
          <p:cNvCxnSpPr>
            <a:cxnSpLocks/>
          </p:cNvCxnSpPr>
          <p:nvPr/>
        </p:nvCxnSpPr>
        <p:spPr>
          <a:xfrm>
            <a:off x="3323692" y="3068960"/>
            <a:ext cx="6912352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1C2612-AB96-918A-55AB-CD3D846CE11A}"/>
              </a:ext>
            </a:extLst>
          </p:cNvPr>
          <p:cNvCxnSpPr>
            <a:cxnSpLocks/>
          </p:cNvCxnSpPr>
          <p:nvPr/>
        </p:nvCxnSpPr>
        <p:spPr>
          <a:xfrm>
            <a:off x="3323692" y="3356992"/>
            <a:ext cx="6912352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A73489E-2EB5-5FFD-0F49-61ECA3D03D34}"/>
              </a:ext>
            </a:extLst>
          </p:cNvPr>
          <p:cNvCxnSpPr>
            <a:cxnSpLocks/>
          </p:cNvCxnSpPr>
          <p:nvPr/>
        </p:nvCxnSpPr>
        <p:spPr>
          <a:xfrm>
            <a:off x="3323692" y="3645024"/>
            <a:ext cx="6912352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280A18F-03A9-5740-D50D-338D9737FD2F}"/>
              </a:ext>
            </a:extLst>
          </p:cNvPr>
          <p:cNvCxnSpPr>
            <a:cxnSpLocks/>
          </p:cNvCxnSpPr>
          <p:nvPr/>
        </p:nvCxnSpPr>
        <p:spPr>
          <a:xfrm>
            <a:off x="2819636" y="4149080"/>
            <a:ext cx="741640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4F3D5DB-A9D8-8CC6-942D-E1D95DC91BB2}"/>
              </a:ext>
            </a:extLst>
          </p:cNvPr>
          <p:cNvCxnSpPr>
            <a:cxnSpLocks/>
          </p:cNvCxnSpPr>
          <p:nvPr/>
        </p:nvCxnSpPr>
        <p:spPr>
          <a:xfrm>
            <a:off x="2819636" y="4725144"/>
            <a:ext cx="741640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7ADEFD-2447-1FBE-F99C-EC3F0CF26A88}"/>
              </a:ext>
            </a:extLst>
          </p:cNvPr>
          <p:cNvCxnSpPr>
            <a:cxnSpLocks/>
          </p:cNvCxnSpPr>
          <p:nvPr/>
        </p:nvCxnSpPr>
        <p:spPr>
          <a:xfrm>
            <a:off x="2819636" y="5229200"/>
            <a:ext cx="741640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22" descr="Tick outline">
            <a:extLst>
              <a:ext uri="{FF2B5EF4-FFF2-40B4-BE49-F238E27FC236}">
                <a16:creationId xmlns:a16="http://schemas.microsoft.com/office/drawing/2014/main" id="{BA5AA745-5561-3396-AE52-A343F4EA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89432" y="1845692"/>
            <a:ext cx="359172" cy="359172"/>
          </a:xfrm>
          <a:prstGeom prst="rect">
            <a:avLst/>
          </a:prstGeom>
        </p:spPr>
      </p:pic>
      <p:pic>
        <p:nvPicPr>
          <p:cNvPr id="24" name="Graphic 23" descr="Tick outline">
            <a:extLst>
              <a:ext uri="{FF2B5EF4-FFF2-40B4-BE49-F238E27FC236}">
                <a16:creationId xmlns:a16="http://schemas.microsoft.com/office/drawing/2014/main" id="{60A0E7C6-373B-BA7E-B869-1ADF50A968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420" y="2205732"/>
            <a:ext cx="359172" cy="359172"/>
          </a:xfrm>
          <a:prstGeom prst="rect">
            <a:avLst/>
          </a:prstGeom>
        </p:spPr>
      </p:pic>
      <p:pic>
        <p:nvPicPr>
          <p:cNvPr id="25" name="Graphic 24" descr="Tick outline">
            <a:extLst>
              <a:ext uri="{FF2B5EF4-FFF2-40B4-BE49-F238E27FC236}">
                <a16:creationId xmlns:a16="http://schemas.microsoft.com/office/drawing/2014/main" id="{868A9AC0-F7E1-E920-9819-BF995FE498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420" y="2493764"/>
            <a:ext cx="359172" cy="359172"/>
          </a:xfrm>
          <a:prstGeom prst="rect">
            <a:avLst/>
          </a:prstGeom>
        </p:spPr>
      </p:pic>
      <p:pic>
        <p:nvPicPr>
          <p:cNvPr id="26" name="Graphic 25" descr="Tick outline">
            <a:extLst>
              <a:ext uri="{FF2B5EF4-FFF2-40B4-BE49-F238E27FC236}">
                <a16:creationId xmlns:a16="http://schemas.microsoft.com/office/drawing/2014/main" id="{F065A2AE-2030-4C43-DB74-ABE40E60EA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420" y="2781796"/>
            <a:ext cx="359172" cy="359172"/>
          </a:xfrm>
          <a:prstGeom prst="rect">
            <a:avLst/>
          </a:prstGeom>
        </p:spPr>
      </p:pic>
      <p:pic>
        <p:nvPicPr>
          <p:cNvPr id="27" name="Graphic 26" descr="Tick outline">
            <a:extLst>
              <a:ext uri="{FF2B5EF4-FFF2-40B4-BE49-F238E27FC236}">
                <a16:creationId xmlns:a16="http://schemas.microsoft.com/office/drawing/2014/main" id="{6C92ADDA-C06A-3E5C-C90B-902F58B2FD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420" y="3069828"/>
            <a:ext cx="359172" cy="359172"/>
          </a:xfrm>
          <a:prstGeom prst="rect">
            <a:avLst/>
          </a:prstGeom>
        </p:spPr>
      </p:pic>
      <p:pic>
        <p:nvPicPr>
          <p:cNvPr id="28" name="Graphic 27" descr="Tick outline">
            <a:extLst>
              <a:ext uri="{FF2B5EF4-FFF2-40B4-BE49-F238E27FC236}">
                <a16:creationId xmlns:a16="http://schemas.microsoft.com/office/drawing/2014/main" id="{03758DC5-B316-805A-1CC7-8246AD633B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420" y="3357860"/>
            <a:ext cx="359172" cy="359172"/>
          </a:xfrm>
          <a:prstGeom prst="rect">
            <a:avLst/>
          </a:prstGeom>
        </p:spPr>
      </p:pic>
      <p:pic>
        <p:nvPicPr>
          <p:cNvPr id="29" name="Graphic 28" descr="Tick outline">
            <a:extLst>
              <a:ext uri="{FF2B5EF4-FFF2-40B4-BE49-F238E27FC236}">
                <a16:creationId xmlns:a16="http://schemas.microsoft.com/office/drawing/2014/main" id="{FE1AA89F-3250-611A-F74A-31025235B4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420" y="3861916"/>
            <a:ext cx="359172" cy="359172"/>
          </a:xfrm>
          <a:prstGeom prst="rect">
            <a:avLst/>
          </a:prstGeom>
        </p:spPr>
      </p:pic>
      <p:pic>
        <p:nvPicPr>
          <p:cNvPr id="30" name="Graphic 29" descr="Tick outline">
            <a:extLst>
              <a:ext uri="{FF2B5EF4-FFF2-40B4-BE49-F238E27FC236}">
                <a16:creationId xmlns:a16="http://schemas.microsoft.com/office/drawing/2014/main" id="{F1A561FB-E00E-D99F-DAA1-40084EB98C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420" y="4437980"/>
            <a:ext cx="359172" cy="359172"/>
          </a:xfrm>
          <a:prstGeom prst="rect">
            <a:avLst/>
          </a:prstGeom>
        </p:spPr>
      </p:pic>
      <p:pic>
        <p:nvPicPr>
          <p:cNvPr id="31" name="Graphic 30" descr="Tick outline">
            <a:extLst>
              <a:ext uri="{FF2B5EF4-FFF2-40B4-BE49-F238E27FC236}">
                <a16:creationId xmlns:a16="http://schemas.microsoft.com/office/drawing/2014/main" id="{FF1B2EFB-C97A-D8CC-6A7B-4700955039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7288" y="4942036"/>
            <a:ext cx="359172" cy="35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6484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31E2CD-6AF1-E855-FAA8-3C0F8073E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00" y="405000"/>
            <a:ext cx="10944000" cy="720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de-DE" dirty="0"/>
              <a:t>Open Topics –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QoL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FB10A9-F1A6-B367-88D5-78A468E3691E}"/>
              </a:ext>
            </a:extLst>
          </p:cNvPr>
          <p:cNvSpPr txBox="1"/>
          <p:nvPr/>
        </p:nvSpPr>
        <p:spPr bwMode="gray">
          <a:xfrm>
            <a:off x="789275" y="2495182"/>
            <a:ext cx="6984168" cy="25202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742950" lvl="1" indent="-285750">
              <a:lnSpc>
                <a:spcPct val="15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/>
              <a:t>Extra </a:t>
            </a:r>
            <a:r>
              <a:rPr lang="de-DE" sz="1700" dirty="0" err="1"/>
              <a:t>jenkins</a:t>
            </a:r>
            <a:r>
              <a:rPr lang="de-DE" sz="1700" dirty="0"/>
              <a:t> Domain</a:t>
            </a:r>
          </a:p>
          <a:p>
            <a:pPr marL="742950" lvl="1" indent="-285750">
              <a:lnSpc>
                <a:spcPct val="15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 err="1"/>
              <a:t>Refactoring</a:t>
            </a:r>
            <a:endParaRPr lang="de-DE" sz="1700" dirty="0"/>
          </a:p>
          <a:p>
            <a:pPr marL="742950" lvl="1" indent="-285750">
              <a:lnSpc>
                <a:spcPct val="15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/>
              <a:t>Second </a:t>
            </a:r>
            <a:r>
              <a:rPr lang="de-DE" sz="1700" dirty="0" err="1"/>
              <a:t>deployment</a:t>
            </a:r>
            <a:r>
              <a:rPr lang="de-DE" sz="1700" dirty="0"/>
              <a:t> </a:t>
            </a:r>
            <a:r>
              <a:rPr lang="de-DE" sz="1700" dirty="0" err="1"/>
              <a:t>instance</a:t>
            </a:r>
            <a:endParaRPr lang="de-DE" sz="1700" dirty="0"/>
          </a:p>
          <a:p>
            <a:pPr marL="742950" lvl="1" indent="-285750">
              <a:lnSpc>
                <a:spcPct val="15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 err="1"/>
              <a:t>Simplify</a:t>
            </a:r>
            <a:r>
              <a:rPr lang="de-DE" sz="1700" dirty="0"/>
              <a:t> </a:t>
            </a:r>
            <a:r>
              <a:rPr lang="de-DE" sz="1700" dirty="0" err="1"/>
              <a:t>key</a:t>
            </a:r>
            <a:r>
              <a:rPr lang="de-DE" sz="1700" dirty="0"/>
              <a:t> </a:t>
            </a:r>
            <a:r>
              <a:rPr lang="de-DE" sz="1700" dirty="0" err="1"/>
              <a:t>rollover</a:t>
            </a:r>
            <a:r>
              <a:rPr lang="de-DE" sz="1700" dirty="0"/>
              <a:t> </a:t>
            </a:r>
            <a:r>
              <a:rPr lang="de-DE" sz="1700" dirty="0" err="1"/>
              <a:t>for</a:t>
            </a:r>
            <a:r>
              <a:rPr lang="de-DE" sz="1700" dirty="0"/>
              <a:t> DNS</a:t>
            </a:r>
          </a:p>
          <a:p>
            <a:pPr marL="742950" lvl="1" indent="-285750">
              <a:lnSpc>
                <a:spcPct val="15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 err="1"/>
              <a:t>Updating</a:t>
            </a:r>
            <a:r>
              <a:rPr lang="de-DE" sz="1700" dirty="0"/>
              <a:t> </a:t>
            </a:r>
            <a:r>
              <a:rPr lang="de-DE" sz="1700" dirty="0" err="1"/>
              <a:t>DNSJava</a:t>
            </a:r>
            <a:r>
              <a:rPr lang="de-DE" sz="1700" dirty="0"/>
              <a:t> after Fixes </a:t>
            </a:r>
            <a:r>
              <a:rPr lang="de-DE" sz="1700" dirty="0" err="1"/>
              <a:t>are</a:t>
            </a:r>
            <a:r>
              <a:rPr lang="de-DE" sz="1700" dirty="0"/>
              <a:t> </a:t>
            </a:r>
            <a:r>
              <a:rPr lang="de-DE" sz="1700" dirty="0" err="1"/>
              <a:t>implemented</a:t>
            </a:r>
            <a:endParaRPr lang="de-DE" sz="1700" dirty="0"/>
          </a:p>
        </p:txBody>
      </p:sp>
      <p:pic>
        <p:nvPicPr>
          <p:cNvPr id="11" name="Picture 10" descr="A blue circle with a white magnifying glass&#10;&#10;Description automatically generated">
            <a:extLst>
              <a:ext uri="{FF2B5EF4-FFF2-40B4-BE49-F238E27FC236}">
                <a16:creationId xmlns:a16="http://schemas.microsoft.com/office/drawing/2014/main" id="{71CBBC6E-1D11-29E5-1201-540E8EDCC27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752184" y="1664275"/>
            <a:ext cx="3529450" cy="352945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DE4500-B5C9-CD18-CAFA-1C26E4477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2000" y="6385644"/>
            <a:ext cx="7488000" cy="324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2930E-D0A2-A99F-90EA-CEF530B5DA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00" y="6385644"/>
            <a:ext cx="252000" cy="324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A1A5E10D-79A5-49BA-9648-53481340C65F}" type="slidenum">
              <a:rPr lang="de-DE" smtClean="0"/>
              <a:pPr>
                <a:spcAft>
                  <a:spcPts val="600"/>
                </a:spcAft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17660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31E2CD-6AF1-E855-FAA8-3C0F8073E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00" y="405000"/>
            <a:ext cx="10944000" cy="720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de-DE" dirty="0"/>
              <a:t>Open Topics – Integ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FB10A9-F1A6-B367-88D5-78A468E3691E}"/>
              </a:ext>
            </a:extLst>
          </p:cNvPr>
          <p:cNvSpPr txBox="1"/>
          <p:nvPr/>
        </p:nvSpPr>
        <p:spPr bwMode="gray">
          <a:xfrm>
            <a:off x="604963" y="1844824"/>
            <a:ext cx="6984168" cy="34971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lvl="1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</a:pPr>
            <a:endParaRPr lang="de-DE" sz="1700" dirty="0"/>
          </a:p>
          <a:p>
            <a:pPr marL="285750" indent="-285750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/>
              <a:t>Integration </a:t>
            </a:r>
            <a:r>
              <a:rPr lang="de-DE" sz="1700" dirty="0" err="1"/>
              <a:t>of</a:t>
            </a:r>
            <a:r>
              <a:rPr lang="de-DE" sz="1700" dirty="0"/>
              <a:t> TSA Signer</a:t>
            </a:r>
          </a:p>
          <a:p>
            <a:pPr marL="742950" lvl="2" indent="-285750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b="1" dirty="0" err="1"/>
              <a:t>Functionality</a:t>
            </a:r>
            <a:r>
              <a:rPr lang="de-DE" sz="1700" b="1" dirty="0"/>
              <a:t> </a:t>
            </a:r>
            <a:r>
              <a:rPr lang="de-DE" sz="1700" b="1" dirty="0" err="1"/>
              <a:t>to</a:t>
            </a:r>
            <a:r>
              <a:rPr lang="de-DE" sz="1700" b="1" dirty="0"/>
              <a:t> </a:t>
            </a:r>
            <a:r>
              <a:rPr lang="de-DE" sz="1700" b="1" dirty="0" err="1"/>
              <a:t>use</a:t>
            </a:r>
            <a:r>
              <a:rPr lang="de-DE" sz="1700" b="1" dirty="0"/>
              <a:t> TSA </a:t>
            </a:r>
            <a:r>
              <a:rPr lang="de-DE" sz="1700" b="1" dirty="0" err="1"/>
              <a:t>is</a:t>
            </a:r>
            <a:r>
              <a:rPr lang="de-DE" sz="1700" b="1" dirty="0"/>
              <a:t> </a:t>
            </a:r>
            <a:r>
              <a:rPr lang="de-DE" sz="1700" b="1" dirty="0" err="1"/>
              <a:t>done</a:t>
            </a:r>
            <a:r>
              <a:rPr lang="de-DE" sz="1700" dirty="0"/>
              <a:t>. </a:t>
            </a:r>
          </a:p>
          <a:p>
            <a:pPr marL="742950" lvl="2" indent="-285750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/>
              <a:t>TSA Signer </a:t>
            </a:r>
            <a:r>
              <a:rPr lang="de-DE" sz="1700" dirty="0" err="1"/>
              <a:t>Signatures</a:t>
            </a:r>
            <a:r>
              <a:rPr lang="de-DE" sz="1700" dirty="0"/>
              <a:t> </a:t>
            </a:r>
            <a:r>
              <a:rPr lang="de-DE" sz="1700" dirty="0" err="1"/>
              <a:t>are</a:t>
            </a:r>
            <a:r>
              <a:rPr lang="de-DE" sz="1700" dirty="0"/>
              <a:t> not valid/</a:t>
            </a:r>
            <a:r>
              <a:rPr lang="de-DE" sz="1700" dirty="0" err="1"/>
              <a:t>correct</a:t>
            </a:r>
            <a:endParaRPr lang="de-DE" sz="1700" dirty="0"/>
          </a:p>
          <a:p>
            <a:pPr marL="285750" lvl="1" indent="-285750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endParaRPr lang="de-DE" sz="1700" dirty="0"/>
          </a:p>
          <a:p>
            <a:pPr marL="285750" indent="-285750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/>
              <a:t>Integration </a:t>
            </a:r>
            <a:r>
              <a:rPr lang="de-DE" sz="1700" dirty="0" err="1"/>
              <a:t>of</a:t>
            </a:r>
            <a:r>
              <a:rPr lang="de-DE" sz="1700" dirty="0"/>
              <a:t> TRAIN </a:t>
            </a:r>
            <a:r>
              <a:rPr lang="de-DE" sz="1700" dirty="0" err="1"/>
              <a:t>with</a:t>
            </a:r>
            <a:r>
              <a:rPr lang="de-DE" sz="1700" dirty="0"/>
              <a:t> </a:t>
            </a:r>
            <a:r>
              <a:rPr lang="de-DE" sz="1700" dirty="0" err="1"/>
              <a:t>Notary</a:t>
            </a:r>
            <a:endParaRPr lang="de-DE" sz="1700" dirty="0"/>
          </a:p>
          <a:p>
            <a:pPr marL="742950" lvl="2" indent="-285750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b="1" dirty="0" err="1"/>
              <a:t>We</a:t>
            </a:r>
            <a:r>
              <a:rPr lang="de-DE" sz="1700" b="1" dirty="0"/>
              <a:t> </a:t>
            </a:r>
            <a:r>
              <a:rPr lang="de-DE" sz="1700" b="1" dirty="0" err="1"/>
              <a:t>provided</a:t>
            </a:r>
            <a:r>
              <a:rPr lang="de-DE" sz="1700" b="1" dirty="0"/>
              <a:t> all </a:t>
            </a:r>
            <a:r>
              <a:rPr lang="de-DE" sz="1700" b="1" dirty="0" err="1"/>
              <a:t>documentation</a:t>
            </a:r>
            <a:r>
              <a:rPr lang="de-DE" sz="1700" b="1" dirty="0"/>
              <a:t> </a:t>
            </a:r>
            <a:r>
              <a:rPr lang="de-DE" sz="1700" dirty="0" err="1"/>
              <a:t>about</a:t>
            </a:r>
            <a:r>
              <a:rPr lang="de-DE" sz="1700" dirty="0"/>
              <a:t> TRAIN </a:t>
            </a:r>
            <a:r>
              <a:rPr lang="de-DE" sz="1700" dirty="0" err="1"/>
              <a:t>apis</a:t>
            </a:r>
            <a:r>
              <a:rPr lang="de-DE" sz="1700" dirty="0"/>
              <a:t> and </a:t>
            </a:r>
            <a:r>
              <a:rPr lang="de-DE" sz="1700" dirty="0" err="1"/>
              <a:t>usage</a:t>
            </a:r>
            <a:r>
              <a:rPr lang="de-DE" sz="1700" dirty="0"/>
              <a:t>.</a:t>
            </a:r>
          </a:p>
          <a:p>
            <a:pPr marL="742950" lvl="2" indent="-285750"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700" dirty="0" err="1"/>
              <a:t>Remaining</a:t>
            </a:r>
            <a:r>
              <a:rPr lang="de-DE" sz="1700" dirty="0"/>
              <a:t> </a:t>
            </a:r>
            <a:r>
              <a:rPr lang="de-DE" sz="1700" dirty="0" err="1"/>
              <a:t>are</a:t>
            </a:r>
            <a:r>
              <a:rPr lang="de-DE" sz="1700" dirty="0"/>
              <a:t> </a:t>
            </a:r>
            <a:r>
              <a:rPr lang="de-DE" sz="1700" dirty="0" err="1"/>
              <a:t>requests</a:t>
            </a:r>
            <a:r>
              <a:rPr lang="de-DE" sz="1700" dirty="0"/>
              <a:t> </a:t>
            </a:r>
            <a:r>
              <a:rPr lang="de-DE" sz="1700" dirty="0" err="1"/>
              <a:t>for</a:t>
            </a:r>
            <a:r>
              <a:rPr lang="de-DE" sz="1700" dirty="0"/>
              <a:t> OCM/PCM </a:t>
            </a:r>
            <a:r>
              <a:rPr lang="de-DE" sz="1700" dirty="0" err="1"/>
              <a:t>documentation</a:t>
            </a:r>
            <a:r>
              <a:rPr lang="de-DE" sz="1700" dirty="0"/>
              <a:t> </a:t>
            </a:r>
            <a:r>
              <a:rPr lang="de-DE" sz="1700" dirty="0" err="1"/>
              <a:t>which</a:t>
            </a:r>
            <a:r>
              <a:rPr lang="de-DE" sz="1700" dirty="0"/>
              <a:t> </a:t>
            </a:r>
            <a:r>
              <a:rPr lang="de-DE" sz="1700" dirty="0" err="1"/>
              <a:t>is</a:t>
            </a:r>
            <a:r>
              <a:rPr lang="de-DE" sz="1700" dirty="0"/>
              <a:t> out </a:t>
            </a:r>
            <a:r>
              <a:rPr lang="de-DE" sz="1700" dirty="0" err="1"/>
              <a:t>of</a:t>
            </a:r>
            <a:r>
              <a:rPr lang="de-DE" sz="1700" dirty="0"/>
              <a:t> </a:t>
            </a:r>
            <a:r>
              <a:rPr lang="de-DE" sz="1700" dirty="0" err="1"/>
              <a:t>scope</a:t>
            </a:r>
            <a:r>
              <a:rPr lang="de-DE" sz="1700" dirty="0"/>
              <a:t> </a:t>
            </a:r>
            <a:r>
              <a:rPr lang="de-DE" sz="1700" dirty="0" err="1"/>
              <a:t>for</a:t>
            </a:r>
            <a:r>
              <a:rPr lang="de-DE" sz="1700" dirty="0"/>
              <a:t> TRAIN</a:t>
            </a:r>
          </a:p>
          <a:p>
            <a:pPr>
              <a:lnSpc>
                <a:spcPct val="90000"/>
              </a:lnSpc>
              <a:spcAft>
                <a:spcPts val="900"/>
              </a:spcAft>
              <a:buClr>
                <a:schemeClr val="tx2"/>
              </a:buClr>
              <a:buSzPct val="100000"/>
            </a:pPr>
            <a:endParaRPr lang="de-DE" sz="1700" dirty="0"/>
          </a:p>
        </p:txBody>
      </p:sp>
      <p:pic>
        <p:nvPicPr>
          <p:cNvPr id="11" name="Picture 10" descr="A blue circle with a white magnifying glass&#10;&#10;Description automatically generated">
            <a:extLst>
              <a:ext uri="{FF2B5EF4-FFF2-40B4-BE49-F238E27FC236}">
                <a16:creationId xmlns:a16="http://schemas.microsoft.com/office/drawing/2014/main" id="{71CBBC6E-1D11-29E5-1201-540E8EDCC27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752184" y="1664275"/>
            <a:ext cx="3529450" cy="352945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DE4500-B5C9-CD18-CAFA-1C26E4477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2000" y="6385644"/>
            <a:ext cx="7488000" cy="324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2930E-D0A2-A99F-90EA-CEF530B5DA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6000" y="6385644"/>
            <a:ext cx="252000" cy="324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A1A5E10D-79A5-49BA-9648-53481340C65F}" type="slidenum">
              <a:rPr lang="de-DE" smtClean="0"/>
              <a:pPr>
                <a:spcAft>
                  <a:spcPts val="600"/>
                </a:spcAft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920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645A6-85D5-9B92-0450-A6A25C94A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5F3E61-C87B-24DE-F5E4-194714810058}"/>
              </a:ext>
            </a:extLst>
          </p:cNvPr>
          <p:cNvSpPr txBox="1"/>
          <p:nvPr/>
        </p:nvSpPr>
        <p:spPr>
          <a:xfrm>
            <a:off x="624000" y="1844824"/>
            <a:ext cx="10009112" cy="41044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457200" indent="-457200" algn="l">
              <a:lnSpc>
                <a:spcPct val="150000"/>
              </a:lnSpc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de-DE" sz="2800" dirty="0">
                <a:solidFill>
                  <a:schemeClr val="bg1"/>
                </a:solidFill>
              </a:rPr>
              <a:t>Project Plan</a:t>
            </a:r>
          </a:p>
          <a:p>
            <a:pPr marL="457200" indent="-457200" algn="l">
              <a:lnSpc>
                <a:spcPct val="150000"/>
              </a:lnSpc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de-DE" sz="2800" dirty="0">
                <a:solidFill>
                  <a:schemeClr val="bg1"/>
                </a:solidFill>
              </a:rPr>
              <a:t>Challenges</a:t>
            </a:r>
          </a:p>
          <a:p>
            <a:pPr marL="457200" indent="-457200" algn="l">
              <a:lnSpc>
                <a:spcPct val="150000"/>
              </a:lnSpc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de-DE" sz="2800" dirty="0">
                <a:solidFill>
                  <a:schemeClr val="bg1"/>
                </a:solidFill>
              </a:rPr>
              <a:t>CRs &amp; </a:t>
            </a:r>
            <a:r>
              <a:rPr lang="de-DE" sz="2800" dirty="0" err="1">
                <a:solidFill>
                  <a:schemeClr val="bg1"/>
                </a:solidFill>
              </a:rPr>
              <a:t>other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Changes</a:t>
            </a:r>
            <a:endParaRPr lang="de-DE" sz="2800" dirty="0">
              <a:solidFill>
                <a:schemeClr val="bg1"/>
              </a:solidFill>
            </a:endParaRPr>
          </a:p>
          <a:p>
            <a:pPr marL="457200" indent="-457200" algn="l">
              <a:lnSpc>
                <a:spcPct val="150000"/>
              </a:lnSpc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de-DE" sz="2800" dirty="0">
                <a:solidFill>
                  <a:schemeClr val="bg1"/>
                </a:solidFill>
              </a:rPr>
              <a:t>Live Demo &amp; </a:t>
            </a:r>
            <a:r>
              <a:rPr lang="de-DE" sz="2800" dirty="0" err="1">
                <a:solidFill>
                  <a:schemeClr val="bg1"/>
                </a:solidFill>
              </a:rPr>
              <a:t>Artefacts</a:t>
            </a:r>
            <a:endParaRPr lang="de-DE" sz="2800" dirty="0">
              <a:solidFill>
                <a:schemeClr val="bg1"/>
              </a:solidFill>
            </a:endParaRPr>
          </a:p>
          <a:p>
            <a:pPr marL="457200" indent="-457200" algn="l">
              <a:lnSpc>
                <a:spcPct val="150000"/>
              </a:lnSpc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de-DE" sz="2800" dirty="0">
                <a:solidFill>
                  <a:schemeClr val="bg1"/>
                </a:solidFill>
              </a:rPr>
              <a:t>Open Topics</a:t>
            </a:r>
          </a:p>
        </p:txBody>
      </p:sp>
    </p:spTree>
    <p:extLst>
      <p:ext uri="{BB962C8B-B14F-4D97-AF65-F5344CB8AC3E}">
        <p14:creationId xmlns:p14="http://schemas.microsoft.com/office/powerpoint/2010/main" val="2751182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3933FD-9CB7-9740-7907-3AC17BBC8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490DB474-DFCA-5C85-D1E4-13B6F305D8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9" t="3380"/>
          <a:stretch/>
        </p:blipFill>
        <p:spPr>
          <a:xfrm>
            <a:off x="-4450" y="-49696"/>
            <a:ext cx="14904815" cy="695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496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487BB-92D8-F55D-0433-3A579E05B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Pla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4B13BC-66B7-192D-02FB-6ABD32F84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3933FD-9CB7-9740-7907-3AC17BBC8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1C1DC2-B32C-432E-9A4C-D870D726842C}"/>
              </a:ext>
            </a:extLst>
          </p:cNvPr>
          <p:cNvSpPr txBox="1"/>
          <p:nvPr/>
        </p:nvSpPr>
        <p:spPr>
          <a:xfrm>
            <a:off x="1847528" y="2420888"/>
            <a:ext cx="5544616" cy="22322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 err="1"/>
              <a:t>Assemble</a:t>
            </a:r>
            <a:r>
              <a:rPr lang="de-DE" dirty="0"/>
              <a:t> a Team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/>
              <a:t>Start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functionality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 err="1"/>
              <a:t>Improve</a:t>
            </a:r>
            <a:r>
              <a:rPr lang="de-DE" dirty="0"/>
              <a:t> i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print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 err="1"/>
              <a:t>Verify</a:t>
            </a:r>
            <a:r>
              <a:rPr lang="de-DE" dirty="0"/>
              <a:t> Alignment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/>
              <a:t>Repeat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CF71A0C-F640-FF5F-B682-ECBD701E0806}"/>
              </a:ext>
            </a:extLst>
          </p:cNvPr>
          <p:cNvGrpSpPr/>
          <p:nvPr/>
        </p:nvGrpSpPr>
        <p:grpSpPr>
          <a:xfrm>
            <a:off x="7243982" y="980728"/>
            <a:ext cx="4153226" cy="4941168"/>
            <a:chOff x="7243982" y="980728"/>
            <a:chExt cx="4153226" cy="4941168"/>
          </a:xfrm>
        </p:grpSpPr>
        <p:pic>
          <p:nvPicPr>
            <p:cNvPr id="8" name="Picture 7" descr="A blue circle with a clock on it&#10;&#10;Description automatically generated">
              <a:extLst>
                <a:ext uri="{FF2B5EF4-FFF2-40B4-BE49-F238E27FC236}">
                  <a16:creationId xmlns:a16="http://schemas.microsoft.com/office/drawing/2014/main" id="{87C4B041-373E-2E69-5A30-13000A2BBF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968208" y="980728"/>
              <a:ext cx="3429000" cy="3429000"/>
            </a:xfrm>
            <a:prstGeom prst="rect">
              <a:avLst/>
            </a:prstGeom>
          </p:spPr>
        </p:pic>
        <p:pic>
          <p:nvPicPr>
            <p:cNvPr id="10" name="Picture 9" descr="A white gear with a blue circle&#10;&#10;Description automatically generated">
              <a:extLst>
                <a:ext uri="{FF2B5EF4-FFF2-40B4-BE49-F238E27FC236}">
                  <a16:creationId xmlns:a16="http://schemas.microsoft.com/office/drawing/2014/main" id="{E8EB469A-6311-3B83-1E62-24CD30F0B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243982" y="3068960"/>
              <a:ext cx="2852936" cy="28529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372100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487BB-92D8-F55D-0433-3A579E05B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Pla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4B13BC-66B7-192D-02FB-6ABD32F84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3933FD-9CB7-9740-7907-3AC17BBC8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1C1DC2-B32C-432E-9A4C-D870D726842C}"/>
              </a:ext>
            </a:extLst>
          </p:cNvPr>
          <p:cNvSpPr txBox="1"/>
          <p:nvPr/>
        </p:nvSpPr>
        <p:spPr>
          <a:xfrm>
            <a:off x="6850750" y="2639198"/>
            <a:ext cx="3744416" cy="22322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 err="1"/>
              <a:t>Assemble</a:t>
            </a:r>
            <a:r>
              <a:rPr lang="de-DE" dirty="0"/>
              <a:t> a Team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/>
              <a:t>Start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functionality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 err="1"/>
              <a:t>Improve</a:t>
            </a:r>
            <a:r>
              <a:rPr lang="de-DE" dirty="0"/>
              <a:t> i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print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 err="1"/>
              <a:t>Verify</a:t>
            </a:r>
            <a:r>
              <a:rPr lang="de-DE" dirty="0"/>
              <a:t> Alignment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AutoNum type="arabicPeriod"/>
            </a:pPr>
            <a:r>
              <a:rPr lang="de-DE" dirty="0"/>
              <a:t>Repeat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CF71A0C-F640-FF5F-B682-ECBD701E0806}"/>
              </a:ext>
            </a:extLst>
          </p:cNvPr>
          <p:cNvGrpSpPr/>
          <p:nvPr/>
        </p:nvGrpSpPr>
        <p:grpSpPr>
          <a:xfrm>
            <a:off x="10004082" y="548680"/>
            <a:ext cx="1657200" cy="1971600"/>
            <a:chOff x="7243982" y="980728"/>
            <a:chExt cx="4153226" cy="4941168"/>
          </a:xfrm>
        </p:grpSpPr>
        <p:pic>
          <p:nvPicPr>
            <p:cNvPr id="8" name="Picture 7" descr="A blue circle with a clock on it&#10;&#10;Description automatically generated">
              <a:extLst>
                <a:ext uri="{FF2B5EF4-FFF2-40B4-BE49-F238E27FC236}">
                  <a16:creationId xmlns:a16="http://schemas.microsoft.com/office/drawing/2014/main" id="{87C4B041-373E-2E69-5A30-13000A2BBF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968208" y="980728"/>
              <a:ext cx="3429000" cy="3429000"/>
            </a:xfrm>
            <a:prstGeom prst="rect">
              <a:avLst/>
            </a:prstGeom>
          </p:spPr>
        </p:pic>
        <p:pic>
          <p:nvPicPr>
            <p:cNvPr id="10" name="Picture 9" descr="A white gear with a blue circle&#10;&#10;Description automatically generated">
              <a:extLst>
                <a:ext uri="{FF2B5EF4-FFF2-40B4-BE49-F238E27FC236}">
                  <a16:creationId xmlns:a16="http://schemas.microsoft.com/office/drawing/2014/main" id="{E8EB469A-6311-3B83-1E62-24CD30F0B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243982" y="3068960"/>
              <a:ext cx="2852936" cy="2852936"/>
            </a:xfrm>
            <a:prstGeom prst="rect">
              <a:avLst/>
            </a:prstGeom>
          </p:spPr>
        </p:pic>
      </p:grpSp>
      <p:sp>
        <p:nvSpPr>
          <p:cNvPr id="3" name="Right Brace 2">
            <a:extLst>
              <a:ext uri="{FF2B5EF4-FFF2-40B4-BE49-F238E27FC236}">
                <a16:creationId xmlns:a16="http://schemas.microsoft.com/office/drawing/2014/main" id="{762440AE-8AD0-1025-185E-034801817CED}"/>
              </a:ext>
            </a:extLst>
          </p:cNvPr>
          <p:cNvSpPr/>
          <p:nvPr/>
        </p:nvSpPr>
        <p:spPr>
          <a:xfrm>
            <a:off x="5627948" y="1924925"/>
            <a:ext cx="936104" cy="3482673"/>
          </a:xfrm>
          <a:prstGeom prst="rightBrace">
            <a:avLst>
              <a:gd name="adj1" fmla="val 34157"/>
              <a:gd name="adj2" fmla="val 50664"/>
            </a:avLst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83D7D7D-AA44-72CE-D009-ACC2BFC56FD2}"/>
              </a:ext>
            </a:extLst>
          </p:cNvPr>
          <p:cNvSpPr txBox="1"/>
          <p:nvPr/>
        </p:nvSpPr>
        <p:spPr>
          <a:xfrm>
            <a:off x="1271464" y="2586141"/>
            <a:ext cx="4069786" cy="2160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Understand</a:t>
            </a:r>
            <a:r>
              <a:rPr lang="de-DE" dirty="0"/>
              <a:t> &amp; </a:t>
            </a:r>
            <a:r>
              <a:rPr lang="de-DE" dirty="0" err="1"/>
              <a:t>Discuss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Build</a:t>
            </a:r>
            <a:r>
              <a:rPr lang="de-DE" dirty="0"/>
              <a:t> Acceptance </a:t>
            </a:r>
            <a:r>
              <a:rPr lang="de-DE" dirty="0" err="1"/>
              <a:t>Criteria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settl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workflow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gitlab</a:t>
            </a:r>
            <a:endParaRPr lang="de-DE" dirty="0"/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PO/Eco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Discuss</a:t>
            </a:r>
            <a:r>
              <a:rPr lang="de-DE" dirty="0"/>
              <a:t> &amp; </a:t>
            </a:r>
            <a:r>
              <a:rPr lang="de-DE" dirty="0" err="1"/>
              <a:t>Align</a:t>
            </a:r>
            <a:r>
              <a:rPr lang="de-DE" dirty="0"/>
              <a:t> CRs</a:t>
            </a:r>
          </a:p>
        </p:txBody>
      </p:sp>
    </p:spTree>
    <p:extLst>
      <p:ext uri="{BB962C8B-B14F-4D97-AF65-F5344CB8AC3E}">
        <p14:creationId xmlns:p14="http://schemas.microsoft.com/office/powerpoint/2010/main" val="7797662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487BB-92D8-F55D-0433-3A579E05B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Plan - </a:t>
            </a:r>
            <a:r>
              <a:rPr lang="de-DE" dirty="0" err="1"/>
              <a:t>Statistics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4B13BC-66B7-192D-02FB-6ABD32F84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3933FD-9CB7-9740-7907-3AC17BBC8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1C1DC2-B32C-432E-9A4C-D870D726842C}"/>
              </a:ext>
            </a:extLst>
          </p:cNvPr>
          <p:cNvSpPr txBox="1"/>
          <p:nvPr/>
        </p:nvSpPr>
        <p:spPr>
          <a:xfrm>
            <a:off x="2567608" y="5661248"/>
            <a:ext cx="7056784" cy="57547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0000"/>
            </a:pPr>
            <a:r>
              <a:rPr lang="de-DE" dirty="0"/>
              <a:t>1 Workshop  |  6 </a:t>
            </a:r>
            <a:r>
              <a:rPr lang="de-DE" dirty="0" err="1"/>
              <a:t>Dev</a:t>
            </a:r>
            <a:r>
              <a:rPr lang="de-DE" dirty="0"/>
              <a:t> Team Members | 9 Sprints | 126 </a:t>
            </a:r>
            <a:r>
              <a:rPr lang="de-DE" dirty="0" err="1"/>
              <a:t>Issues</a:t>
            </a:r>
            <a:r>
              <a:rPr lang="de-DE" dirty="0"/>
              <a:t> | 181 Story Points</a:t>
            </a:r>
          </a:p>
          <a:p>
            <a:pPr marL="342900" indent="-342900" algn="ctr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96B2E7-8A84-A9A5-F1CA-81EBC13723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617" y="1772816"/>
            <a:ext cx="11286765" cy="296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2073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1869A-86EE-A10F-F439-7491CFF9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9458FD-13A7-47F2-A45A-DBAC23081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6F8D4A-534B-99B7-9247-574AC4137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EAB5C2DC-3A37-9D29-82CF-B512BC933C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6535837"/>
              </p:ext>
            </p:extLst>
          </p:nvPr>
        </p:nvGraphicFramePr>
        <p:xfrm>
          <a:off x="3593722" y="1196752"/>
          <a:ext cx="5004556" cy="46805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16290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1869A-86EE-A10F-F439-7491CFF9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9458FD-13A7-47F2-A45A-DBAC23081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6F8D4A-534B-99B7-9247-574AC4137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EAB5C2DC-3A37-9D29-82CF-B512BC933C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1732068"/>
              </p:ext>
            </p:extLst>
          </p:nvPr>
        </p:nvGraphicFramePr>
        <p:xfrm>
          <a:off x="9264352" y="765000"/>
          <a:ext cx="2016224" cy="1885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02266BD-EFDF-32CD-638B-4CE7742FDE24}"/>
              </a:ext>
            </a:extLst>
          </p:cNvPr>
          <p:cNvSpPr txBox="1"/>
          <p:nvPr/>
        </p:nvSpPr>
        <p:spPr>
          <a:xfrm>
            <a:off x="911424" y="2132856"/>
            <a:ext cx="9145016" cy="33843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Committer</a:t>
            </a:r>
            <a:r>
              <a:rPr lang="de-DE" dirty="0"/>
              <a:t> </a:t>
            </a:r>
            <a:r>
              <a:rPr lang="de-DE" dirty="0" err="1"/>
              <a:t>rights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Wiki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rett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unus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eams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No</a:t>
            </a:r>
            <a:r>
              <a:rPr lang="de-DE" dirty="0"/>
              <a:t> CI/CD on </a:t>
            </a:r>
            <a:r>
              <a:rPr lang="de-DE" dirty="0" err="1"/>
              <a:t>forked</a:t>
            </a:r>
            <a:r>
              <a:rPr lang="de-DE" dirty="0"/>
              <a:t> </a:t>
            </a:r>
            <a:r>
              <a:rPr lang="de-DE" dirty="0" err="1"/>
              <a:t>projects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Updating</a:t>
            </a:r>
            <a:r>
              <a:rPr lang="de-DE" dirty="0"/>
              <a:t> </a:t>
            </a:r>
            <a:r>
              <a:rPr lang="de-DE" dirty="0" err="1"/>
              <a:t>fork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properly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Repositories</a:t>
            </a:r>
            <a:r>
              <a:rPr lang="de-DE" dirty="0"/>
              <a:t>:</a:t>
            </a:r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Harbor </a:t>
            </a:r>
            <a:r>
              <a:rPr lang="de-DE" dirty="0" err="1"/>
              <a:t>repo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eparate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creds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Gitlab</a:t>
            </a:r>
            <a:r>
              <a:rPr lang="de-DE" dirty="0"/>
              <a:t> </a:t>
            </a:r>
            <a:r>
              <a:rPr lang="de-DE" dirty="0" err="1"/>
              <a:t>repositori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witched</a:t>
            </a:r>
            <a:r>
              <a:rPr lang="de-DE" dirty="0"/>
              <a:t> off (</a:t>
            </a:r>
            <a:r>
              <a:rPr lang="de-DE" dirty="0" err="1"/>
              <a:t>npm</a:t>
            </a:r>
            <a:r>
              <a:rPr lang="de-DE" dirty="0"/>
              <a:t>, </a:t>
            </a:r>
            <a:r>
              <a:rPr lang="de-DE" dirty="0" err="1"/>
              <a:t>maven</a:t>
            </a:r>
            <a:r>
              <a:rPr lang="de-DE" dirty="0"/>
              <a:t>, </a:t>
            </a:r>
            <a:r>
              <a:rPr lang="de-DE" dirty="0" err="1"/>
              <a:t>docker</a:t>
            </a:r>
            <a:r>
              <a:rPr lang="de-DE" dirty="0"/>
              <a:t>)</a:t>
            </a:r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Unclear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llowed</a:t>
            </a:r>
            <a:r>
              <a:rPr lang="de-DE" dirty="0"/>
              <a:t>/</a:t>
            </a:r>
            <a:r>
              <a:rPr lang="de-DE" dirty="0" err="1"/>
              <a:t>suppo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o, and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andl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eco</a:t>
            </a:r>
            <a:r>
              <a:rPr lang="de-DE" dirty="0"/>
              <a:t> on </a:t>
            </a:r>
            <a:r>
              <a:rPr lang="de-DE" dirty="0" err="1"/>
              <a:t>kube</a:t>
            </a:r>
            <a:r>
              <a:rPr lang="de-DE" dirty="0"/>
              <a:t> </a:t>
            </a:r>
            <a:r>
              <a:rPr lang="de-DE" dirty="0" err="1"/>
              <a:t>clusters</a:t>
            </a:r>
            <a:endParaRPr lang="de-DE" dirty="0"/>
          </a:p>
          <a:p>
            <a:pPr marL="144000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difficulties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lab</a:t>
            </a:r>
            <a:r>
              <a:rPr lang="de-DE" dirty="0"/>
              <a:t> rate </a:t>
            </a:r>
            <a:r>
              <a:rPr lang="de-DE" dirty="0" err="1"/>
              <a:t>limiting</a:t>
            </a:r>
            <a:r>
              <a:rPr lang="de-DE" dirty="0"/>
              <a:t> (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015219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1869A-86EE-A10F-F439-7491CFF9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9458FD-13A7-47F2-A45A-DBAC23081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, internal, open | author | presentation title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6F8D4A-534B-99B7-9247-574AC4137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9</a:t>
            </a:fld>
            <a:endParaRPr lang="de-DE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EAB5C2DC-3A37-9D29-82CF-B512BC933C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516015"/>
              </p:ext>
            </p:extLst>
          </p:nvPr>
        </p:nvGraphicFramePr>
        <p:xfrm>
          <a:off x="9264352" y="765000"/>
          <a:ext cx="2016224" cy="1885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3CE55F6-B587-4E27-16CB-789644EFE877}"/>
              </a:ext>
            </a:extLst>
          </p:cNvPr>
          <p:cNvSpPr txBox="1"/>
          <p:nvPr/>
        </p:nvSpPr>
        <p:spPr>
          <a:xfrm>
            <a:off x="911424" y="2132856"/>
            <a:ext cx="9145016" cy="33843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Conflicting</a:t>
            </a:r>
            <a:r>
              <a:rPr lang="de-DE" dirty="0"/>
              <a:t>/</a:t>
            </a:r>
            <a:r>
              <a:rPr lang="de-DE" dirty="0" err="1"/>
              <a:t>Incorrect</a:t>
            </a:r>
            <a:r>
              <a:rPr lang="de-DE" dirty="0"/>
              <a:t> </a:t>
            </a:r>
            <a:r>
              <a:rPr lang="de-DE" dirty="0" err="1"/>
              <a:t>statements</a:t>
            </a:r>
            <a:r>
              <a:rPr lang="de-DE" dirty="0"/>
              <a:t> in </a:t>
            </a:r>
            <a:r>
              <a:rPr lang="de-DE" dirty="0" err="1"/>
              <a:t>specification</a:t>
            </a:r>
            <a:r>
              <a:rPr lang="de-DE" dirty="0"/>
              <a:t>:</a:t>
            </a:r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Sequence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Page 16 in „Trust Management Infrastructur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X.pdf</a:t>
            </a:r>
            <a:r>
              <a:rPr lang="de-DE" dirty="0"/>
              <a:t>“</a:t>
            </a:r>
          </a:p>
          <a:p>
            <a:pPr marL="1058400" lvl="2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Tspa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DiD</a:t>
            </a:r>
            <a:r>
              <a:rPr lang="de-DE" dirty="0"/>
              <a:t>, </a:t>
            </a:r>
            <a:r>
              <a:rPr lang="de-DE" dirty="0" err="1"/>
              <a:t>DiD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well-</a:t>
            </a:r>
            <a:r>
              <a:rPr lang="de-DE" dirty="0" err="1"/>
              <a:t>known</a:t>
            </a:r>
            <a:r>
              <a:rPr lang="de-DE" dirty="0"/>
              <a:t> </a:t>
            </a:r>
            <a:r>
              <a:rPr lang="de-DE" dirty="0" err="1"/>
              <a:t>did</a:t>
            </a:r>
            <a:endParaRPr lang="de-DE" dirty="0"/>
          </a:p>
          <a:p>
            <a:pPr marL="1058400" lvl="2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Order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rong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Requirement</a:t>
            </a:r>
            <a:r>
              <a:rPr lang="de-DE" dirty="0"/>
              <a:t> IDM.TRAIN.00068 – </a:t>
            </a:r>
            <a:r>
              <a:rPr lang="de-DE" dirty="0" err="1"/>
              <a:t>Requiring</a:t>
            </a:r>
            <a:r>
              <a:rPr lang="de-DE" dirty="0"/>
              <a:t> </a:t>
            </a:r>
            <a:r>
              <a:rPr lang="de-DE" dirty="0" err="1"/>
              <a:t>functionality</a:t>
            </a:r>
            <a:r>
              <a:rPr lang="de-DE" dirty="0"/>
              <a:t> not </a:t>
            </a:r>
            <a:r>
              <a:rPr lang="de-DE" dirty="0" err="1"/>
              <a:t>cover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RAIN </a:t>
            </a:r>
            <a:r>
              <a:rPr lang="de-DE" dirty="0" err="1"/>
              <a:t>concept</a:t>
            </a: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  <a:p>
            <a:pPr marL="144000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Vague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e.g.:</a:t>
            </a:r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„Support different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“</a:t>
            </a:r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owhere</a:t>
            </a:r>
            <a:r>
              <a:rPr lang="de-DE" dirty="0"/>
              <a:t> </a:t>
            </a:r>
            <a:r>
              <a:rPr lang="de-DE" dirty="0" err="1"/>
              <a:t>stated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dids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uppor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well-</a:t>
            </a:r>
            <a:r>
              <a:rPr lang="de-DE" dirty="0" err="1"/>
              <a:t>known</a:t>
            </a:r>
            <a:r>
              <a:rPr lang="de-DE" dirty="0"/>
              <a:t> check</a:t>
            </a:r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Integration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a </a:t>
            </a:r>
            <a:r>
              <a:rPr lang="de-DE" dirty="0" err="1"/>
              <a:t>direction</a:t>
            </a:r>
            <a:r>
              <a:rPr lang="de-DE" dirty="0"/>
              <a:t> (i.e.: </a:t>
            </a:r>
            <a:r>
              <a:rPr lang="de-DE" dirty="0" err="1"/>
              <a:t>Component</a:t>
            </a:r>
            <a:r>
              <a:rPr lang="de-DE" dirty="0"/>
              <a:t> X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Y)</a:t>
            </a:r>
          </a:p>
          <a:p>
            <a:pPr marL="601200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5720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2020 DE">
  <a:themeElements>
    <a:clrScheme name="Benutzerdefiniert 1">
      <a:dk1>
        <a:srgbClr val="000000"/>
      </a:dk1>
      <a:lt1>
        <a:srgbClr val="FFFFFF"/>
      </a:lt1>
      <a:dk2>
        <a:srgbClr val="E20074"/>
      </a:dk2>
      <a:lt2>
        <a:srgbClr val="A3A3A3"/>
      </a:lt2>
      <a:accent1>
        <a:srgbClr val="1BADA2"/>
      </a:accent1>
      <a:accent2>
        <a:srgbClr val="53BAF2"/>
      </a:accent2>
      <a:accent3>
        <a:srgbClr val="FF9A1E"/>
      </a:accent3>
      <a:accent4>
        <a:srgbClr val="FFD328"/>
      </a:accent4>
      <a:accent5>
        <a:srgbClr val="1062AC"/>
      </a:accent5>
      <a:accent6>
        <a:srgbClr val="BECB44"/>
      </a:accent6>
      <a:hlink>
        <a:srgbClr val="1062AC"/>
      </a:hlink>
      <a:folHlink>
        <a:srgbClr val="1062AC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-Systems_Master_1" id="{557278BE-FD98-7D48-855D-400AC4AEDB77}" vid="{8171CDF2-96C4-8449-81A3-A05C45C3DC96}"/>
    </a:ext>
  </a:extLst>
</a:theme>
</file>

<file path=ppt/theme/theme2.xml><?xml version="1.0" encoding="utf-8"?>
<a:theme xmlns:a="http://schemas.openxmlformats.org/drawingml/2006/main" name="gkv_informatik">
  <a:themeElements>
    <a:clrScheme name="gkvi Farben">
      <a:dk1>
        <a:srgbClr val="000000"/>
      </a:dk1>
      <a:lt1>
        <a:srgbClr val="FFFFFF"/>
      </a:lt1>
      <a:dk2>
        <a:srgbClr val="00575C"/>
      </a:dk2>
      <a:lt2>
        <a:srgbClr val="FFFFFF"/>
      </a:lt2>
      <a:accent1>
        <a:srgbClr val="123C88"/>
      </a:accent1>
      <a:accent2>
        <a:srgbClr val="B1B2B3"/>
      </a:accent2>
      <a:accent3>
        <a:srgbClr val="575656"/>
      </a:accent3>
      <a:accent4>
        <a:srgbClr val="04B1E5"/>
      </a:accent4>
      <a:accent5>
        <a:srgbClr val="00575C"/>
      </a:accent5>
      <a:accent6>
        <a:srgbClr val="A2C613"/>
      </a:accent6>
      <a:hlink>
        <a:srgbClr val="00575C"/>
      </a:hlink>
      <a:folHlink>
        <a:srgbClr val="33787C"/>
      </a:folHlink>
    </a:clrScheme>
    <a:fontScheme name="gkv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9DADA"/>
        </a:solidFill>
        <a:ln>
          <a:noFill/>
        </a:ln>
      </a:spPr>
      <a:bodyPr lIns="0" tIns="0" rIns="0" bIns="0" rtlCol="0" anchor="t"/>
      <a:lstStyle>
        <a:defPPr algn="l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1000"/>
          </a:spcAft>
          <a:defRPr sz="1400" dirty="0" smtClean="0"/>
        </a:defPPr>
      </a:lstStyle>
    </a:txDef>
  </a:objectDefaults>
  <a:extraClrSchemeLst/>
  <a:custClrLst>
    <a:custClr name="gkvi Hellgrün">
      <a:srgbClr val="A2C613"/>
    </a:custClr>
    <a:custClr name="gkvi Dunkelgrün">
      <a:srgbClr val="00575C"/>
    </a:custClr>
    <a:custClr name="gkvi Hellblau">
      <a:srgbClr val="04B1E5"/>
    </a:custClr>
    <a:custClr name="gkvi Dunkelblau">
      <a:srgbClr val="123C88"/>
    </a:custClr>
    <a:custClr name="gkvi Grau">
      <a:srgbClr val="575656"/>
    </a:custClr>
    <a:custClr name="gkvi Schwarz">
      <a:srgbClr val="000000"/>
    </a:custClr>
    <a:custClr name=" ">
      <a:srgbClr val="FFFFFF"/>
    </a:custClr>
    <a:custClr name=" ">
      <a:srgbClr val="FFFFFF"/>
    </a:custClr>
    <a:custClr name="gkvi Dunkelgelb">
      <a:srgbClr val="FDC500"/>
    </a:custClr>
    <a:custClr name="gkvi Orange-Rot">
      <a:srgbClr val="E73F0C"/>
    </a:custClr>
    <a:custClr name="gkvi Hellgrün 80%">
      <a:srgbClr val="B7D050"/>
    </a:custClr>
    <a:custClr name="gkvi Dunkelgrün 80%">
      <a:srgbClr val="33787C"/>
    </a:custClr>
    <a:custClr name="gkvi Hellblau 80%">
      <a:srgbClr val="36C0E9"/>
    </a:custClr>
    <a:custClr name="gkvi Dunkelblau 80%">
      <a:srgbClr val="41629F"/>
    </a:custClr>
    <a:custClr name="gkvi Grau 80%">
      <a:srgbClr val="878786"/>
    </a:custClr>
    <a:custClr name="gkvi Schwarz 80%">
      <a:srgbClr val="575656"/>
    </a:custClr>
    <a:custClr name=" ">
      <a:srgbClr val="FFFFFF"/>
    </a:custClr>
    <a:custClr name=" ">
      <a:srgbClr val="FFFFFF"/>
    </a:custClr>
    <a:custClr name="gkvi Dunkelgelb 80%">
      <a:srgbClr val="FDD033"/>
    </a:custClr>
    <a:custClr name="gkvi Orange-Rot 80%">
      <a:srgbClr val="EB653C"/>
    </a:custClr>
    <a:custClr name="gkvi Hellgrün 60%">
      <a:srgbClr val="C7DC71"/>
    </a:custClr>
    <a:custClr name="gkvi Dunkelgrün 60%">
      <a:srgbClr val="669A9D"/>
    </a:custClr>
    <a:custClr name="gkvi Hellblau 60%">
      <a:srgbClr val="68D0EF"/>
    </a:custClr>
    <a:custClr name="gkvi Dunkelblau 60%">
      <a:srgbClr val="7089B7"/>
    </a:custClr>
    <a:custClr name="gkvi Grau 60%">
      <a:srgbClr val="B1B2B3"/>
    </a:custClr>
    <a:custClr name="gkvi Schwarz 60%">
      <a:srgbClr val="878686"/>
    </a:custClr>
    <a:custClr name=" ">
      <a:srgbClr val="FFFFFF"/>
    </a:custClr>
    <a:custClr name=" ">
      <a:srgbClr val="FFFFFF"/>
    </a:custClr>
    <a:custClr name="gkvi Dunkelgelb 60%">
      <a:srgbClr val="FDDC66"/>
    </a:custClr>
    <a:custClr name="gkvi Orange-Rot 60%">
      <a:srgbClr val="F08B6D"/>
    </a:custClr>
    <a:custClr name="gkvi Hellgrün 40%">
      <a:srgbClr val="D9E8A0"/>
    </a:custClr>
    <a:custClr name="gkvi Dunkelgrün 40%">
      <a:srgbClr val="99BBBD"/>
    </a:custClr>
    <a:custClr name="gkvi Hellblau 40%">
      <a:srgbClr val="9ADFF4"/>
    </a:custClr>
    <a:custClr name="gkvi Dunkelblau 40%">
      <a:srgbClr val="A0B0CF"/>
    </a:custClr>
    <a:custClr name="gkvi Grau 40%">
      <a:srgbClr val="D9DADA"/>
    </a:custClr>
    <a:custClr name="gkvi Schwarz 40%">
      <a:srgbClr val="B1B2B3"/>
    </a:custClr>
    <a:custClr name=" ">
      <a:srgbClr val="FFFFFF"/>
    </a:custClr>
    <a:custClr name=" ">
      <a:srgbClr val="FFFFFF"/>
    </a:custClr>
    <a:custClr name="gkvi Dunkelgelb 40%">
      <a:srgbClr val="FEE799"/>
    </a:custClr>
    <a:custClr name="gkvi Orange-Rot 40%">
      <a:srgbClr val="F5B29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gkvi Schwarz 20%">
      <a:srgbClr val="D9DADA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T-Systems_Master_1" id="{557278BE-FD98-7D48-855D-400AC4AEDB77}" vid="{6708A6DB-69BA-724D-9DFF-E41B8BF7EE6D}"/>
    </a:ext>
  </a:extLst>
</a:theme>
</file>

<file path=ppt/theme/theme3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3A5475EDF290B47865C890617C897DF" ma:contentTypeVersion="0" ma:contentTypeDescription="Ein neues Dokument erstellen." ma:contentTypeScope="" ma:versionID="bbe9da20a56f7160148142a103ecf8c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6CAA0B-1927-48F2-95AC-6D77670F2B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5993BD-6241-4F53-9BB4-47B74FE44C67}">
  <ds:schemaRefs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83D07E9-336F-4876-84DB-38AA1BEB84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lekom 2020 DE</Template>
  <TotalTime>898</TotalTime>
  <Words>718</Words>
  <Application>Microsoft Macintosh PowerPoint</Application>
  <PresentationFormat>Widescreen</PresentationFormat>
  <Paragraphs>156</Paragraphs>
  <Slides>1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TeleNeo Office</vt:lpstr>
      <vt:lpstr>TeleNeo Office ExtraBold</vt:lpstr>
      <vt:lpstr>Arial</vt:lpstr>
      <vt:lpstr>Telekom 2020 DE</vt:lpstr>
      <vt:lpstr>gkv_informatik</vt:lpstr>
      <vt:lpstr>think-cell Folie</vt:lpstr>
      <vt:lpstr>Delivery of TRAIN project</vt:lpstr>
      <vt:lpstr>PowerPoint Presentation</vt:lpstr>
      <vt:lpstr>PowerPoint Presentation</vt:lpstr>
      <vt:lpstr>Project Plan</vt:lpstr>
      <vt:lpstr>Project Plan</vt:lpstr>
      <vt:lpstr>Project Plan - Statistics</vt:lpstr>
      <vt:lpstr>Challenges</vt:lpstr>
      <vt:lpstr>Challenges</vt:lpstr>
      <vt:lpstr>Challenges</vt:lpstr>
      <vt:lpstr>Challenges</vt:lpstr>
      <vt:lpstr>CRs &amp; other Changes</vt:lpstr>
      <vt:lpstr>CRs &amp; other Changes</vt:lpstr>
      <vt:lpstr>Live Demo &amp; Artefacts</vt:lpstr>
      <vt:lpstr>Non-code Artefacts</vt:lpstr>
      <vt:lpstr>Open Topics – Issues for QoL</vt:lpstr>
      <vt:lpstr>Open Topics – Integr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ivery of TRAIN project</dc:title>
  <dc:subject/>
  <dc:creator>Michael Zigldrum</dc:creator>
  <cp:keywords/>
  <dc:description>Optimiert für Office 365</dc:description>
  <cp:lastModifiedBy>Michael Zigldrum</cp:lastModifiedBy>
  <cp:revision>6</cp:revision>
  <cp:lastPrinted>2020-08-27T09:01:38Z</cp:lastPrinted>
  <dcterms:created xsi:type="dcterms:W3CDTF">2024-02-27T08:09:56Z</dcterms:created>
  <dcterms:modified xsi:type="dcterms:W3CDTF">2024-02-28T16:00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A5475EDF290B47865C890617C897DF</vt:lpwstr>
  </property>
</Properties>
</file>